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4.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5.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6.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7.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8.xml" ContentType="application/vnd.openxmlformats-officedocument.presentationml.notesSlide+xml"/>
  <Override PartName="/ppt/tags/tag21.xml" ContentType="application/vnd.openxmlformats-officedocument.presentationml.tags+xml"/>
  <Override PartName="/ppt/notesSlides/notesSlide9.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0.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1.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2.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3.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4.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44" r:id="rId18"/>
    <p:sldMasterId id="2147483871" r:id="rId19"/>
  </p:sldMasterIdLst>
  <p:notesMasterIdLst>
    <p:notesMasterId r:id="rId39"/>
  </p:notesMasterIdLst>
  <p:handoutMasterIdLst>
    <p:handoutMasterId r:id="rId40"/>
  </p:handoutMasterIdLst>
  <p:sldIdLst>
    <p:sldId id="4133" r:id="rId20"/>
    <p:sldId id="4153" r:id="rId21"/>
    <p:sldId id="4158" r:id="rId22"/>
    <p:sldId id="4157" r:id="rId23"/>
    <p:sldId id="4140" r:id="rId24"/>
    <p:sldId id="4141" r:id="rId25"/>
    <p:sldId id="4139" r:id="rId26"/>
    <p:sldId id="4151" r:id="rId27"/>
    <p:sldId id="4136" r:id="rId28"/>
    <p:sldId id="3551" r:id="rId29"/>
    <p:sldId id="4137" r:id="rId30"/>
    <p:sldId id="4152" r:id="rId31"/>
    <p:sldId id="4138" r:id="rId32"/>
    <p:sldId id="4155" r:id="rId33"/>
    <p:sldId id="4159" r:id="rId34"/>
    <p:sldId id="4161" r:id="rId35"/>
    <p:sldId id="4156" r:id="rId36"/>
    <p:sldId id="4146" r:id="rId37"/>
    <p:sldId id="4160" r:id="rId38"/>
  </p:sldIdLst>
  <p:sldSz cx="12192000" cy="6858000"/>
  <p:notesSz cx="7315200" cy="9601200"/>
  <p:custDataLst>
    <p:tags r:id="rId4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irknes, Silje" initials="BS" lastIdx="3" clrIdx="0">
    <p:extLst>
      <p:ext uri="{19B8F6BF-5375-455C-9EA6-DF929625EA0E}">
        <p15:presenceInfo xmlns:p15="http://schemas.microsoft.com/office/powerpoint/2012/main" userId="S::sbirknes@deloitte.no::9a28d041-bb48-4a9e-a71d-745acf9394c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2A0AA"/>
    <a:srgbClr val="98C1C8"/>
    <a:srgbClr val="8AB8C0"/>
    <a:srgbClr val="B2D1D6"/>
    <a:srgbClr val="D4E5E8"/>
    <a:srgbClr val="81B3BB"/>
    <a:srgbClr val="DCDDDF"/>
    <a:srgbClr val="7AB0E2"/>
    <a:srgbClr val="E8F6CF"/>
    <a:srgbClr val="F9F9F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30" autoAdjust="0"/>
    <p:restoredTop sz="74150" autoAdjust="0"/>
  </p:normalViewPr>
  <p:slideViewPr>
    <p:cSldViewPr snapToGrid="0">
      <p:cViewPr varScale="1">
        <p:scale>
          <a:sx n="51" d="100"/>
          <a:sy n="51" d="100"/>
        </p:scale>
        <p:origin x="1180" y="40"/>
      </p:cViewPr>
      <p:guideLst>
        <p:guide/>
        <p:guide orient="horz" pos="2047"/>
        <p:guide orient="horz" pos="1593"/>
        <p:guide orient="horz" pos="2568"/>
        <p:guide orient="horz" pos="3072"/>
        <p:guide orient="horz" pos="3589"/>
      </p:guideLst>
    </p:cSldViewPr>
  </p:slideViewPr>
  <p:notesTextViewPr>
    <p:cViewPr>
      <p:scale>
        <a:sx n="1" d="1"/>
        <a:sy n="1" d="1"/>
      </p:scale>
      <p:origin x="0" y="0"/>
    </p:cViewPr>
  </p:notesText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customXml" Target="../customXml/item13.xml"/><Relationship Id="rId18" Type="http://schemas.openxmlformats.org/officeDocument/2006/relationships/slideMaster" Target="slideMasters/slideMaster1.xml"/><Relationship Id="rId26" Type="http://schemas.openxmlformats.org/officeDocument/2006/relationships/slide" Target="slides/slide7.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2.xml"/><Relationship Id="rId34" Type="http://schemas.openxmlformats.org/officeDocument/2006/relationships/slide" Target="slides/slide15.xml"/><Relationship Id="rId42" Type="http://schemas.openxmlformats.org/officeDocument/2006/relationships/commentAuthors" Target="commentAuthors.xml"/><Relationship Id="rId7" Type="http://schemas.openxmlformats.org/officeDocument/2006/relationships/customXml" Target="../customXml/item7.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 Target="slides/slide6.xml"/><Relationship Id="rId33" Type="http://schemas.openxmlformats.org/officeDocument/2006/relationships/slide" Target="slides/slide14.xml"/><Relationship Id="rId38" Type="http://schemas.openxmlformats.org/officeDocument/2006/relationships/slide" Target="slides/slide19.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customXml" Target="../customXml/item16.xml"/><Relationship Id="rId20" Type="http://schemas.openxmlformats.org/officeDocument/2006/relationships/slide" Target="slides/slide1.xml"/><Relationship Id="rId29" Type="http://schemas.openxmlformats.org/officeDocument/2006/relationships/slide" Target="slides/slide10.xml"/><Relationship Id="rId41"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slide" Target="slides/slide5.xml"/><Relationship Id="rId32" Type="http://schemas.openxmlformats.org/officeDocument/2006/relationships/slide" Target="slides/slide13.xml"/><Relationship Id="rId37" Type="http://schemas.openxmlformats.org/officeDocument/2006/relationships/slide" Target="slides/slide18.xml"/><Relationship Id="rId40" Type="http://schemas.openxmlformats.org/officeDocument/2006/relationships/handoutMaster" Target="handoutMasters/handoutMaster1.xml"/><Relationship Id="rId45"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slide" Target="slides/slide17.xml"/><Relationship Id="rId10" Type="http://schemas.openxmlformats.org/officeDocument/2006/relationships/customXml" Target="../customXml/item10.xml"/><Relationship Id="rId19" Type="http://schemas.openxmlformats.org/officeDocument/2006/relationships/slideMaster" Target="slideMasters/slideMaster2.xml"/><Relationship Id="rId31" Type="http://schemas.openxmlformats.org/officeDocument/2006/relationships/slide" Target="slides/slide12.xml"/><Relationship Id="rId44"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slide" Target="slides/slide11.xml"/><Relationship Id="rId35" Type="http://schemas.openxmlformats.org/officeDocument/2006/relationships/slide" Target="slides/slide16.xml"/><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8/18/2021</a:t>
            </a:fld>
            <a:endParaRPr lang="en-US">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8/18/2021</a:t>
            </a:fld>
            <a:endParaRPr lang="en-US"/>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FEEB24-63B3-46F6-88E9-0F390CC9DDA1}"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30551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pPr marL="0" marR="0" lvl="0" indent="0" algn="r" defTabSz="121911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1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41216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nb-NO"/>
              <a:t>Dersom ressurser som skal bidra i prosjektkonverteringen ikke har tilgang til SharePoint-mappen, ta kontakt med Trude Wictoria Bersvendsen.</a:t>
            </a:r>
          </a:p>
        </p:txBody>
      </p:sp>
      <p:sp>
        <p:nvSpPr>
          <p:cNvPr id="4" name="Slide Number Placeholder 3"/>
          <p:cNvSpPr>
            <a:spLocks noGrp="1"/>
          </p:cNvSpPr>
          <p:nvPr>
            <p:ph type="sldNum" sz="quarter" idx="5"/>
          </p:nvPr>
        </p:nvSpPr>
        <p:spPr/>
        <p:txBody>
          <a:bodyPr/>
          <a:lstStyle/>
          <a:p>
            <a:pPr marL="0" marR="0" lvl="0" indent="0" algn="r" defTabSz="121911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1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3117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21911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1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4989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normAutofit fontScale="85000" lnSpcReduction="20000"/>
          </a:bodyPr>
          <a:lstStyle/>
          <a:p>
            <a:r>
              <a:rPr lang="nb-NO"/>
              <a:t>Superbruker BFV har nå gjennomgått kurs i datainnsamlingsark og skal være i stand til å kjøre opplæring i datainnsamlingsark ved eget fakultet/fellesadministrasjon. Fakultetet har ansvar for at arbeidet blir gjennomført og må derfor også sørge for opplæring i datainnsamlingsarket innen rimelig tid.</a:t>
            </a:r>
          </a:p>
          <a:p>
            <a:endParaRPr lang="nb-NO"/>
          </a:p>
          <a:p>
            <a:r>
              <a:rPr lang="nb-NO"/>
              <a:t>Oppgavebestilling for prosjektkonvertering sendes ut til innføringsledere, økonomisjefer og superbrukere i dag. Der vil det også spesifiseres hvor datainnsamlingsarket og veiledning legges ut. </a:t>
            </a:r>
          </a:p>
          <a:p>
            <a:endParaRPr lang="nb-NO"/>
          </a:p>
          <a:p>
            <a:r>
              <a:rPr lang="nb-NO"/>
              <a:t>Superbrukerforum er åpnet og alle kan stille spørsmål i spørsmål og svar arket (avklar om dette skal brukes) når som helst, så skal vi som har jobbet med innføring av ny økonomimodell i BOTT ØL innføringsprosjektet svare ut så godt vi kan, eventuelt stille spørsmålet videre til DFØ. I tillegg gjennomføres ukentlige møter for superbrukerne med oppstart </a:t>
            </a:r>
            <a:r>
              <a:rPr lang="nb-NO" err="1"/>
              <a:t>X</a:t>
            </a:r>
            <a:r>
              <a:rPr lang="nb-NO"/>
              <a:t>.</a:t>
            </a:r>
          </a:p>
          <a:p>
            <a:endParaRPr lang="nb-NO"/>
          </a:p>
          <a:p>
            <a:r>
              <a:rPr lang="nb-NO"/>
              <a:t>Det betyr at så snart enhetene har gjennomgått opplæring i datainnsamlingsarket kan de starte å fylle ut datainnsamlingsarket frem mot delleveransen 3.9. Da vil alle prosjekter som er lagt inn i masterfilen være grunnlaget for testinnlesing i Unit4. Enhetene kan jobbe videre med konvertering, og 4.10 er frist for levering av ferdig utfylt og kvalitetssikret datainnsamlingsark fra fakultetet/FA.</a:t>
            </a:r>
          </a:p>
        </p:txBody>
      </p:sp>
      <p:sp>
        <p:nvSpPr>
          <p:cNvPr id="4" name="Slide Number Placeholder 3"/>
          <p:cNvSpPr>
            <a:spLocks noGrp="1"/>
          </p:cNvSpPr>
          <p:nvPr>
            <p:ph type="sldNum" sz="quarter" idx="5"/>
          </p:nvPr>
        </p:nvSpPr>
        <p:spPr/>
        <p:txBody>
          <a:bodyPr/>
          <a:lstStyle/>
          <a:p>
            <a:pPr marL="0" marR="0" lvl="0" indent="0" algn="r" defTabSz="121911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1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59344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normAutofit/>
          </a:bodyPr>
          <a:lstStyle/>
          <a:p>
            <a:endParaRPr lang="nb-NO" dirty="0"/>
          </a:p>
        </p:txBody>
      </p:sp>
      <p:sp>
        <p:nvSpPr>
          <p:cNvPr id="4" name="Slide Number Placeholder 3"/>
          <p:cNvSpPr>
            <a:spLocks noGrp="1"/>
          </p:cNvSpPr>
          <p:nvPr>
            <p:ph type="sldNum" sz="quarter" idx="5"/>
          </p:nvPr>
        </p:nvSpPr>
        <p:spPr/>
        <p:txBody>
          <a:bodyPr/>
          <a:lstStyle/>
          <a:p>
            <a:pPr marL="0" marR="0" lvl="0" indent="0" algn="r" defTabSz="121911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1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47495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21911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1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82464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FEEB24-63B3-46F6-88E9-0F390CC9DDA1}"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02231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21911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1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2531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21911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1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26026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21911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1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00369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21911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1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73673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normAutofit lnSpcReduction="10000"/>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nb-NO" dirty="0"/>
              <a:t>Arbeidet som skal gjennomføres frem til 04.10 består av å etablere endelige konteringsverdier for prosjekt og delprosjekt. Dette innebærer konvertering av eksisterende prosjektverdier til delprosjekt, men det vil også være anledning til å opprette nye prosjekter som skal være tilgjengelig i Unit4 fra 01.01.2022. Eksempelvis kan analyseverdier opprettes i ny prosjektstruktur.</a:t>
            </a:r>
          </a:p>
          <a:p>
            <a:endParaRPr lang="nb-NO" dirty="0"/>
          </a:p>
          <a:p>
            <a:r>
              <a:rPr lang="nb-NO" dirty="0"/>
              <a:t>Vi kommer ikke til å gå detaljert inn i standarder og anbefalinger i dag. I slutten av juni ble det gjennomført kurs i prosjektstruktur BFV. Det er tatt opptak og kursdokumentasjonen er publisert, vi anbefaler å gjennomgå dette på nytt ved behov. Det er også utarbeidet et dokument «Beskrivelse av BOTT økonomimodell ved NTNU» som tar for seg forklaringer til hvordan økonomimodellen tas i bruk ved NTNU og standarder og anbefalinger prosjektstruktur BFV, inkludert leiested. Prosjektstruktur BFV og «Beskrivelse av BOTT økonomimodell ved NTNU» skal alle ressurser som skal gjennomføre konverteringen ha gjennomgått.</a:t>
            </a:r>
          </a:p>
        </p:txBody>
      </p:sp>
      <p:sp>
        <p:nvSpPr>
          <p:cNvPr id="4" name="Slide Number Placeholder 3"/>
          <p:cNvSpPr>
            <a:spLocks noGrp="1"/>
          </p:cNvSpPr>
          <p:nvPr>
            <p:ph type="sldNum" sz="quarter" idx="5"/>
          </p:nvPr>
        </p:nvSpPr>
        <p:spPr/>
        <p:txBody>
          <a:bodyPr/>
          <a:lstStyle/>
          <a:p>
            <a:pPr marL="0" marR="0" lvl="0" indent="0" algn="r" defTabSz="121911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1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98833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pPr marL="0" marR="0" lvl="0" indent="0" algn="r" defTabSz="121911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1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58352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FEEB24-63B3-46F6-88E9-0F390CC9DDA1}"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4778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D7674D3-78D5-41D9-A7D9-A150C0DB1974}"/>
              </a:ext>
            </a:extLst>
          </p:cNvPr>
          <p:cNvSpPr>
            <a:spLocks noGrp="1"/>
          </p:cNvSpPr>
          <p:nvPr>
            <p:ph type="ctrTitle"/>
          </p:nvPr>
        </p:nvSpPr>
        <p:spPr>
          <a:xfrm>
            <a:off x="1524000" y="1122363"/>
            <a:ext cx="9144000" cy="2387600"/>
          </a:xfrm>
        </p:spPr>
        <p:txBody>
          <a:bodyPr anchor="b"/>
          <a:lstStyle>
            <a:lvl1pPr algn="ctr">
              <a:defRPr sz="6000"/>
            </a:lvl1pPr>
          </a:lstStyle>
          <a:p>
            <a:r>
              <a:rPr lang="nb-NO"/>
              <a:t>Klikk for å redigere tittelstil</a:t>
            </a:r>
          </a:p>
        </p:txBody>
      </p:sp>
      <p:sp>
        <p:nvSpPr>
          <p:cNvPr id="3" name="Undertittel 2">
            <a:extLst>
              <a:ext uri="{FF2B5EF4-FFF2-40B4-BE49-F238E27FC236}">
                <a16:creationId xmlns:a16="http://schemas.microsoft.com/office/drawing/2014/main" id="{505BB857-0739-407B-B6D6-C1859BA731A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4" name="Plassholder for dato 3">
            <a:extLst>
              <a:ext uri="{FF2B5EF4-FFF2-40B4-BE49-F238E27FC236}">
                <a16:creationId xmlns:a16="http://schemas.microsoft.com/office/drawing/2014/main" id="{D2F2F7DF-0319-474B-AB2B-C053270F3454}"/>
              </a:ext>
            </a:extLst>
          </p:cNvPr>
          <p:cNvSpPr>
            <a:spLocks noGrp="1"/>
          </p:cNvSpPr>
          <p:nvPr>
            <p:ph type="dt" sz="half" idx="10"/>
          </p:nvPr>
        </p:nvSpPr>
        <p:spPr/>
        <p:txBody>
          <a:bodyPr/>
          <a:lstStyle/>
          <a:p>
            <a:fld id="{2614328E-7FA6-40D2-95B5-CB35580DED90}" type="datetimeFigureOut">
              <a:rPr lang="nb-NO" smtClean="0"/>
              <a:t>18.08.2021</a:t>
            </a:fld>
            <a:endParaRPr lang="nb-NO"/>
          </a:p>
        </p:txBody>
      </p:sp>
      <p:sp>
        <p:nvSpPr>
          <p:cNvPr id="5" name="Plassholder for bunntekst 4">
            <a:extLst>
              <a:ext uri="{FF2B5EF4-FFF2-40B4-BE49-F238E27FC236}">
                <a16:creationId xmlns:a16="http://schemas.microsoft.com/office/drawing/2014/main" id="{1E0214A5-8625-49E9-B835-C79ACCB6A5C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FE64CA1D-6F04-4F3A-AC3D-CD6E4E5B2E61}"/>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37493659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896CE0D-7C0E-4D8C-B3FC-BE8C3DD2332D}"/>
              </a:ext>
            </a:extLst>
          </p:cNvPr>
          <p:cNvSpPr>
            <a:spLocks noGrp="1"/>
          </p:cNvSpPr>
          <p:nvPr>
            <p:ph type="title"/>
          </p:nvPr>
        </p:nvSpPr>
        <p:spPr/>
        <p:txBody>
          <a:bodyPr/>
          <a:lstStyle/>
          <a:p>
            <a:r>
              <a:rPr lang="nb-NO"/>
              <a:t>Klikk for å redigere tittelstil</a:t>
            </a:r>
          </a:p>
        </p:txBody>
      </p:sp>
      <p:sp>
        <p:nvSpPr>
          <p:cNvPr id="3" name="Plassholder for loddrett tekst 2">
            <a:extLst>
              <a:ext uri="{FF2B5EF4-FFF2-40B4-BE49-F238E27FC236}">
                <a16:creationId xmlns:a16="http://schemas.microsoft.com/office/drawing/2014/main" id="{5A1DAC45-52EE-4528-8A6C-5E4544CC278C}"/>
              </a:ext>
            </a:extLst>
          </p:cNvPr>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82A3E147-54C0-4C14-80FA-A321E42D897E}"/>
              </a:ext>
            </a:extLst>
          </p:cNvPr>
          <p:cNvSpPr>
            <a:spLocks noGrp="1"/>
          </p:cNvSpPr>
          <p:nvPr>
            <p:ph type="dt" sz="half" idx="10"/>
          </p:nvPr>
        </p:nvSpPr>
        <p:spPr/>
        <p:txBody>
          <a:bodyPr/>
          <a:lstStyle/>
          <a:p>
            <a:fld id="{2614328E-7FA6-40D2-95B5-CB35580DED90}" type="datetimeFigureOut">
              <a:rPr lang="nb-NO" smtClean="0"/>
              <a:t>18.08.2021</a:t>
            </a:fld>
            <a:endParaRPr lang="nb-NO"/>
          </a:p>
        </p:txBody>
      </p:sp>
      <p:sp>
        <p:nvSpPr>
          <p:cNvPr id="5" name="Plassholder for bunntekst 4">
            <a:extLst>
              <a:ext uri="{FF2B5EF4-FFF2-40B4-BE49-F238E27FC236}">
                <a16:creationId xmlns:a16="http://schemas.microsoft.com/office/drawing/2014/main" id="{0EEF335D-8A49-4B0A-B9D4-C95037BEB964}"/>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3E5A502-A2ED-4757-9F53-CB57A54EE872}"/>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30241211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a:extLst>
              <a:ext uri="{FF2B5EF4-FFF2-40B4-BE49-F238E27FC236}">
                <a16:creationId xmlns:a16="http://schemas.microsoft.com/office/drawing/2014/main" id="{8288BD1C-4115-4A5E-85F0-20D772E9E8F3}"/>
              </a:ext>
            </a:extLst>
          </p:cNvPr>
          <p:cNvSpPr>
            <a:spLocks noGrp="1"/>
          </p:cNvSpPr>
          <p:nvPr>
            <p:ph type="title" orient="vert"/>
          </p:nvPr>
        </p:nvSpPr>
        <p:spPr>
          <a:xfrm>
            <a:off x="8724900" y="365125"/>
            <a:ext cx="2628900" cy="5811838"/>
          </a:xfrm>
        </p:spPr>
        <p:txBody>
          <a:bodyPr vert="eaVert"/>
          <a:lstStyle/>
          <a:p>
            <a:r>
              <a:rPr lang="nb-NO"/>
              <a:t>Klikk for å redigere tittelstil</a:t>
            </a:r>
          </a:p>
        </p:txBody>
      </p:sp>
      <p:sp>
        <p:nvSpPr>
          <p:cNvPr id="3" name="Plassholder for loddrett tekst 2">
            <a:extLst>
              <a:ext uri="{FF2B5EF4-FFF2-40B4-BE49-F238E27FC236}">
                <a16:creationId xmlns:a16="http://schemas.microsoft.com/office/drawing/2014/main" id="{906ACA2E-8167-4D78-8ADB-B28482A5B6A7}"/>
              </a:ext>
            </a:extLst>
          </p:cNvPr>
          <p:cNvSpPr>
            <a:spLocks noGrp="1"/>
          </p:cNvSpPr>
          <p:nvPr>
            <p:ph type="body" orient="vert" idx="1"/>
          </p:nvPr>
        </p:nvSpPr>
        <p:spPr>
          <a:xfrm>
            <a:off x="838200" y="365125"/>
            <a:ext cx="7734300" cy="5811838"/>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45B8987F-738D-4FA8-89DB-4B8130B3453E}"/>
              </a:ext>
            </a:extLst>
          </p:cNvPr>
          <p:cNvSpPr>
            <a:spLocks noGrp="1"/>
          </p:cNvSpPr>
          <p:nvPr>
            <p:ph type="dt" sz="half" idx="10"/>
          </p:nvPr>
        </p:nvSpPr>
        <p:spPr/>
        <p:txBody>
          <a:bodyPr/>
          <a:lstStyle/>
          <a:p>
            <a:fld id="{2614328E-7FA6-40D2-95B5-CB35580DED90}" type="datetimeFigureOut">
              <a:rPr lang="nb-NO" smtClean="0"/>
              <a:t>18.08.2021</a:t>
            </a:fld>
            <a:endParaRPr lang="nb-NO"/>
          </a:p>
        </p:txBody>
      </p:sp>
      <p:sp>
        <p:nvSpPr>
          <p:cNvPr id="5" name="Plassholder for bunntekst 4">
            <a:extLst>
              <a:ext uri="{FF2B5EF4-FFF2-40B4-BE49-F238E27FC236}">
                <a16:creationId xmlns:a16="http://schemas.microsoft.com/office/drawing/2014/main" id="{12090F46-4D53-49DC-895C-6B5980F0BBB2}"/>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60BB38E9-3E68-4C3D-97CC-E0ACA3214728}"/>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32099221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tel og innho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5E05C08-5923-41E0-B0F2-DE3C60CBE8C0}"/>
              </a:ext>
            </a:extLst>
          </p:cNvPr>
          <p:cNvGraphicFramePr>
            <a:graphicFrameLocks noChangeAspect="1"/>
          </p:cNvGraphicFramePr>
          <p:nvPr userDrawn="1">
            <p:custDataLst>
              <p:tags r:id="rId2"/>
            </p:custDataLst>
            <p:extLst>
              <p:ext uri="{D42A27DB-BD31-4B8C-83A1-F6EECF244321}">
                <p14:modId xmlns:p14="http://schemas.microsoft.com/office/powerpoint/2010/main" val="256130943"/>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050"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75E05C08-5923-41E0-B0F2-DE3C60CBE8C0}"/>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A6D172-2F8C-4641-A06B-ABD78145BFFB}"/>
              </a:ext>
            </a:extLst>
          </p:cNvPr>
          <p:cNvSpPr/>
          <p:nvPr userDrawn="1">
            <p:custDataLst>
              <p:tags r:id="rId3"/>
            </p:custDataLst>
          </p:nvPr>
        </p:nvSpPr>
        <p:spPr>
          <a:xfrm>
            <a:off x="0" y="0"/>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4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Plassholder for lysbildenummer 5"/>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hasCustomPrompt="1"/>
          </p:nvPr>
        </p:nvSpPr>
        <p:spPr>
          <a:xfrm>
            <a:off x="401847" y="397785"/>
            <a:ext cx="11224996" cy="738664"/>
          </a:xfrm>
          <a:prstGeom prst="rect">
            <a:avLst/>
          </a:prstGeom>
        </p:spPr>
        <p:txBody>
          <a:bodyPr wrap="square" lIns="0" tIns="0" rIns="0" bIns="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hasCustomPrompt="1"/>
          </p:nvPr>
        </p:nvSpPr>
        <p:spPr>
          <a:xfrm>
            <a:off x="401847" y="1347021"/>
            <a:ext cx="11224996" cy="4818365"/>
          </a:xfrm>
          <a:prstGeom prst="rect">
            <a:avLst/>
          </a:prstGeom>
        </p:spPr>
        <p:txBody>
          <a:bodyPr lIns="0" tIns="0" rIns="0" bIns="0">
            <a:noAutofit/>
          </a:bodyPr>
          <a:lstStyle>
            <a:lvl1pPr marL="0" indent="0">
              <a:buNone/>
              <a:defRPr/>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29716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51476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D7674D3-78D5-41D9-A7D9-A150C0DB1974}"/>
              </a:ext>
            </a:extLst>
          </p:cNvPr>
          <p:cNvSpPr>
            <a:spLocks noGrp="1"/>
          </p:cNvSpPr>
          <p:nvPr>
            <p:ph type="ctrTitle"/>
          </p:nvPr>
        </p:nvSpPr>
        <p:spPr>
          <a:xfrm>
            <a:off x="1524000" y="1122363"/>
            <a:ext cx="9144000" cy="2387600"/>
          </a:xfrm>
        </p:spPr>
        <p:txBody>
          <a:bodyPr anchor="b"/>
          <a:lstStyle>
            <a:lvl1pPr algn="ctr">
              <a:defRPr sz="6000"/>
            </a:lvl1pPr>
          </a:lstStyle>
          <a:p>
            <a:r>
              <a:rPr lang="nb-NO"/>
              <a:t>Klikk for å redigere tittelstil</a:t>
            </a:r>
          </a:p>
        </p:txBody>
      </p:sp>
      <p:sp>
        <p:nvSpPr>
          <p:cNvPr id="3" name="Undertittel 2">
            <a:extLst>
              <a:ext uri="{FF2B5EF4-FFF2-40B4-BE49-F238E27FC236}">
                <a16:creationId xmlns:a16="http://schemas.microsoft.com/office/drawing/2014/main" id="{505BB857-0739-407B-B6D6-C1859BA731A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4" name="Plassholder for dato 3">
            <a:extLst>
              <a:ext uri="{FF2B5EF4-FFF2-40B4-BE49-F238E27FC236}">
                <a16:creationId xmlns:a16="http://schemas.microsoft.com/office/drawing/2014/main" id="{D2F2F7DF-0319-474B-AB2B-C053270F3454}"/>
              </a:ext>
            </a:extLst>
          </p:cNvPr>
          <p:cNvSpPr>
            <a:spLocks noGrp="1"/>
          </p:cNvSpPr>
          <p:nvPr>
            <p:ph type="dt" sz="half" idx="10"/>
          </p:nvPr>
        </p:nvSpPr>
        <p:spPr/>
        <p:txBody>
          <a:bodyPr/>
          <a:lstStyle/>
          <a:p>
            <a:fld id="{2614328E-7FA6-40D2-95B5-CB35580DED90}" type="datetimeFigureOut">
              <a:rPr lang="nb-NO" smtClean="0"/>
              <a:t>18.08.2021</a:t>
            </a:fld>
            <a:endParaRPr lang="nb-NO"/>
          </a:p>
        </p:txBody>
      </p:sp>
      <p:sp>
        <p:nvSpPr>
          <p:cNvPr id="5" name="Plassholder for bunntekst 4">
            <a:extLst>
              <a:ext uri="{FF2B5EF4-FFF2-40B4-BE49-F238E27FC236}">
                <a16:creationId xmlns:a16="http://schemas.microsoft.com/office/drawing/2014/main" id="{1E0214A5-8625-49E9-B835-C79ACCB6A5C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FE64CA1D-6F04-4F3A-AC3D-CD6E4E5B2E61}"/>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5090309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91953BE-9FEC-4682-ABD0-54D030DFFFC5}"/>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FF1B907C-B3E3-4243-97DC-84C7E5DFD922}"/>
              </a:ext>
            </a:extLst>
          </p:cNvPr>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68EA692B-05AF-4340-AD5D-EFDE5A78B064}"/>
              </a:ext>
            </a:extLst>
          </p:cNvPr>
          <p:cNvSpPr>
            <a:spLocks noGrp="1"/>
          </p:cNvSpPr>
          <p:nvPr>
            <p:ph type="dt" sz="half" idx="10"/>
          </p:nvPr>
        </p:nvSpPr>
        <p:spPr/>
        <p:txBody>
          <a:bodyPr/>
          <a:lstStyle/>
          <a:p>
            <a:fld id="{2614328E-7FA6-40D2-95B5-CB35580DED90}" type="datetimeFigureOut">
              <a:rPr lang="nb-NO" smtClean="0"/>
              <a:t>18.08.2021</a:t>
            </a:fld>
            <a:endParaRPr lang="nb-NO"/>
          </a:p>
        </p:txBody>
      </p:sp>
      <p:sp>
        <p:nvSpPr>
          <p:cNvPr id="5" name="Plassholder for bunntekst 4">
            <a:extLst>
              <a:ext uri="{FF2B5EF4-FFF2-40B4-BE49-F238E27FC236}">
                <a16:creationId xmlns:a16="http://schemas.microsoft.com/office/drawing/2014/main" id="{D713D007-0D57-42BD-B20F-2004A32BE4A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2651C0C2-CBB1-4B04-B3CF-9F1612B2D239}"/>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32251399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B32804E-8CA1-4E8C-A721-27D406C45FA1}"/>
              </a:ext>
            </a:extLst>
          </p:cNvPr>
          <p:cNvSpPr>
            <a:spLocks noGrp="1"/>
          </p:cNvSpPr>
          <p:nvPr>
            <p:ph type="title"/>
          </p:nvPr>
        </p:nvSpPr>
        <p:spPr>
          <a:xfrm>
            <a:off x="831850" y="1709738"/>
            <a:ext cx="10515600" cy="2852737"/>
          </a:xfrm>
        </p:spPr>
        <p:txBody>
          <a:bodyPr anchor="b"/>
          <a:lstStyle>
            <a:lvl1pPr>
              <a:defRPr sz="6000"/>
            </a:lvl1pPr>
          </a:lstStyle>
          <a:p>
            <a:r>
              <a:rPr lang="nb-NO"/>
              <a:t>Klikk for å redigere tittelstil</a:t>
            </a:r>
          </a:p>
        </p:txBody>
      </p:sp>
      <p:sp>
        <p:nvSpPr>
          <p:cNvPr id="3" name="Plassholder for tekst 2">
            <a:extLst>
              <a:ext uri="{FF2B5EF4-FFF2-40B4-BE49-F238E27FC236}">
                <a16:creationId xmlns:a16="http://schemas.microsoft.com/office/drawing/2014/main" id="{5F009C6C-2760-427F-830A-B36FAA0E66D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a:t>Klikk for å redigere tekststiler i malen</a:t>
            </a:r>
          </a:p>
        </p:txBody>
      </p:sp>
      <p:sp>
        <p:nvSpPr>
          <p:cNvPr id="4" name="Plassholder for dato 3">
            <a:extLst>
              <a:ext uri="{FF2B5EF4-FFF2-40B4-BE49-F238E27FC236}">
                <a16:creationId xmlns:a16="http://schemas.microsoft.com/office/drawing/2014/main" id="{782CF19E-AEFB-4E03-AEC2-7D14B28BC012}"/>
              </a:ext>
            </a:extLst>
          </p:cNvPr>
          <p:cNvSpPr>
            <a:spLocks noGrp="1"/>
          </p:cNvSpPr>
          <p:nvPr>
            <p:ph type="dt" sz="half" idx="10"/>
          </p:nvPr>
        </p:nvSpPr>
        <p:spPr/>
        <p:txBody>
          <a:bodyPr/>
          <a:lstStyle/>
          <a:p>
            <a:fld id="{2614328E-7FA6-40D2-95B5-CB35580DED90}" type="datetimeFigureOut">
              <a:rPr lang="nb-NO" smtClean="0"/>
              <a:t>18.08.2021</a:t>
            </a:fld>
            <a:endParaRPr lang="nb-NO"/>
          </a:p>
        </p:txBody>
      </p:sp>
      <p:sp>
        <p:nvSpPr>
          <p:cNvPr id="5" name="Plassholder for bunntekst 4">
            <a:extLst>
              <a:ext uri="{FF2B5EF4-FFF2-40B4-BE49-F238E27FC236}">
                <a16:creationId xmlns:a16="http://schemas.microsoft.com/office/drawing/2014/main" id="{DEA508E2-42F2-4FB1-807D-F038B64F0026}"/>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08E5E848-E0CF-4EC2-98F8-C449632F67BD}"/>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19504897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2B12AF4-F74C-4D93-977E-21816BC477C3}"/>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9FBE941E-886D-4C5E-BAF5-7AD2E93B4810}"/>
              </a:ext>
            </a:extLst>
          </p:cNvPr>
          <p:cNvSpPr>
            <a:spLocks noGrp="1"/>
          </p:cNvSpPr>
          <p:nvPr>
            <p:ph sz="half" idx="1"/>
          </p:nvPr>
        </p:nvSpPr>
        <p:spPr>
          <a:xfrm>
            <a:off x="838200" y="1825625"/>
            <a:ext cx="5181600" cy="435133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a:extLst>
              <a:ext uri="{FF2B5EF4-FFF2-40B4-BE49-F238E27FC236}">
                <a16:creationId xmlns:a16="http://schemas.microsoft.com/office/drawing/2014/main" id="{6DB3F7B5-F8B2-4703-9C62-9C01B253D573}"/>
              </a:ext>
            </a:extLst>
          </p:cNvPr>
          <p:cNvSpPr>
            <a:spLocks noGrp="1"/>
          </p:cNvSpPr>
          <p:nvPr>
            <p:ph sz="half" idx="2"/>
          </p:nvPr>
        </p:nvSpPr>
        <p:spPr>
          <a:xfrm>
            <a:off x="6172200" y="1825625"/>
            <a:ext cx="5181600" cy="435133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a:extLst>
              <a:ext uri="{FF2B5EF4-FFF2-40B4-BE49-F238E27FC236}">
                <a16:creationId xmlns:a16="http://schemas.microsoft.com/office/drawing/2014/main" id="{E6BAA716-4CE0-4E3C-B3C7-6B1749802B0E}"/>
              </a:ext>
            </a:extLst>
          </p:cNvPr>
          <p:cNvSpPr>
            <a:spLocks noGrp="1"/>
          </p:cNvSpPr>
          <p:nvPr>
            <p:ph type="dt" sz="half" idx="10"/>
          </p:nvPr>
        </p:nvSpPr>
        <p:spPr/>
        <p:txBody>
          <a:bodyPr/>
          <a:lstStyle/>
          <a:p>
            <a:fld id="{2614328E-7FA6-40D2-95B5-CB35580DED90}" type="datetimeFigureOut">
              <a:rPr lang="nb-NO" smtClean="0"/>
              <a:t>18.08.2021</a:t>
            </a:fld>
            <a:endParaRPr lang="nb-NO"/>
          </a:p>
        </p:txBody>
      </p:sp>
      <p:sp>
        <p:nvSpPr>
          <p:cNvPr id="6" name="Plassholder for bunntekst 5">
            <a:extLst>
              <a:ext uri="{FF2B5EF4-FFF2-40B4-BE49-F238E27FC236}">
                <a16:creationId xmlns:a16="http://schemas.microsoft.com/office/drawing/2014/main" id="{BED75CD9-EE82-4AD3-BAD4-454582A49535}"/>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9A4A67AA-B00E-4B7C-A96E-5D28A2363596}"/>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19242234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4ADF379-47CB-40A3-8E71-EB8792A394C2}"/>
              </a:ext>
            </a:extLst>
          </p:cNvPr>
          <p:cNvSpPr>
            <a:spLocks noGrp="1"/>
          </p:cNvSpPr>
          <p:nvPr>
            <p:ph type="title"/>
          </p:nvPr>
        </p:nvSpPr>
        <p:spPr>
          <a:xfrm>
            <a:off x="839788" y="365125"/>
            <a:ext cx="10515600" cy="1325563"/>
          </a:xfrm>
        </p:spPr>
        <p:txBody>
          <a:bodyPr/>
          <a:lstStyle/>
          <a:p>
            <a:r>
              <a:rPr lang="nb-NO"/>
              <a:t>Klikk for å redigere tittelstil</a:t>
            </a:r>
          </a:p>
        </p:txBody>
      </p:sp>
      <p:sp>
        <p:nvSpPr>
          <p:cNvPr id="3" name="Plassholder for tekst 2">
            <a:extLst>
              <a:ext uri="{FF2B5EF4-FFF2-40B4-BE49-F238E27FC236}">
                <a16:creationId xmlns:a16="http://schemas.microsoft.com/office/drawing/2014/main" id="{7C04CB46-681F-4C0A-BE0F-10CB56D45C7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a:extLst>
              <a:ext uri="{FF2B5EF4-FFF2-40B4-BE49-F238E27FC236}">
                <a16:creationId xmlns:a16="http://schemas.microsoft.com/office/drawing/2014/main" id="{13E5EE9F-CB8B-423F-B03B-1FDF0B12904F}"/>
              </a:ext>
            </a:extLst>
          </p:cNvPr>
          <p:cNvSpPr>
            <a:spLocks noGrp="1"/>
          </p:cNvSpPr>
          <p:nvPr>
            <p:ph sz="half" idx="2"/>
          </p:nvPr>
        </p:nvSpPr>
        <p:spPr>
          <a:xfrm>
            <a:off x="839788" y="2505075"/>
            <a:ext cx="5157787" cy="36845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a:extLst>
              <a:ext uri="{FF2B5EF4-FFF2-40B4-BE49-F238E27FC236}">
                <a16:creationId xmlns:a16="http://schemas.microsoft.com/office/drawing/2014/main" id="{F0B779D8-331C-4EDA-85CD-72C54D9DF85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a:extLst>
              <a:ext uri="{FF2B5EF4-FFF2-40B4-BE49-F238E27FC236}">
                <a16:creationId xmlns:a16="http://schemas.microsoft.com/office/drawing/2014/main" id="{D1847043-2BBD-46E7-8D85-3CDCB32FF560}"/>
              </a:ext>
            </a:extLst>
          </p:cNvPr>
          <p:cNvSpPr>
            <a:spLocks noGrp="1"/>
          </p:cNvSpPr>
          <p:nvPr>
            <p:ph sz="quarter" idx="4"/>
          </p:nvPr>
        </p:nvSpPr>
        <p:spPr>
          <a:xfrm>
            <a:off x="6172200" y="2505075"/>
            <a:ext cx="5183188" cy="36845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dato 6">
            <a:extLst>
              <a:ext uri="{FF2B5EF4-FFF2-40B4-BE49-F238E27FC236}">
                <a16:creationId xmlns:a16="http://schemas.microsoft.com/office/drawing/2014/main" id="{1E61E9ED-BB07-40DB-AF52-AC1E272F6DC6}"/>
              </a:ext>
            </a:extLst>
          </p:cNvPr>
          <p:cNvSpPr>
            <a:spLocks noGrp="1"/>
          </p:cNvSpPr>
          <p:nvPr>
            <p:ph type="dt" sz="half" idx="10"/>
          </p:nvPr>
        </p:nvSpPr>
        <p:spPr/>
        <p:txBody>
          <a:bodyPr/>
          <a:lstStyle/>
          <a:p>
            <a:fld id="{2614328E-7FA6-40D2-95B5-CB35580DED90}" type="datetimeFigureOut">
              <a:rPr lang="nb-NO" smtClean="0"/>
              <a:t>18.08.2021</a:t>
            </a:fld>
            <a:endParaRPr lang="nb-NO"/>
          </a:p>
        </p:txBody>
      </p:sp>
      <p:sp>
        <p:nvSpPr>
          <p:cNvPr id="8" name="Plassholder for bunntekst 7">
            <a:extLst>
              <a:ext uri="{FF2B5EF4-FFF2-40B4-BE49-F238E27FC236}">
                <a16:creationId xmlns:a16="http://schemas.microsoft.com/office/drawing/2014/main" id="{785EFACA-CFAB-44EB-8945-F838950F92DF}"/>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9F9D3B0B-958E-4C16-837D-CF47FAABC4D0}"/>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34608150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66F2EA0-3F93-4C70-9933-26AB785BED0B}"/>
              </a:ext>
            </a:extLst>
          </p:cNvPr>
          <p:cNvSpPr>
            <a:spLocks noGrp="1"/>
          </p:cNvSpPr>
          <p:nvPr>
            <p:ph type="title"/>
          </p:nvPr>
        </p:nvSpPr>
        <p:spPr/>
        <p:txBody>
          <a:bodyPr/>
          <a:lstStyle/>
          <a:p>
            <a:r>
              <a:rPr lang="nb-NO"/>
              <a:t>Klikk for å redigere tittelstil</a:t>
            </a:r>
          </a:p>
        </p:txBody>
      </p:sp>
      <p:sp>
        <p:nvSpPr>
          <p:cNvPr id="3" name="Plassholder for dato 2">
            <a:extLst>
              <a:ext uri="{FF2B5EF4-FFF2-40B4-BE49-F238E27FC236}">
                <a16:creationId xmlns:a16="http://schemas.microsoft.com/office/drawing/2014/main" id="{B71FA96F-368E-44E8-8084-8BAFF9BE8B82}"/>
              </a:ext>
            </a:extLst>
          </p:cNvPr>
          <p:cNvSpPr>
            <a:spLocks noGrp="1"/>
          </p:cNvSpPr>
          <p:nvPr>
            <p:ph type="dt" sz="half" idx="10"/>
          </p:nvPr>
        </p:nvSpPr>
        <p:spPr/>
        <p:txBody>
          <a:bodyPr/>
          <a:lstStyle/>
          <a:p>
            <a:fld id="{2614328E-7FA6-40D2-95B5-CB35580DED90}" type="datetimeFigureOut">
              <a:rPr lang="nb-NO" smtClean="0"/>
              <a:t>18.08.2021</a:t>
            </a:fld>
            <a:endParaRPr lang="nb-NO"/>
          </a:p>
        </p:txBody>
      </p:sp>
      <p:sp>
        <p:nvSpPr>
          <p:cNvPr id="4" name="Plassholder for bunntekst 3">
            <a:extLst>
              <a:ext uri="{FF2B5EF4-FFF2-40B4-BE49-F238E27FC236}">
                <a16:creationId xmlns:a16="http://schemas.microsoft.com/office/drawing/2014/main" id="{24F096BF-3EA0-49DB-8470-A4EC42389DD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B2E0D4E6-5A2B-4176-8511-8C7CF87B619F}"/>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35457122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91953BE-9FEC-4682-ABD0-54D030DFFFC5}"/>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FF1B907C-B3E3-4243-97DC-84C7E5DFD922}"/>
              </a:ext>
            </a:extLst>
          </p:cNvPr>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68EA692B-05AF-4340-AD5D-EFDE5A78B064}"/>
              </a:ext>
            </a:extLst>
          </p:cNvPr>
          <p:cNvSpPr>
            <a:spLocks noGrp="1"/>
          </p:cNvSpPr>
          <p:nvPr>
            <p:ph type="dt" sz="half" idx="10"/>
          </p:nvPr>
        </p:nvSpPr>
        <p:spPr/>
        <p:txBody>
          <a:bodyPr/>
          <a:lstStyle/>
          <a:p>
            <a:fld id="{2614328E-7FA6-40D2-95B5-CB35580DED90}" type="datetimeFigureOut">
              <a:rPr lang="nb-NO" smtClean="0"/>
              <a:t>18.08.2021</a:t>
            </a:fld>
            <a:endParaRPr lang="nb-NO"/>
          </a:p>
        </p:txBody>
      </p:sp>
      <p:sp>
        <p:nvSpPr>
          <p:cNvPr id="5" name="Plassholder for bunntekst 4">
            <a:extLst>
              <a:ext uri="{FF2B5EF4-FFF2-40B4-BE49-F238E27FC236}">
                <a16:creationId xmlns:a16="http://schemas.microsoft.com/office/drawing/2014/main" id="{D713D007-0D57-42BD-B20F-2004A32BE4A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2651C0C2-CBB1-4B04-B3CF-9F1612B2D239}"/>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9109320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906D5416-C5C3-4DB9-8A93-BB80D8C69D0D}"/>
              </a:ext>
            </a:extLst>
          </p:cNvPr>
          <p:cNvSpPr>
            <a:spLocks noGrp="1"/>
          </p:cNvSpPr>
          <p:nvPr>
            <p:ph type="dt" sz="half" idx="10"/>
          </p:nvPr>
        </p:nvSpPr>
        <p:spPr/>
        <p:txBody>
          <a:bodyPr/>
          <a:lstStyle/>
          <a:p>
            <a:fld id="{2614328E-7FA6-40D2-95B5-CB35580DED90}" type="datetimeFigureOut">
              <a:rPr lang="nb-NO" smtClean="0"/>
              <a:t>18.08.2021</a:t>
            </a:fld>
            <a:endParaRPr lang="nb-NO"/>
          </a:p>
        </p:txBody>
      </p:sp>
      <p:sp>
        <p:nvSpPr>
          <p:cNvPr id="3" name="Plassholder for bunntekst 2">
            <a:extLst>
              <a:ext uri="{FF2B5EF4-FFF2-40B4-BE49-F238E27FC236}">
                <a16:creationId xmlns:a16="http://schemas.microsoft.com/office/drawing/2014/main" id="{C398D727-5D28-4DD6-B5C6-411FD17B17DB}"/>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0966B3A8-6B76-485D-A03B-BFB81651BD92}"/>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11251517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21D2574-F03A-441E-9853-FFBB943B1574}"/>
              </a:ext>
            </a:extLst>
          </p:cNvPr>
          <p:cNvSpPr>
            <a:spLocks noGrp="1"/>
          </p:cNvSpPr>
          <p:nvPr>
            <p:ph type="title"/>
          </p:nvPr>
        </p:nvSpPr>
        <p:spPr>
          <a:xfrm>
            <a:off x="839788" y="457200"/>
            <a:ext cx="3932237" cy="1600200"/>
          </a:xfrm>
        </p:spPr>
        <p:txBody>
          <a:bodyPr anchor="b"/>
          <a:lstStyle>
            <a:lvl1pPr>
              <a:defRPr sz="3200"/>
            </a:lvl1pPr>
          </a:lstStyle>
          <a:p>
            <a:r>
              <a:rPr lang="nb-NO"/>
              <a:t>Klikk for å redigere tittelstil</a:t>
            </a:r>
          </a:p>
        </p:txBody>
      </p:sp>
      <p:sp>
        <p:nvSpPr>
          <p:cNvPr id="3" name="Plassholder for innhold 2">
            <a:extLst>
              <a:ext uri="{FF2B5EF4-FFF2-40B4-BE49-F238E27FC236}">
                <a16:creationId xmlns:a16="http://schemas.microsoft.com/office/drawing/2014/main" id="{F5CDA757-87FD-43E6-BDEF-AADA886954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a:extLst>
              <a:ext uri="{FF2B5EF4-FFF2-40B4-BE49-F238E27FC236}">
                <a16:creationId xmlns:a16="http://schemas.microsoft.com/office/drawing/2014/main" id="{054D8F2E-C1B9-4EC9-8A89-D5B9A4846A7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for å redigere tekststiler i malen</a:t>
            </a:r>
          </a:p>
        </p:txBody>
      </p:sp>
      <p:sp>
        <p:nvSpPr>
          <p:cNvPr id="5" name="Plassholder for dato 4">
            <a:extLst>
              <a:ext uri="{FF2B5EF4-FFF2-40B4-BE49-F238E27FC236}">
                <a16:creationId xmlns:a16="http://schemas.microsoft.com/office/drawing/2014/main" id="{E5514BCD-5D1F-4B84-B4DA-7560AD8155C3}"/>
              </a:ext>
            </a:extLst>
          </p:cNvPr>
          <p:cNvSpPr>
            <a:spLocks noGrp="1"/>
          </p:cNvSpPr>
          <p:nvPr>
            <p:ph type="dt" sz="half" idx="10"/>
          </p:nvPr>
        </p:nvSpPr>
        <p:spPr/>
        <p:txBody>
          <a:bodyPr/>
          <a:lstStyle/>
          <a:p>
            <a:fld id="{2614328E-7FA6-40D2-95B5-CB35580DED90}" type="datetimeFigureOut">
              <a:rPr lang="nb-NO" smtClean="0"/>
              <a:t>18.08.2021</a:t>
            </a:fld>
            <a:endParaRPr lang="nb-NO"/>
          </a:p>
        </p:txBody>
      </p:sp>
      <p:sp>
        <p:nvSpPr>
          <p:cNvPr id="6" name="Plassholder for bunntekst 5">
            <a:extLst>
              <a:ext uri="{FF2B5EF4-FFF2-40B4-BE49-F238E27FC236}">
                <a16:creationId xmlns:a16="http://schemas.microsoft.com/office/drawing/2014/main" id="{B72C9BB3-D527-4CCE-AC33-736985A06CE6}"/>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CC5F28DF-75C5-4751-9435-0D29FA314B00}"/>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5907072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1F39DD2-A97D-4B05-A509-F0006FEBBC6C}"/>
              </a:ext>
            </a:extLst>
          </p:cNvPr>
          <p:cNvSpPr>
            <a:spLocks noGrp="1"/>
          </p:cNvSpPr>
          <p:nvPr>
            <p:ph type="title"/>
          </p:nvPr>
        </p:nvSpPr>
        <p:spPr>
          <a:xfrm>
            <a:off x="839788" y="457200"/>
            <a:ext cx="3932237" cy="1600200"/>
          </a:xfrm>
        </p:spPr>
        <p:txBody>
          <a:bodyPr anchor="b"/>
          <a:lstStyle>
            <a:lvl1pPr>
              <a:defRPr sz="3200"/>
            </a:lvl1pPr>
          </a:lstStyle>
          <a:p>
            <a:r>
              <a:rPr lang="nb-NO"/>
              <a:t>Klikk for å redigere tittelstil</a:t>
            </a:r>
          </a:p>
        </p:txBody>
      </p:sp>
      <p:sp>
        <p:nvSpPr>
          <p:cNvPr id="3" name="Plassholder for bilde 2">
            <a:extLst>
              <a:ext uri="{FF2B5EF4-FFF2-40B4-BE49-F238E27FC236}">
                <a16:creationId xmlns:a16="http://schemas.microsoft.com/office/drawing/2014/main" id="{BC97AE79-8E8A-4C84-A63A-A23342F4830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Plassholder for tekst 3">
            <a:extLst>
              <a:ext uri="{FF2B5EF4-FFF2-40B4-BE49-F238E27FC236}">
                <a16:creationId xmlns:a16="http://schemas.microsoft.com/office/drawing/2014/main" id="{FD902F67-B0CD-4B9D-BEDF-BB1BB32273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for å redigere tekststiler i malen</a:t>
            </a:r>
          </a:p>
        </p:txBody>
      </p:sp>
      <p:sp>
        <p:nvSpPr>
          <p:cNvPr id="5" name="Plassholder for dato 4">
            <a:extLst>
              <a:ext uri="{FF2B5EF4-FFF2-40B4-BE49-F238E27FC236}">
                <a16:creationId xmlns:a16="http://schemas.microsoft.com/office/drawing/2014/main" id="{DEF09D3B-ADA4-4FC6-878C-A02A710457FC}"/>
              </a:ext>
            </a:extLst>
          </p:cNvPr>
          <p:cNvSpPr>
            <a:spLocks noGrp="1"/>
          </p:cNvSpPr>
          <p:nvPr>
            <p:ph type="dt" sz="half" idx="10"/>
          </p:nvPr>
        </p:nvSpPr>
        <p:spPr/>
        <p:txBody>
          <a:bodyPr/>
          <a:lstStyle/>
          <a:p>
            <a:fld id="{2614328E-7FA6-40D2-95B5-CB35580DED90}" type="datetimeFigureOut">
              <a:rPr lang="nb-NO" smtClean="0"/>
              <a:t>18.08.2021</a:t>
            </a:fld>
            <a:endParaRPr lang="nb-NO"/>
          </a:p>
        </p:txBody>
      </p:sp>
      <p:sp>
        <p:nvSpPr>
          <p:cNvPr id="6" name="Plassholder for bunntekst 5">
            <a:extLst>
              <a:ext uri="{FF2B5EF4-FFF2-40B4-BE49-F238E27FC236}">
                <a16:creationId xmlns:a16="http://schemas.microsoft.com/office/drawing/2014/main" id="{28A84E15-B145-4996-8549-07B842E7705C}"/>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957B3445-7C9D-4843-A393-2C9BA94140B8}"/>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30386610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896CE0D-7C0E-4D8C-B3FC-BE8C3DD2332D}"/>
              </a:ext>
            </a:extLst>
          </p:cNvPr>
          <p:cNvSpPr>
            <a:spLocks noGrp="1"/>
          </p:cNvSpPr>
          <p:nvPr>
            <p:ph type="title"/>
          </p:nvPr>
        </p:nvSpPr>
        <p:spPr/>
        <p:txBody>
          <a:bodyPr/>
          <a:lstStyle/>
          <a:p>
            <a:r>
              <a:rPr lang="nb-NO"/>
              <a:t>Klikk for å redigere tittelstil</a:t>
            </a:r>
          </a:p>
        </p:txBody>
      </p:sp>
      <p:sp>
        <p:nvSpPr>
          <p:cNvPr id="3" name="Plassholder for loddrett tekst 2">
            <a:extLst>
              <a:ext uri="{FF2B5EF4-FFF2-40B4-BE49-F238E27FC236}">
                <a16:creationId xmlns:a16="http://schemas.microsoft.com/office/drawing/2014/main" id="{5A1DAC45-52EE-4528-8A6C-5E4544CC278C}"/>
              </a:ext>
            </a:extLst>
          </p:cNvPr>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82A3E147-54C0-4C14-80FA-A321E42D897E}"/>
              </a:ext>
            </a:extLst>
          </p:cNvPr>
          <p:cNvSpPr>
            <a:spLocks noGrp="1"/>
          </p:cNvSpPr>
          <p:nvPr>
            <p:ph type="dt" sz="half" idx="10"/>
          </p:nvPr>
        </p:nvSpPr>
        <p:spPr/>
        <p:txBody>
          <a:bodyPr/>
          <a:lstStyle/>
          <a:p>
            <a:fld id="{2614328E-7FA6-40D2-95B5-CB35580DED90}" type="datetimeFigureOut">
              <a:rPr lang="nb-NO" smtClean="0"/>
              <a:t>18.08.2021</a:t>
            </a:fld>
            <a:endParaRPr lang="nb-NO"/>
          </a:p>
        </p:txBody>
      </p:sp>
      <p:sp>
        <p:nvSpPr>
          <p:cNvPr id="5" name="Plassholder for bunntekst 4">
            <a:extLst>
              <a:ext uri="{FF2B5EF4-FFF2-40B4-BE49-F238E27FC236}">
                <a16:creationId xmlns:a16="http://schemas.microsoft.com/office/drawing/2014/main" id="{0EEF335D-8A49-4B0A-B9D4-C95037BEB964}"/>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3E5A502-A2ED-4757-9F53-CB57A54EE872}"/>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37215516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a:extLst>
              <a:ext uri="{FF2B5EF4-FFF2-40B4-BE49-F238E27FC236}">
                <a16:creationId xmlns:a16="http://schemas.microsoft.com/office/drawing/2014/main" id="{8288BD1C-4115-4A5E-85F0-20D772E9E8F3}"/>
              </a:ext>
            </a:extLst>
          </p:cNvPr>
          <p:cNvSpPr>
            <a:spLocks noGrp="1"/>
          </p:cNvSpPr>
          <p:nvPr>
            <p:ph type="title" orient="vert"/>
          </p:nvPr>
        </p:nvSpPr>
        <p:spPr>
          <a:xfrm>
            <a:off x="8724900" y="365125"/>
            <a:ext cx="2628900" cy="5811838"/>
          </a:xfrm>
        </p:spPr>
        <p:txBody>
          <a:bodyPr vert="eaVert"/>
          <a:lstStyle/>
          <a:p>
            <a:r>
              <a:rPr lang="nb-NO"/>
              <a:t>Klikk for å redigere tittelstil</a:t>
            </a:r>
          </a:p>
        </p:txBody>
      </p:sp>
      <p:sp>
        <p:nvSpPr>
          <p:cNvPr id="3" name="Plassholder for loddrett tekst 2">
            <a:extLst>
              <a:ext uri="{FF2B5EF4-FFF2-40B4-BE49-F238E27FC236}">
                <a16:creationId xmlns:a16="http://schemas.microsoft.com/office/drawing/2014/main" id="{906ACA2E-8167-4D78-8ADB-B28482A5B6A7}"/>
              </a:ext>
            </a:extLst>
          </p:cNvPr>
          <p:cNvSpPr>
            <a:spLocks noGrp="1"/>
          </p:cNvSpPr>
          <p:nvPr>
            <p:ph type="body" orient="vert" idx="1"/>
          </p:nvPr>
        </p:nvSpPr>
        <p:spPr>
          <a:xfrm>
            <a:off x="838200" y="365125"/>
            <a:ext cx="7734300" cy="5811838"/>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45B8987F-738D-4FA8-89DB-4B8130B3453E}"/>
              </a:ext>
            </a:extLst>
          </p:cNvPr>
          <p:cNvSpPr>
            <a:spLocks noGrp="1"/>
          </p:cNvSpPr>
          <p:nvPr>
            <p:ph type="dt" sz="half" idx="10"/>
          </p:nvPr>
        </p:nvSpPr>
        <p:spPr/>
        <p:txBody>
          <a:bodyPr/>
          <a:lstStyle/>
          <a:p>
            <a:fld id="{2614328E-7FA6-40D2-95B5-CB35580DED90}" type="datetimeFigureOut">
              <a:rPr lang="nb-NO" smtClean="0"/>
              <a:t>18.08.2021</a:t>
            </a:fld>
            <a:endParaRPr lang="nb-NO"/>
          </a:p>
        </p:txBody>
      </p:sp>
      <p:sp>
        <p:nvSpPr>
          <p:cNvPr id="5" name="Plassholder for bunntekst 4">
            <a:extLst>
              <a:ext uri="{FF2B5EF4-FFF2-40B4-BE49-F238E27FC236}">
                <a16:creationId xmlns:a16="http://schemas.microsoft.com/office/drawing/2014/main" id="{12090F46-4D53-49DC-895C-6B5980F0BBB2}"/>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60BB38E9-3E68-4C3D-97CC-E0ACA3214728}"/>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29472646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ittel og innho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5E05C08-5923-41E0-B0F2-DE3C60CBE8C0}"/>
              </a:ext>
            </a:extLst>
          </p:cNvPr>
          <p:cNvGraphicFramePr>
            <a:graphicFrameLocks noChangeAspect="1"/>
          </p:cNvGraphicFramePr>
          <p:nvPr userDrawn="1">
            <p:custDataLst>
              <p:tags r:id="rId2"/>
            </p:custDataLst>
            <p:extLst>
              <p:ext uri="{D42A27DB-BD31-4B8C-83A1-F6EECF244321}">
                <p14:modId xmlns:p14="http://schemas.microsoft.com/office/powerpoint/2010/main" val="172699084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4098"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75E05C08-5923-41E0-B0F2-DE3C60CBE8C0}"/>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A6D172-2F8C-4641-A06B-ABD78145BFFB}"/>
              </a:ext>
            </a:extLst>
          </p:cNvPr>
          <p:cNvSpPr/>
          <p:nvPr userDrawn="1">
            <p:custDataLst>
              <p:tags r:id="rId3"/>
            </p:custDataLst>
          </p:nvPr>
        </p:nvSpPr>
        <p:spPr>
          <a:xfrm>
            <a:off x="0" y="0"/>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4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Plassholder for lysbildenummer 5"/>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hasCustomPrompt="1"/>
          </p:nvPr>
        </p:nvSpPr>
        <p:spPr>
          <a:xfrm>
            <a:off x="401847" y="397785"/>
            <a:ext cx="11224996" cy="738664"/>
          </a:xfrm>
          <a:prstGeom prst="rect">
            <a:avLst/>
          </a:prstGeom>
        </p:spPr>
        <p:txBody>
          <a:bodyPr wrap="square" lIns="0" tIns="0" rIns="0" bIns="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hasCustomPrompt="1"/>
          </p:nvPr>
        </p:nvSpPr>
        <p:spPr>
          <a:xfrm>
            <a:off x="401847" y="1347021"/>
            <a:ext cx="11224996" cy="4818365"/>
          </a:xfrm>
          <a:prstGeom prst="rect">
            <a:avLst/>
          </a:prstGeom>
        </p:spPr>
        <p:txBody>
          <a:bodyPr lIns="0" tIns="0" rIns="0" bIns="0">
            <a:noAutofit/>
          </a:bodyPr>
          <a:lstStyle>
            <a:lvl1pPr marL="0" indent="0">
              <a:buNone/>
              <a:defRPr/>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602080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B32804E-8CA1-4E8C-A721-27D406C45FA1}"/>
              </a:ext>
            </a:extLst>
          </p:cNvPr>
          <p:cNvSpPr>
            <a:spLocks noGrp="1"/>
          </p:cNvSpPr>
          <p:nvPr>
            <p:ph type="title"/>
          </p:nvPr>
        </p:nvSpPr>
        <p:spPr>
          <a:xfrm>
            <a:off x="831850" y="1709738"/>
            <a:ext cx="10515600" cy="2852737"/>
          </a:xfrm>
        </p:spPr>
        <p:txBody>
          <a:bodyPr anchor="b"/>
          <a:lstStyle>
            <a:lvl1pPr>
              <a:defRPr sz="6000"/>
            </a:lvl1pPr>
          </a:lstStyle>
          <a:p>
            <a:r>
              <a:rPr lang="nb-NO"/>
              <a:t>Klikk for å redigere tittelstil</a:t>
            </a:r>
          </a:p>
        </p:txBody>
      </p:sp>
      <p:sp>
        <p:nvSpPr>
          <p:cNvPr id="3" name="Plassholder for tekst 2">
            <a:extLst>
              <a:ext uri="{FF2B5EF4-FFF2-40B4-BE49-F238E27FC236}">
                <a16:creationId xmlns:a16="http://schemas.microsoft.com/office/drawing/2014/main" id="{5F009C6C-2760-427F-830A-B36FAA0E66D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a:t>Klikk for å redigere tekststiler i malen</a:t>
            </a:r>
          </a:p>
        </p:txBody>
      </p:sp>
      <p:sp>
        <p:nvSpPr>
          <p:cNvPr id="4" name="Plassholder for dato 3">
            <a:extLst>
              <a:ext uri="{FF2B5EF4-FFF2-40B4-BE49-F238E27FC236}">
                <a16:creationId xmlns:a16="http://schemas.microsoft.com/office/drawing/2014/main" id="{782CF19E-AEFB-4E03-AEC2-7D14B28BC012}"/>
              </a:ext>
            </a:extLst>
          </p:cNvPr>
          <p:cNvSpPr>
            <a:spLocks noGrp="1"/>
          </p:cNvSpPr>
          <p:nvPr>
            <p:ph type="dt" sz="half" idx="10"/>
          </p:nvPr>
        </p:nvSpPr>
        <p:spPr/>
        <p:txBody>
          <a:bodyPr/>
          <a:lstStyle/>
          <a:p>
            <a:fld id="{2614328E-7FA6-40D2-95B5-CB35580DED90}" type="datetimeFigureOut">
              <a:rPr lang="nb-NO" smtClean="0"/>
              <a:t>18.08.2021</a:t>
            </a:fld>
            <a:endParaRPr lang="nb-NO"/>
          </a:p>
        </p:txBody>
      </p:sp>
      <p:sp>
        <p:nvSpPr>
          <p:cNvPr id="5" name="Plassholder for bunntekst 4">
            <a:extLst>
              <a:ext uri="{FF2B5EF4-FFF2-40B4-BE49-F238E27FC236}">
                <a16:creationId xmlns:a16="http://schemas.microsoft.com/office/drawing/2014/main" id="{DEA508E2-42F2-4FB1-807D-F038B64F0026}"/>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08E5E848-E0CF-4EC2-98F8-C449632F67BD}"/>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40993641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2B12AF4-F74C-4D93-977E-21816BC477C3}"/>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9FBE941E-886D-4C5E-BAF5-7AD2E93B4810}"/>
              </a:ext>
            </a:extLst>
          </p:cNvPr>
          <p:cNvSpPr>
            <a:spLocks noGrp="1"/>
          </p:cNvSpPr>
          <p:nvPr>
            <p:ph sz="half" idx="1"/>
          </p:nvPr>
        </p:nvSpPr>
        <p:spPr>
          <a:xfrm>
            <a:off x="838200" y="1825625"/>
            <a:ext cx="5181600" cy="435133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a:extLst>
              <a:ext uri="{FF2B5EF4-FFF2-40B4-BE49-F238E27FC236}">
                <a16:creationId xmlns:a16="http://schemas.microsoft.com/office/drawing/2014/main" id="{6DB3F7B5-F8B2-4703-9C62-9C01B253D573}"/>
              </a:ext>
            </a:extLst>
          </p:cNvPr>
          <p:cNvSpPr>
            <a:spLocks noGrp="1"/>
          </p:cNvSpPr>
          <p:nvPr>
            <p:ph sz="half" idx="2"/>
          </p:nvPr>
        </p:nvSpPr>
        <p:spPr>
          <a:xfrm>
            <a:off x="6172200" y="1825625"/>
            <a:ext cx="5181600" cy="435133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a:extLst>
              <a:ext uri="{FF2B5EF4-FFF2-40B4-BE49-F238E27FC236}">
                <a16:creationId xmlns:a16="http://schemas.microsoft.com/office/drawing/2014/main" id="{E6BAA716-4CE0-4E3C-B3C7-6B1749802B0E}"/>
              </a:ext>
            </a:extLst>
          </p:cNvPr>
          <p:cNvSpPr>
            <a:spLocks noGrp="1"/>
          </p:cNvSpPr>
          <p:nvPr>
            <p:ph type="dt" sz="half" idx="10"/>
          </p:nvPr>
        </p:nvSpPr>
        <p:spPr/>
        <p:txBody>
          <a:bodyPr/>
          <a:lstStyle/>
          <a:p>
            <a:fld id="{2614328E-7FA6-40D2-95B5-CB35580DED90}" type="datetimeFigureOut">
              <a:rPr lang="nb-NO" smtClean="0"/>
              <a:t>18.08.2021</a:t>
            </a:fld>
            <a:endParaRPr lang="nb-NO"/>
          </a:p>
        </p:txBody>
      </p:sp>
      <p:sp>
        <p:nvSpPr>
          <p:cNvPr id="6" name="Plassholder for bunntekst 5">
            <a:extLst>
              <a:ext uri="{FF2B5EF4-FFF2-40B4-BE49-F238E27FC236}">
                <a16:creationId xmlns:a16="http://schemas.microsoft.com/office/drawing/2014/main" id="{BED75CD9-EE82-4AD3-BAD4-454582A49535}"/>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9A4A67AA-B00E-4B7C-A96E-5D28A2363596}"/>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21044803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4ADF379-47CB-40A3-8E71-EB8792A394C2}"/>
              </a:ext>
            </a:extLst>
          </p:cNvPr>
          <p:cNvSpPr>
            <a:spLocks noGrp="1"/>
          </p:cNvSpPr>
          <p:nvPr>
            <p:ph type="title"/>
          </p:nvPr>
        </p:nvSpPr>
        <p:spPr>
          <a:xfrm>
            <a:off x="839788" y="365125"/>
            <a:ext cx="10515600" cy="1325563"/>
          </a:xfrm>
        </p:spPr>
        <p:txBody>
          <a:bodyPr/>
          <a:lstStyle/>
          <a:p>
            <a:r>
              <a:rPr lang="nb-NO"/>
              <a:t>Klikk for å redigere tittelstil</a:t>
            </a:r>
          </a:p>
        </p:txBody>
      </p:sp>
      <p:sp>
        <p:nvSpPr>
          <p:cNvPr id="3" name="Plassholder for tekst 2">
            <a:extLst>
              <a:ext uri="{FF2B5EF4-FFF2-40B4-BE49-F238E27FC236}">
                <a16:creationId xmlns:a16="http://schemas.microsoft.com/office/drawing/2014/main" id="{7C04CB46-681F-4C0A-BE0F-10CB56D45C7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a:extLst>
              <a:ext uri="{FF2B5EF4-FFF2-40B4-BE49-F238E27FC236}">
                <a16:creationId xmlns:a16="http://schemas.microsoft.com/office/drawing/2014/main" id="{13E5EE9F-CB8B-423F-B03B-1FDF0B12904F}"/>
              </a:ext>
            </a:extLst>
          </p:cNvPr>
          <p:cNvSpPr>
            <a:spLocks noGrp="1"/>
          </p:cNvSpPr>
          <p:nvPr>
            <p:ph sz="half" idx="2"/>
          </p:nvPr>
        </p:nvSpPr>
        <p:spPr>
          <a:xfrm>
            <a:off x="839788" y="2505075"/>
            <a:ext cx="5157787" cy="36845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a:extLst>
              <a:ext uri="{FF2B5EF4-FFF2-40B4-BE49-F238E27FC236}">
                <a16:creationId xmlns:a16="http://schemas.microsoft.com/office/drawing/2014/main" id="{F0B779D8-331C-4EDA-85CD-72C54D9DF85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a:extLst>
              <a:ext uri="{FF2B5EF4-FFF2-40B4-BE49-F238E27FC236}">
                <a16:creationId xmlns:a16="http://schemas.microsoft.com/office/drawing/2014/main" id="{D1847043-2BBD-46E7-8D85-3CDCB32FF560}"/>
              </a:ext>
            </a:extLst>
          </p:cNvPr>
          <p:cNvSpPr>
            <a:spLocks noGrp="1"/>
          </p:cNvSpPr>
          <p:nvPr>
            <p:ph sz="quarter" idx="4"/>
          </p:nvPr>
        </p:nvSpPr>
        <p:spPr>
          <a:xfrm>
            <a:off x="6172200" y="2505075"/>
            <a:ext cx="5183188" cy="36845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dato 6">
            <a:extLst>
              <a:ext uri="{FF2B5EF4-FFF2-40B4-BE49-F238E27FC236}">
                <a16:creationId xmlns:a16="http://schemas.microsoft.com/office/drawing/2014/main" id="{1E61E9ED-BB07-40DB-AF52-AC1E272F6DC6}"/>
              </a:ext>
            </a:extLst>
          </p:cNvPr>
          <p:cNvSpPr>
            <a:spLocks noGrp="1"/>
          </p:cNvSpPr>
          <p:nvPr>
            <p:ph type="dt" sz="half" idx="10"/>
          </p:nvPr>
        </p:nvSpPr>
        <p:spPr/>
        <p:txBody>
          <a:bodyPr/>
          <a:lstStyle/>
          <a:p>
            <a:fld id="{2614328E-7FA6-40D2-95B5-CB35580DED90}" type="datetimeFigureOut">
              <a:rPr lang="nb-NO" smtClean="0"/>
              <a:t>18.08.2021</a:t>
            </a:fld>
            <a:endParaRPr lang="nb-NO"/>
          </a:p>
        </p:txBody>
      </p:sp>
      <p:sp>
        <p:nvSpPr>
          <p:cNvPr id="8" name="Plassholder for bunntekst 7">
            <a:extLst>
              <a:ext uri="{FF2B5EF4-FFF2-40B4-BE49-F238E27FC236}">
                <a16:creationId xmlns:a16="http://schemas.microsoft.com/office/drawing/2014/main" id="{785EFACA-CFAB-44EB-8945-F838950F92DF}"/>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9F9D3B0B-958E-4C16-837D-CF47FAABC4D0}"/>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12470801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66F2EA0-3F93-4C70-9933-26AB785BED0B}"/>
              </a:ext>
            </a:extLst>
          </p:cNvPr>
          <p:cNvSpPr>
            <a:spLocks noGrp="1"/>
          </p:cNvSpPr>
          <p:nvPr>
            <p:ph type="title"/>
          </p:nvPr>
        </p:nvSpPr>
        <p:spPr/>
        <p:txBody>
          <a:bodyPr/>
          <a:lstStyle/>
          <a:p>
            <a:r>
              <a:rPr lang="nb-NO"/>
              <a:t>Klikk for å redigere tittelstil</a:t>
            </a:r>
          </a:p>
        </p:txBody>
      </p:sp>
      <p:sp>
        <p:nvSpPr>
          <p:cNvPr id="3" name="Plassholder for dato 2">
            <a:extLst>
              <a:ext uri="{FF2B5EF4-FFF2-40B4-BE49-F238E27FC236}">
                <a16:creationId xmlns:a16="http://schemas.microsoft.com/office/drawing/2014/main" id="{B71FA96F-368E-44E8-8084-8BAFF9BE8B82}"/>
              </a:ext>
            </a:extLst>
          </p:cNvPr>
          <p:cNvSpPr>
            <a:spLocks noGrp="1"/>
          </p:cNvSpPr>
          <p:nvPr>
            <p:ph type="dt" sz="half" idx="10"/>
          </p:nvPr>
        </p:nvSpPr>
        <p:spPr/>
        <p:txBody>
          <a:bodyPr/>
          <a:lstStyle/>
          <a:p>
            <a:fld id="{2614328E-7FA6-40D2-95B5-CB35580DED90}" type="datetimeFigureOut">
              <a:rPr lang="nb-NO" smtClean="0"/>
              <a:t>18.08.2021</a:t>
            </a:fld>
            <a:endParaRPr lang="nb-NO"/>
          </a:p>
        </p:txBody>
      </p:sp>
      <p:sp>
        <p:nvSpPr>
          <p:cNvPr id="4" name="Plassholder for bunntekst 3">
            <a:extLst>
              <a:ext uri="{FF2B5EF4-FFF2-40B4-BE49-F238E27FC236}">
                <a16:creationId xmlns:a16="http://schemas.microsoft.com/office/drawing/2014/main" id="{24F096BF-3EA0-49DB-8470-A4EC42389DD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B2E0D4E6-5A2B-4176-8511-8C7CF87B619F}"/>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23055927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906D5416-C5C3-4DB9-8A93-BB80D8C69D0D}"/>
              </a:ext>
            </a:extLst>
          </p:cNvPr>
          <p:cNvSpPr>
            <a:spLocks noGrp="1"/>
          </p:cNvSpPr>
          <p:nvPr>
            <p:ph type="dt" sz="half" idx="10"/>
          </p:nvPr>
        </p:nvSpPr>
        <p:spPr/>
        <p:txBody>
          <a:bodyPr/>
          <a:lstStyle/>
          <a:p>
            <a:fld id="{2614328E-7FA6-40D2-95B5-CB35580DED90}" type="datetimeFigureOut">
              <a:rPr lang="nb-NO" smtClean="0"/>
              <a:t>18.08.2021</a:t>
            </a:fld>
            <a:endParaRPr lang="nb-NO"/>
          </a:p>
        </p:txBody>
      </p:sp>
      <p:sp>
        <p:nvSpPr>
          <p:cNvPr id="3" name="Plassholder for bunntekst 2">
            <a:extLst>
              <a:ext uri="{FF2B5EF4-FFF2-40B4-BE49-F238E27FC236}">
                <a16:creationId xmlns:a16="http://schemas.microsoft.com/office/drawing/2014/main" id="{C398D727-5D28-4DD6-B5C6-411FD17B17DB}"/>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0966B3A8-6B76-485D-A03B-BFB81651BD92}"/>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42300767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21D2574-F03A-441E-9853-FFBB943B1574}"/>
              </a:ext>
            </a:extLst>
          </p:cNvPr>
          <p:cNvSpPr>
            <a:spLocks noGrp="1"/>
          </p:cNvSpPr>
          <p:nvPr>
            <p:ph type="title"/>
          </p:nvPr>
        </p:nvSpPr>
        <p:spPr>
          <a:xfrm>
            <a:off x="839788" y="457200"/>
            <a:ext cx="3932237" cy="1600200"/>
          </a:xfrm>
        </p:spPr>
        <p:txBody>
          <a:bodyPr anchor="b"/>
          <a:lstStyle>
            <a:lvl1pPr>
              <a:defRPr sz="3200"/>
            </a:lvl1pPr>
          </a:lstStyle>
          <a:p>
            <a:r>
              <a:rPr lang="nb-NO"/>
              <a:t>Klikk for å redigere tittelstil</a:t>
            </a:r>
          </a:p>
        </p:txBody>
      </p:sp>
      <p:sp>
        <p:nvSpPr>
          <p:cNvPr id="3" name="Plassholder for innhold 2">
            <a:extLst>
              <a:ext uri="{FF2B5EF4-FFF2-40B4-BE49-F238E27FC236}">
                <a16:creationId xmlns:a16="http://schemas.microsoft.com/office/drawing/2014/main" id="{F5CDA757-87FD-43E6-BDEF-AADA886954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a:extLst>
              <a:ext uri="{FF2B5EF4-FFF2-40B4-BE49-F238E27FC236}">
                <a16:creationId xmlns:a16="http://schemas.microsoft.com/office/drawing/2014/main" id="{054D8F2E-C1B9-4EC9-8A89-D5B9A4846A7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for å redigere tekststiler i malen</a:t>
            </a:r>
          </a:p>
        </p:txBody>
      </p:sp>
      <p:sp>
        <p:nvSpPr>
          <p:cNvPr id="5" name="Plassholder for dato 4">
            <a:extLst>
              <a:ext uri="{FF2B5EF4-FFF2-40B4-BE49-F238E27FC236}">
                <a16:creationId xmlns:a16="http://schemas.microsoft.com/office/drawing/2014/main" id="{E5514BCD-5D1F-4B84-B4DA-7560AD8155C3}"/>
              </a:ext>
            </a:extLst>
          </p:cNvPr>
          <p:cNvSpPr>
            <a:spLocks noGrp="1"/>
          </p:cNvSpPr>
          <p:nvPr>
            <p:ph type="dt" sz="half" idx="10"/>
          </p:nvPr>
        </p:nvSpPr>
        <p:spPr/>
        <p:txBody>
          <a:bodyPr/>
          <a:lstStyle/>
          <a:p>
            <a:fld id="{2614328E-7FA6-40D2-95B5-CB35580DED90}" type="datetimeFigureOut">
              <a:rPr lang="nb-NO" smtClean="0"/>
              <a:t>18.08.2021</a:t>
            </a:fld>
            <a:endParaRPr lang="nb-NO"/>
          </a:p>
        </p:txBody>
      </p:sp>
      <p:sp>
        <p:nvSpPr>
          <p:cNvPr id="6" name="Plassholder for bunntekst 5">
            <a:extLst>
              <a:ext uri="{FF2B5EF4-FFF2-40B4-BE49-F238E27FC236}">
                <a16:creationId xmlns:a16="http://schemas.microsoft.com/office/drawing/2014/main" id="{B72C9BB3-D527-4CCE-AC33-736985A06CE6}"/>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CC5F28DF-75C5-4751-9435-0D29FA314B00}"/>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12421010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1F39DD2-A97D-4B05-A509-F0006FEBBC6C}"/>
              </a:ext>
            </a:extLst>
          </p:cNvPr>
          <p:cNvSpPr>
            <a:spLocks noGrp="1"/>
          </p:cNvSpPr>
          <p:nvPr>
            <p:ph type="title"/>
          </p:nvPr>
        </p:nvSpPr>
        <p:spPr>
          <a:xfrm>
            <a:off x="839788" y="457200"/>
            <a:ext cx="3932237" cy="1600200"/>
          </a:xfrm>
        </p:spPr>
        <p:txBody>
          <a:bodyPr anchor="b"/>
          <a:lstStyle>
            <a:lvl1pPr>
              <a:defRPr sz="3200"/>
            </a:lvl1pPr>
          </a:lstStyle>
          <a:p>
            <a:r>
              <a:rPr lang="nb-NO"/>
              <a:t>Klikk for å redigere tittelstil</a:t>
            </a:r>
          </a:p>
        </p:txBody>
      </p:sp>
      <p:sp>
        <p:nvSpPr>
          <p:cNvPr id="3" name="Plassholder for bilde 2">
            <a:extLst>
              <a:ext uri="{FF2B5EF4-FFF2-40B4-BE49-F238E27FC236}">
                <a16:creationId xmlns:a16="http://schemas.microsoft.com/office/drawing/2014/main" id="{BC97AE79-8E8A-4C84-A63A-A23342F4830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Plassholder for tekst 3">
            <a:extLst>
              <a:ext uri="{FF2B5EF4-FFF2-40B4-BE49-F238E27FC236}">
                <a16:creationId xmlns:a16="http://schemas.microsoft.com/office/drawing/2014/main" id="{FD902F67-B0CD-4B9D-BEDF-BB1BB32273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for å redigere tekststiler i malen</a:t>
            </a:r>
          </a:p>
        </p:txBody>
      </p:sp>
      <p:sp>
        <p:nvSpPr>
          <p:cNvPr id="5" name="Plassholder for dato 4">
            <a:extLst>
              <a:ext uri="{FF2B5EF4-FFF2-40B4-BE49-F238E27FC236}">
                <a16:creationId xmlns:a16="http://schemas.microsoft.com/office/drawing/2014/main" id="{DEF09D3B-ADA4-4FC6-878C-A02A710457FC}"/>
              </a:ext>
            </a:extLst>
          </p:cNvPr>
          <p:cNvSpPr>
            <a:spLocks noGrp="1"/>
          </p:cNvSpPr>
          <p:nvPr>
            <p:ph type="dt" sz="half" idx="10"/>
          </p:nvPr>
        </p:nvSpPr>
        <p:spPr/>
        <p:txBody>
          <a:bodyPr/>
          <a:lstStyle/>
          <a:p>
            <a:fld id="{2614328E-7FA6-40D2-95B5-CB35580DED90}" type="datetimeFigureOut">
              <a:rPr lang="nb-NO" smtClean="0"/>
              <a:t>18.08.2021</a:t>
            </a:fld>
            <a:endParaRPr lang="nb-NO"/>
          </a:p>
        </p:txBody>
      </p:sp>
      <p:sp>
        <p:nvSpPr>
          <p:cNvPr id="6" name="Plassholder for bunntekst 5">
            <a:extLst>
              <a:ext uri="{FF2B5EF4-FFF2-40B4-BE49-F238E27FC236}">
                <a16:creationId xmlns:a16="http://schemas.microsoft.com/office/drawing/2014/main" id="{28A84E15-B145-4996-8549-07B842E7705C}"/>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957B3445-7C9D-4843-A393-2C9BA94140B8}"/>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41688647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image" Target="../media/image1.emf"/><Relationship Id="rId2" Type="http://schemas.openxmlformats.org/officeDocument/2006/relationships/slideLayout" Target="../slideLayouts/slideLayout15.xml"/><Relationship Id="rId16" Type="http://schemas.openxmlformats.org/officeDocument/2006/relationships/oleObject" Target="../embeddings/oleObject3.bin"/><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ags" Target="../tags/tag5.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vmlDrawing" Target="../drawings/vmlDrawing3.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2A9B534-32E0-4D76-BECA-F28F0734B04C}"/>
              </a:ext>
            </a:extLst>
          </p:cNvPr>
          <p:cNvGraphicFramePr>
            <a:graphicFrameLocks noChangeAspect="1"/>
          </p:cNvGraphicFramePr>
          <p:nvPr userDrawn="1">
            <p:custDataLst>
              <p:tags r:id="rId16"/>
            </p:custDataLst>
            <p:extLst>
              <p:ext uri="{D42A27DB-BD31-4B8C-83A1-F6EECF244321}">
                <p14:modId xmlns:p14="http://schemas.microsoft.com/office/powerpoint/2010/main" val="2192154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7" imgW="473" imgH="473" progId="TCLayout.ActiveDocument.1">
                  <p:embed/>
                </p:oleObj>
              </mc:Choice>
              <mc:Fallback>
                <p:oleObj name="think-cell Slide" r:id="rId17" imgW="473" imgH="473" progId="TCLayout.ActiveDocument.1">
                  <p:embed/>
                  <p:pic>
                    <p:nvPicPr>
                      <p:cNvPr id="8" name="Object 7" hidden="1">
                        <a:extLst>
                          <a:ext uri="{FF2B5EF4-FFF2-40B4-BE49-F238E27FC236}">
                            <a16:creationId xmlns:a16="http://schemas.microsoft.com/office/drawing/2014/main" id="{72A9B534-32E0-4D76-BECA-F28F0734B04C}"/>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Plassholder for tittel 1">
            <a:extLst>
              <a:ext uri="{FF2B5EF4-FFF2-40B4-BE49-F238E27FC236}">
                <a16:creationId xmlns:a16="http://schemas.microsoft.com/office/drawing/2014/main" id="{B27896AF-F17D-44BF-932D-B27F1CB52EE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redigere tittelstil</a:t>
            </a:r>
          </a:p>
        </p:txBody>
      </p:sp>
      <p:sp>
        <p:nvSpPr>
          <p:cNvPr id="3" name="Plassholder for tekst 2">
            <a:extLst>
              <a:ext uri="{FF2B5EF4-FFF2-40B4-BE49-F238E27FC236}">
                <a16:creationId xmlns:a16="http://schemas.microsoft.com/office/drawing/2014/main" id="{A2A898E4-9309-475A-AC7E-C0F00017998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996E6BC9-F7A1-44DD-A953-F94A29B3BC6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614328E-7FA6-40D2-95B5-CB35580DED90}" type="datetimeFigureOut">
              <a:rPr lang="nb-NO" smtClean="0"/>
              <a:t>18.08.2021</a:t>
            </a:fld>
            <a:endParaRPr lang="nb-NO"/>
          </a:p>
        </p:txBody>
      </p:sp>
      <p:sp>
        <p:nvSpPr>
          <p:cNvPr id="5" name="Plassholder for bunntekst 4">
            <a:extLst>
              <a:ext uri="{FF2B5EF4-FFF2-40B4-BE49-F238E27FC236}">
                <a16:creationId xmlns:a16="http://schemas.microsoft.com/office/drawing/2014/main" id="{6D5FBF2E-B7D1-4B64-A38B-95AF642438A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Plassholder for lysbildenummer 5">
            <a:extLst>
              <a:ext uri="{FF2B5EF4-FFF2-40B4-BE49-F238E27FC236}">
                <a16:creationId xmlns:a16="http://schemas.microsoft.com/office/drawing/2014/main" id="{E06FA268-5823-4B02-A18C-B866BA5E1F3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57B1CA6-4F63-497D-AEED-D65FDB0296E6}" type="slidenum">
              <a:rPr lang="nb-NO" smtClean="0"/>
              <a:t>‹#›</a:t>
            </a:fld>
            <a:endParaRPr lang="nb-NO"/>
          </a:p>
        </p:txBody>
      </p:sp>
    </p:spTree>
    <p:extLst>
      <p:ext uri="{BB962C8B-B14F-4D97-AF65-F5344CB8AC3E}">
        <p14:creationId xmlns:p14="http://schemas.microsoft.com/office/powerpoint/2010/main" val="1430907088"/>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84"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F27CE2-D163-4FE1-99D4-B1F541CB32A3}"/>
              </a:ext>
            </a:extLst>
          </p:cNvPr>
          <p:cNvGraphicFramePr>
            <a:graphicFrameLocks noChangeAspect="1"/>
          </p:cNvGraphicFramePr>
          <p:nvPr userDrawn="1">
            <p:custDataLst>
              <p:tags r:id="rId15"/>
            </p:custDataLst>
            <p:extLst>
              <p:ext uri="{D42A27DB-BD31-4B8C-83A1-F6EECF244321}">
                <p14:modId xmlns:p14="http://schemas.microsoft.com/office/powerpoint/2010/main" val="753949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16" imgW="473" imgH="473" progId="TCLayout.ActiveDocument.1">
                  <p:embed/>
                </p:oleObj>
              </mc:Choice>
              <mc:Fallback>
                <p:oleObj name="think-cell Slide" r:id="rId16" imgW="473" imgH="473" progId="TCLayout.ActiveDocument.1">
                  <p:embed/>
                  <p:pic>
                    <p:nvPicPr>
                      <p:cNvPr id="8" name="Object 7" hidden="1">
                        <a:extLst>
                          <a:ext uri="{FF2B5EF4-FFF2-40B4-BE49-F238E27FC236}">
                            <a16:creationId xmlns:a16="http://schemas.microsoft.com/office/drawing/2014/main" id="{5BF27CE2-D163-4FE1-99D4-B1F541CB32A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Plassholder for tittel 1">
            <a:extLst>
              <a:ext uri="{FF2B5EF4-FFF2-40B4-BE49-F238E27FC236}">
                <a16:creationId xmlns:a16="http://schemas.microsoft.com/office/drawing/2014/main" id="{B27896AF-F17D-44BF-932D-B27F1CB52EE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redigere tittelstil</a:t>
            </a:r>
          </a:p>
        </p:txBody>
      </p:sp>
      <p:sp>
        <p:nvSpPr>
          <p:cNvPr id="3" name="Plassholder for tekst 2">
            <a:extLst>
              <a:ext uri="{FF2B5EF4-FFF2-40B4-BE49-F238E27FC236}">
                <a16:creationId xmlns:a16="http://schemas.microsoft.com/office/drawing/2014/main" id="{A2A898E4-9309-475A-AC7E-C0F00017998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996E6BC9-F7A1-44DD-A953-F94A29B3BC6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614328E-7FA6-40D2-95B5-CB35580DED90}" type="datetimeFigureOut">
              <a:rPr lang="nb-NO" smtClean="0"/>
              <a:t>18.08.2021</a:t>
            </a:fld>
            <a:endParaRPr lang="nb-NO"/>
          </a:p>
        </p:txBody>
      </p:sp>
      <p:sp>
        <p:nvSpPr>
          <p:cNvPr id="5" name="Plassholder for bunntekst 4">
            <a:extLst>
              <a:ext uri="{FF2B5EF4-FFF2-40B4-BE49-F238E27FC236}">
                <a16:creationId xmlns:a16="http://schemas.microsoft.com/office/drawing/2014/main" id="{6D5FBF2E-B7D1-4B64-A38B-95AF642438A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Plassholder for lysbildenummer 5">
            <a:extLst>
              <a:ext uri="{FF2B5EF4-FFF2-40B4-BE49-F238E27FC236}">
                <a16:creationId xmlns:a16="http://schemas.microsoft.com/office/drawing/2014/main" id="{E06FA268-5823-4B02-A18C-B866BA5E1F3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57B1CA6-4F63-497D-AEED-D65FDB0296E6}" type="slidenum">
              <a:rPr lang="nb-NO" smtClean="0"/>
              <a:t>‹#›</a:t>
            </a:fld>
            <a:endParaRPr lang="nb-NO"/>
          </a:p>
        </p:txBody>
      </p:sp>
    </p:spTree>
    <p:extLst>
      <p:ext uri="{BB962C8B-B14F-4D97-AF65-F5344CB8AC3E}">
        <p14:creationId xmlns:p14="http://schemas.microsoft.com/office/powerpoint/2010/main" val="92938181"/>
      </p:ext>
    </p:extLst>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 id="214748388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xml"/><Relationship Id="rId7" Type="http://schemas.openxmlformats.org/officeDocument/2006/relationships/oleObject" Target="../embeddings/oleObject13.bin"/><Relationship Id="rId2" Type="http://schemas.openxmlformats.org/officeDocument/2006/relationships/tags" Target="../tags/tag22.xml"/><Relationship Id="rId1" Type="http://schemas.openxmlformats.org/officeDocument/2006/relationships/vmlDrawing" Target="../drawings/vmlDrawing13.vml"/><Relationship Id="rId6" Type="http://schemas.openxmlformats.org/officeDocument/2006/relationships/image" Target="../media/image2.png"/><Relationship Id="rId5" Type="http://schemas.openxmlformats.org/officeDocument/2006/relationships/notesSlide" Target="../notesSlides/notesSlide10.xml"/><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14.bin"/><Relationship Id="rId2" Type="http://schemas.openxmlformats.org/officeDocument/2006/relationships/tags" Target="../tags/tag24.xml"/><Relationship Id="rId1" Type="http://schemas.openxmlformats.org/officeDocument/2006/relationships/vmlDrawing" Target="../drawings/vmlDrawing14.vml"/><Relationship Id="rId6" Type="http://schemas.openxmlformats.org/officeDocument/2006/relationships/image" Target="../media/image2.png"/><Relationship Id="rId5" Type="http://schemas.openxmlformats.org/officeDocument/2006/relationships/notesSlide" Target="../notesSlides/notesSlide11.xml"/><Relationship Id="rId4" Type="http://schemas.openxmlformats.org/officeDocument/2006/relationships/slideLayout" Target="../slideLayouts/slideLayout2.xml"/><Relationship Id="rId9" Type="http://schemas.openxmlformats.org/officeDocument/2006/relationships/image" Target="../media/image12.png"/></Relationships>
</file>

<file path=ppt/slides/_rels/slide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xml"/><Relationship Id="rId7" Type="http://schemas.openxmlformats.org/officeDocument/2006/relationships/oleObject" Target="../embeddings/oleObject15.bin"/><Relationship Id="rId2" Type="http://schemas.openxmlformats.org/officeDocument/2006/relationships/tags" Target="../tags/tag26.xml"/><Relationship Id="rId1" Type="http://schemas.openxmlformats.org/officeDocument/2006/relationships/vmlDrawing" Target="../drawings/vmlDrawing15.vml"/><Relationship Id="rId6" Type="http://schemas.openxmlformats.org/officeDocument/2006/relationships/image" Target="../media/image2.png"/><Relationship Id="rId5" Type="http://schemas.openxmlformats.org/officeDocument/2006/relationships/notesSlide" Target="../notesSlides/notesSlide12.xml"/><Relationship Id="rId10" Type="http://schemas.openxmlformats.org/officeDocument/2006/relationships/image" Target="../media/image20.svg"/><Relationship Id="rId4" Type="http://schemas.openxmlformats.org/officeDocument/2006/relationships/slideLayout" Target="../slideLayouts/slideLayout2.xml"/><Relationship Id="rId9" Type="http://schemas.openxmlformats.org/officeDocument/2006/relationships/image" Target="../media/image13.png"/></Relationships>
</file>

<file path=ppt/slides/_rels/slide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xml"/><Relationship Id="rId7" Type="http://schemas.openxmlformats.org/officeDocument/2006/relationships/oleObject" Target="../embeddings/oleObject16.bin"/><Relationship Id="rId2" Type="http://schemas.openxmlformats.org/officeDocument/2006/relationships/tags" Target="../tags/tag28.xml"/><Relationship Id="rId1" Type="http://schemas.openxmlformats.org/officeDocument/2006/relationships/vmlDrawing" Target="../drawings/vmlDrawing16.vml"/><Relationship Id="rId6" Type="http://schemas.openxmlformats.org/officeDocument/2006/relationships/image" Target="../media/image2.png"/><Relationship Id="rId5" Type="http://schemas.openxmlformats.org/officeDocument/2006/relationships/notesSlide" Target="../notesSlides/notesSlide13.xml"/><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bevisst.ntnu.no/bevisst/bi/?perspective=authoring&amp;id=iA7C78AECF1D64FF3B06858F11EA3A611&amp;objRef=iA7C78AECF1D64FF3B06858F11EA3A611&amp;action=run&amp;format=HTML&amp;cmPropStr=%7B%22id%22%3A%22iA7C78AECF1D64FF3B06858F11EA3A611%22%2C%22type%22%3A%22report%22%2C%22defaultName%22%3A%22Prosjekt%20opprettet%20etter%201.%20juli%202021%20etter%20eiersted%22%2C%22permissions%22%3A%5B%22execute%22%2C%22read%22%2C%22traverse%22%2C%22write%22%5D%7D" TargetMode="Externa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1.xml"/><Relationship Id="rId7" Type="http://schemas.openxmlformats.org/officeDocument/2006/relationships/oleObject" Target="../embeddings/oleObject17.bin"/><Relationship Id="rId2" Type="http://schemas.openxmlformats.org/officeDocument/2006/relationships/tags" Target="../tags/tag30.xml"/><Relationship Id="rId1" Type="http://schemas.openxmlformats.org/officeDocument/2006/relationships/vmlDrawing" Target="../drawings/vmlDrawing17.vml"/><Relationship Id="rId6" Type="http://schemas.openxmlformats.org/officeDocument/2006/relationships/image" Target="../media/image2.png"/><Relationship Id="rId5" Type="http://schemas.openxmlformats.org/officeDocument/2006/relationships/notesSlide" Target="../notesSlides/notesSlide14.xml"/><Relationship Id="rId10" Type="http://schemas.openxmlformats.org/officeDocument/2006/relationships/image" Target="../media/image23.svg"/><Relationship Id="rId4" Type="http://schemas.openxmlformats.org/officeDocument/2006/relationships/slideLayout" Target="../slideLayouts/slideLayout2.xml"/><Relationship Id="rId9" Type="http://schemas.openxmlformats.org/officeDocument/2006/relationships/image" Target="../media/image15.png"/></Relationships>
</file>

<file path=ppt/slides/_rels/slide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xml"/><Relationship Id="rId7" Type="http://schemas.openxmlformats.org/officeDocument/2006/relationships/oleObject" Target="../embeddings/oleObject18.bin"/><Relationship Id="rId2" Type="http://schemas.openxmlformats.org/officeDocument/2006/relationships/tags" Target="../tags/tag32.xml"/><Relationship Id="rId1" Type="http://schemas.openxmlformats.org/officeDocument/2006/relationships/vmlDrawing" Target="../drawings/vmlDrawing18.vml"/><Relationship Id="rId6" Type="http://schemas.openxmlformats.org/officeDocument/2006/relationships/image" Target="../media/image2.png"/><Relationship Id="rId5" Type="http://schemas.openxmlformats.org/officeDocument/2006/relationships/notesSlide" Target="../notesSlides/notesSlide15.xml"/><Relationship Id="rId4"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xml"/><Relationship Id="rId7" Type="http://schemas.openxmlformats.org/officeDocument/2006/relationships/oleObject" Target="../embeddings/oleObject6.bin"/><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2.png"/><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5.png"/><Relationship Id="rId3" Type="http://schemas.openxmlformats.org/officeDocument/2006/relationships/tags" Target="../tags/tag12.xml"/><Relationship Id="rId7" Type="http://schemas.openxmlformats.org/officeDocument/2006/relationships/oleObject" Target="../embeddings/oleObject7.bin"/><Relationship Id="rId12" Type="http://schemas.openxmlformats.org/officeDocument/2006/relationships/image" Target="../media/image6.svg"/><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2.png"/><Relationship Id="rId11" Type="http://schemas.openxmlformats.org/officeDocument/2006/relationships/image" Target="../media/image4.png"/><Relationship Id="rId5" Type="http://schemas.openxmlformats.org/officeDocument/2006/relationships/notesSlide" Target="../notesSlides/notesSlide4.xml"/><Relationship Id="rId10" Type="http://schemas.openxmlformats.org/officeDocument/2006/relationships/image" Target="../media/image4.svg"/><Relationship Id="rId4" Type="http://schemas.openxmlformats.org/officeDocument/2006/relationships/slideLayout" Target="../slideLayouts/slideLayout2.xml"/><Relationship Id="rId9" Type="http://schemas.openxmlformats.org/officeDocument/2006/relationships/image" Target="../media/image3.png"/><Relationship Id="rId14" Type="http://schemas.openxmlformats.org/officeDocument/2006/relationships/image" Target="../media/image8.svg"/></Relationships>
</file>

<file path=ppt/slides/_rels/slide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xml"/><Relationship Id="rId7" Type="http://schemas.openxmlformats.org/officeDocument/2006/relationships/oleObject" Target="../embeddings/oleObject8.bin"/><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2.png"/><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8.png"/><Relationship Id="rId3" Type="http://schemas.openxmlformats.org/officeDocument/2006/relationships/tags" Target="../tags/tag16.xml"/><Relationship Id="rId7" Type="http://schemas.openxmlformats.org/officeDocument/2006/relationships/oleObject" Target="../embeddings/oleObject9.bin"/><Relationship Id="rId12" Type="http://schemas.openxmlformats.org/officeDocument/2006/relationships/image" Target="../media/image12.svg"/><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2.png"/><Relationship Id="rId11" Type="http://schemas.openxmlformats.org/officeDocument/2006/relationships/image" Target="../media/image7.png"/><Relationship Id="rId5" Type="http://schemas.openxmlformats.org/officeDocument/2006/relationships/notesSlide" Target="../notesSlides/notesSlide6.xml"/><Relationship Id="rId10" Type="http://schemas.openxmlformats.org/officeDocument/2006/relationships/image" Target="../media/image10.svg"/><Relationship Id="rId4" Type="http://schemas.openxmlformats.org/officeDocument/2006/relationships/slideLayout" Target="../slideLayouts/slideLayout2.xml"/><Relationship Id="rId9" Type="http://schemas.openxmlformats.org/officeDocument/2006/relationships/image" Target="../media/image6.png"/><Relationship Id="rId14" Type="http://schemas.openxmlformats.org/officeDocument/2006/relationships/image" Target="../media/image14.svg"/></Relationships>
</file>

<file path=ppt/slides/_rels/slide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xml"/><Relationship Id="rId7" Type="http://schemas.openxmlformats.org/officeDocument/2006/relationships/oleObject" Target="../embeddings/oleObject10.bin"/><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2.png"/><Relationship Id="rId5" Type="http://schemas.openxmlformats.org/officeDocument/2006/relationships/notesSlide" Target="../notesSlides/notesSlide7.xml"/><Relationship Id="rId4" Type="http://schemas.openxmlformats.org/officeDocument/2006/relationships/slideLayout" Target="../slideLayouts/slideLayout2.xml"/><Relationship Id="rId9" Type="http://schemas.openxmlformats.org/officeDocument/2006/relationships/hyperlink" Target="https://innsida.ntnu.no/wiki/-/wiki/Norsk/bott+-+%c3%98konomimodellen+-+brukerst%c3%b8tte" TargetMode="External"/></Relationships>
</file>

<file path=ppt/slides/_rels/slide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xml"/><Relationship Id="rId7" Type="http://schemas.openxmlformats.org/officeDocument/2006/relationships/oleObject" Target="../embeddings/oleObject11.bin"/><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image" Target="../media/image2.png"/><Relationship Id="rId11" Type="http://schemas.openxmlformats.org/officeDocument/2006/relationships/image" Target="../media/image11.png"/><Relationship Id="rId5" Type="http://schemas.openxmlformats.org/officeDocument/2006/relationships/notesSlide" Target="../notesSlides/notesSlide8.xml"/><Relationship Id="rId10" Type="http://schemas.openxmlformats.org/officeDocument/2006/relationships/image" Target="../media/image10.png"/><Relationship Id="rId4" Type="http://schemas.openxmlformats.org/officeDocument/2006/relationships/slideLayout" Target="../slideLayouts/slideLayout2.xml"/><Relationship Id="rId9"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05E63A-2812-4E25-8523-43349718DA1E}"/>
              </a:ext>
            </a:extLst>
          </p:cNvPr>
          <p:cNvGraphicFramePr>
            <a:graphicFrameLocks noChangeAspect="1"/>
          </p:cNvGraphicFramePr>
          <p:nvPr>
            <p:custDataLst>
              <p:tags r:id="rId2"/>
            </p:custDataLst>
            <p:extLst>
              <p:ext uri="{D42A27DB-BD31-4B8C-83A1-F6EECF244321}">
                <p14:modId xmlns:p14="http://schemas.microsoft.com/office/powerpoint/2010/main" val="495645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4E05E63A-2812-4E25-8523-43349718DA1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8" name="Color Cover">
            <a:extLst>
              <a:ext uri="{FF2B5EF4-FFF2-40B4-BE49-F238E27FC236}">
                <a16:creationId xmlns:a16="http://schemas.microsoft.com/office/drawing/2014/main" id="{815925C2-A704-4D47-B1C1-3FCA52512EC1}"/>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4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Color Cover">
            <a:extLst>
              <a:ext uri="{FF2B5EF4-FFF2-40B4-BE49-F238E27FC236}">
                <a16:creationId xmlns:a16="http://schemas.microsoft.com/office/drawing/2014/main" id="{01D4315C-C23C-4FD3-98DF-08C29E2292A8}"/>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49"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2" name="Group 11">
            <a:extLst>
              <a:ext uri="{FF2B5EF4-FFF2-40B4-BE49-F238E27FC236}">
                <a16:creationId xmlns:a16="http://schemas.microsoft.com/office/drawing/2014/main" id="{5E6B47BC-43FD-4C91-8BFF-B41B99A8A39E}"/>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0"/>
            <a:ext cx="6064235" cy="6858000"/>
            <a:chOff x="651279" y="598259"/>
            <a:chExt cx="10889442" cy="5680742"/>
          </a:xfrm>
        </p:grpSpPr>
        <p:sp>
          <p:nvSpPr>
            <p:cNvPr id="13" name="Color">
              <a:extLst>
                <a:ext uri="{FF2B5EF4-FFF2-40B4-BE49-F238E27FC236}">
                  <a16:creationId xmlns:a16="http://schemas.microsoft.com/office/drawing/2014/main" id="{13038185-AC3C-4595-945F-25311424C583}"/>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Color">
              <a:extLst>
                <a:ext uri="{FF2B5EF4-FFF2-40B4-BE49-F238E27FC236}">
                  <a16:creationId xmlns:a16="http://schemas.microsoft.com/office/drawing/2014/main" id="{75D51AA0-C095-4650-A361-B294320BFE42}"/>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accent6">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6" name="Group 15">
            <a:extLst>
              <a:ext uri="{FF2B5EF4-FFF2-40B4-BE49-F238E27FC236}">
                <a16:creationId xmlns:a16="http://schemas.microsoft.com/office/drawing/2014/main" id="{43F5E015-E085-4624-B431-B42414448684}"/>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524" y="0"/>
            <a:ext cx="12188952" cy="6858000"/>
            <a:chOff x="0" y="0"/>
            <a:chExt cx="12188952" cy="6858000"/>
          </a:xfrm>
        </p:grpSpPr>
        <p:sp>
          <p:nvSpPr>
            <p:cNvPr id="17" name="Freeform: Shape 16">
              <a:extLst>
                <a:ext uri="{FF2B5EF4-FFF2-40B4-BE49-F238E27FC236}">
                  <a16:creationId xmlns:a16="http://schemas.microsoft.com/office/drawing/2014/main" id="{4DDB60AE-8B9C-4BA0-93DC-F8C9EBF6D8BD}"/>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26122" y="6015669"/>
              <a:ext cx="2605762" cy="842331"/>
            </a:xfrm>
            <a:custGeom>
              <a:avLst/>
              <a:gdLst>
                <a:gd name="connsiteX0" fmla="*/ 1151220 w 3180577"/>
                <a:gd name="connsiteY0" fmla="*/ 1105 h 1033951"/>
                <a:gd name="connsiteX1" fmla="*/ 1735251 w 3180577"/>
                <a:gd name="connsiteY1" fmla="*/ 77956 h 1033951"/>
                <a:gd name="connsiteX2" fmla="*/ 2001894 w 3180577"/>
                <a:gd name="connsiteY2" fmla="*/ 123235 h 1033951"/>
                <a:gd name="connsiteX3" fmla="*/ 2321364 w 3180577"/>
                <a:gd name="connsiteY3" fmla="*/ 128266 h 1033951"/>
                <a:gd name="connsiteX4" fmla="*/ 2671019 w 3180577"/>
                <a:gd name="connsiteY4" fmla="*/ 55316 h 1033951"/>
                <a:gd name="connsiteX5" fmla="*/ 2982942 w 3180577"/>
                <a:gd name="connsiteY5" fmla="*/ 326991 h 1033951"/>
                <a:gd name="connsiteX6" fmla="*/ 3176430 w 3180577"/>
                <a:gd name="connsiteY6" fmla="*/ 1024557 h 1033951"/>
                <a:gd name="connsiteX7" fmla="*/ 3174833 w 3180577"/>
                <a:gd name="connsiteY7" fmla="*/ 1033951 h 1033951"/>
                <a:gd name="connsiteX8" fmla="*/ 23630 w 3180577"/>
                <a:gd name="connsiteY8" fmla="*/ 1033951 h 1033951"/>
                <a:gd name="connsiteX9" fmla="*/ 11184 w 3180577"/>
                <a:gd name="connsiteY9" fmla="*/ 984167 h 1033951"/>
                <a:gd name="connsiteX10" fmla="*/ 236008 w 3180577"/>
                <a:gd name="connsiteY10" fmla="*/ 289258 h 1033951"/>
                <a:gd name="connsiteX11" fmla="*/ 1151220 w 3180577"/>
                <a:gd name="connsiteY11" fmla="*/ 1105 h 103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80577" h="1033951">
                  <a:moveTo>
                    <a:pt x="1151220" y="1105"/>
                  </a:moveTo>
                  <a:cubicBezTo>
                    <a:pt x="1349788" y="7443"/>
                    <a:pt x="1549417" y="40223"/>
                    <a:pt x="1735251" y="77956"/>
                  </a:cubicBezTo>
                  <a:cubicBezTo>
                    <a:pt x="1823293" y="95564"/>
                    <a:pt x="1913852" y="110657"/>
                    <a:pt x="2001894" y="123235"/>
                  </a:cubicBezTo>
                  <a:cubicBezTo>
                    <a:pt x="2102515" y="135812"/>
                    <a:pt x="2228290" y="153421"/>
                    <a:pt x="2321364" y="128266"/>
                  </a:cubicBezTo>
                  <a:cubicBezTo>
                    <a:pt x="2447139" y="93049"/>
                    <a:pt x="2525120" y="12552"/>
                    <a:pt x="2671019" y="55316"/>
                  </a:cubicBezTo>
                  <a:cubicBezTo>
                    <a:pt x="2806857" y="90533"/>
                    <a:pt x="2909992" y="213793"/>
                    <a:pt x="2982942" y="326991"/>
                  </a:cubicBezTo>
                  <a:cubicBezTo>
                    <a:pt x="3115006" y="525086"/>
                    <a:pt x="3200848" y="782887"/>
                    <a:pt x="3176430" y="1024557"/>
                  </a:cubicBezTo>
                  <a:lnTo>
                    <a:pt x="3174833" y="1033951"/>
                  </a:lnTo>
                  <a:lnTo>
                    <a:pt x="23630" y="1033951"/>
                  </a:lnTo>
                  <a:lnTo>
                    <a:pt x="11184" y="984167"/>
                  </a:lnTo>
                  <a:cubicBezTo>
                    <a:pt x="-27491" y="733874"/>
                    <a:pt x="30994" y="479179"/>
                    <a:pt x="236008" y="289258"/>
                  </a:cubicBezTo>
                  <a:cubicBezTo>
                    <a:pt x="492275" y="53429"/>
                    <a:pt x="820274" y="-9459"/>
                    <a:pt x="1151220" y="110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9F247760-BE07-41A2-969E-570081E65529}"/>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655184" y="5798001"/>
              <a:ext cx="2485581" cy="1059999"/>
            </a:xfrm>
            <a:custGeom>
              <a:avLst/>
              <a:gdLst>
                <a:gd name="connsiteX0" fmla="*/ 1553968 w 2449768"/>
                <a:gd name="connsiteY0" fmla="*/ 1045598 h 1050628"/>
                <a:gd name="connsiteX1" fmla="*/ 1561623 w 2449768"/>
                <a:gd name="connsiteY1" fmla="*/ 1050628 h 1050628"/>
                <a:gd name="connsiteX2" fmla="*/ 1540857 w 2449768"/>
                <a:gd name="connsiteY2" fmla="*/ 1050628 h 1050628"/>
                <a:gd name="connsiteX3" fmla="*/ 1542955 w 2449768"/>
                <a:gd name="connsiteY3" fmla="*/ 1048256 h 1050628"/>
                <a:gd name="connsiteX4" fmla="*/ 1553968 w 2449768"/>
                <a:gd name="connsiteY4" fmla="*/ 1045598 h 1050628"/>
                <a:gd name="connsiteX5" fmla="*/ 490647 w 2449768"/>
                <a:gd name="connsiteY5" fmla="*/ 1036483 h 1050628"/>
                <a:gd name="connsiteX6" fmla="*/ 503939 w 2449768"/>
                <a:gd name="connsiteY6" fmla="*/ 1045217 h 1050628"/>
                <a:gd name="connsiteX7" fmla="*/ 505485 w 2449768"/>
                <a:gd name="connsiteY7" fmla="*/ 1050628 h 1050628"/>
                <a:gd name="connsiteX8" fmla="*/ 470645 w 2449768"/>
                <a:gd name="connsiteY8" fmla="*/ 1050628 h 1050628"/>
                <a:gd name="connsiteX9" fmla="*/ 469761 w 2449768"/>
                <a:gd name="connsiteY9" fmla="*/ 1046736 h 1050628"/>
                <a:gd name="connsiteX10" fmla="*/ 479634 w 2449768"/>
                <a:gd name="connsiteY10" fmla="*/ 1039141 h 1050628"/>
                <a:gd name="connsiteX11" fmla="*/ 490647 w 2449768"/>
                <a:gd name="connsiteY11" fmla="*/ 1036483 h 1050628"/>
                <a:gd name="connsiteX12" fmla="*/ 326591 w 2449768"/>
                <a:gd name="connsiteY12" fmla="*/ 1030407 h 1050628"/>
                <a:gd name="connsiteX13" fmla="*/ 339883 w 2449768"/>
                <a:gd name="connsiteY13" fmla="*/ 1039141 h 1050628"/>
                <a:gd name="connsiteX14" fmla="*/ 341999 w 2449768"/>
                <a:gd name="connsiteY14" fmla="*/ 1050628 h 1050628"/>
                <a:gd name="connsiteX15" fmla="*/ 308260 w 2449768"/>
                <a:gd name="connsiteY15" fmla="*/ 1050628 h 1050628"/>
                <a:gd name="connsiteX16" fmla="*/ 306844 w 2449768"/>
                <a:gd name="connsiteY16" fmla="*/ 1042939 h 1050628"/>
                <a:gd name="connsiteX17" fmla="*/ 315578 w 2449768"/>
                <a:gd name="connsiteY17" fmla="*/ 1033065 h 1050628"/>
                <a:gd name="connsiteX18" fmla="*/ 326591 w 2449768"/>
                <a:gd name="connsiteY18" fmla="*/ 1030407 h 1050628"/>
                <a:gd name="connsiteX19" fmla="*/ 20886 w 2449768"/>
                <a:gd name="connsiteY19" fmla="*/ 1026229 h 1050628"/>
                <a:gd name="connsiteX20" fmla="*/ 33039 w 2449768"/>
                <a:gd name="connsiteY20" fmla="*/ 1036103 h 1050628"/>
                <a:gd name="connsiteX21" fmla="*/ 36837 w 2449768"/>
                <a:gd name="connsiteY21" fmla="*/ 1049395 h 1050628"/>
                <a:gd name="connsiteX22" fmla="*/ 35731 w 2449768"/>
                <a:gd name="connsiteY22" fmla="*/ 1050628 h 1050628"/>
                <a:gd name="connsiteX23" fmla="*/ 1976 w 2449768"/>
                <a:gd name="connsiteY23" fmla="*/ 1050628 h 1050628"/>
                <a:gd name="connsiteX24" fmla="*/ 0 w 2449768"/>
                <a:gd name="connsiteY24" fmla="*/ 1039901 h 1050628"/>
                <a:gd name="connsiteX25" fmla="*/ 8734 w 2449768"/>
                <a:gd name="connsiteY25" fmla="*/ 1030027 h 1050628"/>
                <a:gd name="connsiteX26" fmla="*/ 20886 w 2449768"/>
                <a:gd name="connsiteY26" fmla="*/ 1026229 h 1050628"/>
                <a:gd name="connsiteX27" fmla="*/ 2100819 w 2449768"/>
                <a:gd name="connsiteY27" fmla="*/ 1024331 h 1050628"/>
                <a:gd name="connsiteX28" fmla="*/ 2114111 w 2449768"/>
                <a:gd name="connsiteY28" fmla="*/ 1033065 h 1050628"/>
                <a:gd name="connsiteX29" fmla="*/ 2117909 w 2449768"/>
                <a:gd name="connsiteY29" fmla="*/ 1046357 h 1050628"/>
                <a:gd name="connsiteX30" fmla="*/ 2114079 w 2449768"/>
                <a:gd name="connsiteY30" fmla="*/ 1050628 h 1050628"/>
                <a:gd name="connsiteX31" fmla="*/ 2083616 w 2449768"/>
                <a:gd name="connsiteY31" fmla="*/ 1050628 h 1050628"/>
                <a:gd name="connsiteX32" fmla="*/ 2081072 w 2449768"/>
                <a:gd name="connsiteY32" fmla="*/ 1035724 h 1050628"/>
                <a:gd name="connsiteX33" fmla="*/ 2089806 w 2449768"/>
                <a:gd name="connsiteY33" fmla="*/ 1026989 h 1050628"/>
                <a:gd name="connsiteX34" fmla="*/ 2100819 w 2449768"/>
                <a:gd name="connsiteY34" fmla="*/ 1024331 h 1050628"/>
                <a:gd name="connsiteX35" fmla="*/ 1192439 w 2449768"/>
                <a:gd name="connsiteY35" fmla="*/ 1024331 h 1050628"/>
                <a:gd name="connsiteX36" fmla="*/ 1205731 w 2449768"/>
                <a:gd name="connsiteY36" fmla="*/ 1033065 h 1050628"/>
                <a:gd name="connsiteX37" fmla="*/ 1209529 w 2449768"/>
                <a:gd name="connsiteY37" fmla="*/ 1046357 h 1050628"/>
                <a:gd name="connsiteX38" fmla="*/ 1205699 w 2449768"/>
                <a:gd name="connsiteY38" fmla="*/ 1050628 h 1050628"/>
                <a:gd name="connsiteX39" fmla="*/ 1175227 w 2449768"/>
                <a:gd name="connsiteY39" fmla="*/ 1050628 h 1050628"/>
                <a:gd name="connsiteX40" fmla="*/ 1172692 w 2449768"/>
                <a:gd name="connsiteY40" fmla="*/ 1036863 h 1050628"/>
                <a:gd name="connsiteX41" fmla="*/ 1181426 w 2449768"/>
                <a:gd name="connsiteY41" fmla="*/ 1026989 h 1050628"/>
                <a:gd name="connsiteX42" fmla="*/ 1192439 w 2449768"/>
                <a:gd name="connsiteY42" fmla="*/ 1024331 h 1050628"/>
                <a:gd name="connsiteX43" fmla="*/ 788376 w 2449768"/>
                <a:gd name="connsiteY43" fmla="*/ 1024331 h 1050628"/>
                <a:gd name="connsiteX44" fmla="*/ 801668 w 2449768"/>
                <a:gd name="connsiteY44" fmla="*/ 1033065 h 1050628"/>
                <a:gd name="connsiteX45" fmla="*/ 805466 w 2449768"/>
                <a:gd name="connsiteY45" fmla="*/ 1046357 h 1050628"/>
                <a:gd name="connsiteX46" fmla="*/ 801636 w 2449768"/>
                <a:gd name="connsiteY46" fmla="*/ 1050628 h 1050628"/>
                <a:gd name="connsiteX47" fmla="*/ 771181 w 2449768"/>
                <a:gd name="connsiteY47" fmla="*/ 1050628 h 1050628"/>
                <a:gd name="connsiteX48" fmla="*/ 768629 w 2449768"/>
                <a:gd name="connsiteY48" fmla="*/ 1034584 h 1050628"/>
                <a:gd name="connsiteX49" fmla="*/ 777363 w 2449768"/>
                <a:gd name="connsiteY49" fmla="*/ 1026989 h 1050628"/>
                <a:gd name="connsiteX50" fmla="*/ 788376 w 2449768"/>
                <a:gd name="connsiteY50" fmla="*/ 1024331 h 1050628"/>
                <a:gd name="connsiteX51" fmla="*/ 138231 w 2449768"/>
                <a:gd name="connsiteY51" fmla="*/ 1024331 h 1050628"/>
                <a:gd name="connsiteX52" fmla="*/ 151523 w 2449768"/>
                <a:gd name="connsiteY52" fmla="*/ 1033065 h 1050628"/>
                <a:gd name="connsiteX53" fmla="*/ 154181 w 2449768"/>
                <a:gd name="connsiteY53" fmla="*/ 1047496 h 1050628"/>
                <a:gd name="connsiteX54" fmla="*/ 151411 w 2449768"/>
                <a:gd name="connsiteY54" fmla="*/ 1050628 h 1050628"/>
                <a:gd name="connsiteX55" fmla="*/ 121019 w 2449768"/>
                <a:gd name="connsiteY55" fmla="*/ 1050628 h 1050628"/>
                <a:gd name="connsiteX56" fmla="*/ 118484 w 2449768"/>
                <a:gd name="connsiteY56" fmla="*/ 1036863 h 1050628"/>
                <a:gd name="connsiteX57" fmla="*/ 127218 w 2449768"/>
                <a:gd name="connsiteY57" fmla="*/ 1026989 h 1050628"/>
                <a:gd name="connsiteX58" fmla="*/ 138231 w 2449768"/>
                <a:gd name="connsiteY58" fmla="*/ 1024331 h 1050628"/>
                <a:gd name="connsiteX59" fmla="*/ 894709 w 2449768"/>
                <a:gd name="connsiteY59" fmla="*/ 1021293 h 1050628"/>
                <a:gd name="connsiteX60" fmla="*/ 908001 w 2449768"/>
                <a:gd name="connsiteY60" fmla="*/ 1030027 h 1050628"/>
                <a:gd name="connsiteX61" fmla="*/ 911799 w 2449768"/>
                <a:gd name="connsiteY61" fmla="*/ 1043319 h 1050628"/>
                <a:gd name="connsiteX62" fmla="*/ 905246 w 2449768"/>
                <a:gd name="connsiteY62" fmla="*/ 1050628 h 1050628"/>
                <a:gd name="connsiteX63" fmla="*/ 880920 w 2449768"/>
                <a:gd name="connsiteY63" fmla="*/ 1050628 h 1050628"/>
                <a:gd name="connsiteX64" fmla="*/ 877620 w 2449768"/>
                <a:gd name="connsiteY64" fmla="*/ 1048256 h 1050628"/>
                <a:gd name="connsiteX65" fmla="*/ 883696 w 2449768"/>
                <a:gd name="connsiteY65" fmla="*/ 1023951 h 1050628"/>
                <a:gd name="connsiteX66" fmla="*/ 894709 w 2449768"/>
                <a:gd name="connsiteY66" fmla="*/ 1021293 h 1050628"/>
                <a:gd name="connsiteX67" fmla="*/ 694197 w 2449768"/>
                <a:gd name="connsiteY67" fmla="*/ 1021293 h 1050628"/>
                <a:gd name="connsiteX68" fmla="*/ 707488 w 2449768"/>
                <a:gd name="connsiteY68" fmla="*/ 1030027 h 1050628"/>
                <a:gd name="connsiteX69" fmla="*/ 711286 w 2449768"/>
                <a:gd name="connsiteY69" fmla="*/ 1043319 h 1050628"/>
                <a:gd name="connsiteX70" fmla="*/ 704733 w 2449768"/>
                <a:gd name="connsiteY70" fmla="*/ 1050628 h 1050628"/>
                <a:gd name="connsiteX71" fmla="*/ 680408 w 2449768"/>
                <a:gd name="connsiteY71" fmla="*/ 1050628 h 1050628"/>
                <a:gd name="connsiteX72" fmla="*/ 677108 w 2449768"/>
                <a:gd name="connsiteY72" fmla="*/ 1048256 h 1050628"/>
                <a:gd name="connsiteX73" fmla="*/ 683184 w 2449768"/>
                <a:gd name="connsiteY73" fmla="*/ 1023951 h 1050628"/>
                <a:gd name="connsiteX74" fmla="*/ 694197 w 2449768"/>
                <a:gd name="connsiteY74" fmla="*/ 1021293 h 1050628"/>
                <a:gd name="connsiteX75" fmla="*/ 596979 w 2449768"/>
                <a:gd name="connsiteY75" fmla="*/ 1021293 h 1050628"/>
                <a:gd name="connsiteX76" fmla="*/ 610271 w 2449768"/>
                <a:gd name="connsiteY76" fmla="*/ 1030027 h 1050628"/>
                <a:gd name="connsiteX77" fmla="*/ 614069 w 2449768"/>
                <a:gd name="connsiteY77" fmla="*/ 1043319 h 1050628"/>
                <a:gd name="connsiteX78" fmla="*/ 607516 w 2449768"/>
                <a:gd name="connsiteY78" fmla="*/ 1050628 h 1050628"/>
                <a:gd name="connsiteX79" fmla="*/ 583190 w 2449768"/>
                <a:gd name="connsiteY79" fmla="*/ 1050628 h 1050628"/>
                <a:gd name="connsiteX80" fmla="*/ 579890 w 2449768"/>
                <a:gd name="connsiteY80" fmla="*/ 1048256 h 1050628"/>
                <a:gd name="connsiteX81" fmla="*/ 585966 w 2449768"/>
                <a:gd name="connsiteY81" fmla="*/ 1023951 h 1050628"/>
                <a:gd name="connsiteX82" fmla="*/ 596979 w 2449768"/>
                <a:gd name="connsiteY82" fmla="*/ 1021293 h 1050628"/>
                <a:gd name="connsiteX83" fmla="*/ 1086106 w 2449768"/>
                <a:gd name="connsiteY83" fmla="*/ 1015217 h 1050628"/>
                <a:gd name="connsiteX84" fmla="*/ 1099398 w 2449768"/>
                <a:gd name="connsiteY84" fmla="*/ 1023951 h 1050628"/>
                <a:gd name="connsiteX85" fmla="*/ 1093322 w 2449768"/>
                <a:gd name="connsiteY85" fmla="*/ 1048256 h 1050628"/>
                <a:gd name="connsiteX86" fmla="*/ 1082478 w 2449768"/>
                <a:gd name="connsiteY86" fmla="*/ 1050628 h 1050628"/>
                <a:gd name="connsiteX87" fmla="*/ 1080771 w 2449768"/>
                <a:gd name="connsiteY87" fmla="*/ 1050628 h 1050628"/>
                <a:gd name="connsiteX88" fmla="*/ 1069017 w 2449768"/>
                <a:gd name="connsiteY88" fmla="*/ 1042180 h 1050628"/>
                <a:gd name="connsiteX89" fmla="*/ 1075093 w 2449768"/>
                <a:gd name="connsiteY89" fmla="*/ 1017875 h 1050628"/>
                <a:gd name="connsiteX90" fmla="*/ 1086106 w 2449768"/>
                <a:gd name="connsiteY90" fmla="*/ 1015217 h 1050628"/>
                <a:gd name="connsiteX91" fmla="*/ 1313961 w 2449768"/>
                <a:gd name="connsiteY91" fmla="*/ 1009141 h 1050628"/>
                <a:gd name="connsiteX92" fmla="*/ 1327253 w 2449768"/>
                <a:gd name="connsiteY92" fmla="*/ 1017875 h 1050628"/>
                <a:gd name="connsiteX93" fmla="*/ 1321177 w 2449768"/>
                <a:gd name="connsiteY93" fmla="*/ 1042180 h 1050628"/>
                <a:gd name="connsiteX94" fmla="*/ 1296872 w 2449768"/>
                <a:gd name="connsiteY94" fmla="*/ 1036104 h 1050628"/>
                <a:gd name="connsiteX95" fmla="*/ 1302948 w 2449768"/>
                <a:gd name="connsiteY95" fmla="*/ 1011799 h 1050628"/>
                <a:gd name="connsiteX96" fmla="*/ 1313961 w 2449768"/>
                <a:gd name="connsiteY96" fmla="*/ 1009141 h 1050628"/>
                <a:gd name="connsiteX97" fmla="*/ 2337788 w 2449768"/>
                <a:gd name="connsiteY97" fmla="*/ 996989 h 1050628"/>
                <a:gd name="connsiteX98" fmla="*/ 2351080 w 2449768"/>
                <a:gd name="connsiteY98" fmla="*/ 1005723 h 1050628"/>
                <a:gd name="connsiteX99" fmla="*/ 2345004 w 2449768"/>
                <a:gd name="connsiteY99" fmla="*/ 1030028 h 1050628"/>
                <a:gd name="connsiteX100" fmla="*/ 2320699 w 2449768"/>
                <a:gd name="connsiteY100" fmla="*/ 1023952 h 1050628"/>
                <a:gd name="connsiteX101" fmla="*/ 2326775 w 2449768"/>
                <a:gd name="connsiteY101" fmla="*/ 999647 h 1050628"/>
                <a:gd name="connsiteX102" fmla="*/ 2337788 w 2449768"/>
                <a:gd name="connsiteY102" fmla="*/ 996989 h 1050628"/>
                <a:gd name="connsiteX103" fmla="*/ 1429407 w 2449768"/>
                <a:gd name="connsiteY103" fmla="*/ 990912 h 1050628"/>
                <a:gd name="connsiteX104" fmla="*/ 1442699 w 2449768"/>
                <a:gd name="connsiteY104" fmla="*/ 999646 h 1050628"/>
                <a:gd name="connsiteX105" fmla="*/ 1436623 w 2449768"/>
                <a:gd name="connsiteY105" fmla="*/ 1023951 h 1050628"/>
                <a:gd name="connsiteX106" fmla="*/ 1412318 w 2449768"/>
                <a:gd name="connsiteY106" fmla="*/ 1017875 h 1050628"/>
                <a:gd name="connsiteX107" fmla="*/ 1418394 w 2449768"/>
                <a:gd name="connsiteY107" fmla="*/ 993570 h 1050628"/>
                <a:gd name="connsiteX108" fmla="*/ 1429407 w 2449768"/>
                <a:gd name="connsiteY108" fmla="*/ 990912 h 1050628"/>
                <a:gd name="connsiteX109" fmla="*/ 1672452 w 2449768"/>
                <a:gd name="connsiteY109" fmla="*/ 987874 h 1050628"/>
                <a:gd name="connsiteX110" fmla="*/ 1685744 w 2449768"/>
                <a:gd name="connsiteY110" fmla="*/ 996608 h 1050628"/>
                <a:gd name="connsiteX111" fmla="*/ 1679668 w 2449768"/>
                <a:gd name="connsiteY111" fmla="*/ 1020913 h 1050628"/>
                <a:gd name="connsiteX112" fmla="*/ 1655363 w 2449768"/>
                <a:gd name="connsiteY112" fmla="*/ 1014837 h 1050628"/>
                <a:gd name="connsiteX113" fmla="*/ 1661439 w 2449768"/>
                <a:gd name="connsiteY113" fmla="*/ 990532 h 1050628"/>
                <a:gd name="connsiteX114" fmla="*/ 1672452 w 2449768"/>
                <a:gd name="connsiteY114" fmla="*/ 987874 h 1050628"/>
                <a:gd name="connsiteX115" fmla="*/ 1803089 w 2449768"/>
                <a:gd name="connsiteY115" fmla="*/ 975722 h 1050628"/>
                <a:gd name="connsiteX116" fmla="*/ 1816381 w 2449768"/>
                <a:gd name="connsiteY116" fmla="*/ 984456 h 1050628"/>
                <a:gd name="connsiteX117" fmla="*/ 1810305 w 2449768"/>
                <a:gd name="connsiteY117" fmla="*/ 1008761 h 1050628"/>
                <a:gd name="connsiteX118" fmla="*/ 1786000 w 2449768"/>
                <a:gd name="connsiteY118" fmla="*/ 1002685 h 1050628"/>
                <a:gd name="connsiteX119" fmla="*/ 1792076 w 2449768"/>
                <a:gd name="connsiteY119" fmla="*/ 978380 h 1050628"/>
                <a:gd name="connsiteX120" fmla="*/ 1803089 w 2449768"/>
                <a:gd name="connsiteY120" fmla="*/ 975722 h 1050628"/>
                <a:gd name="connsiteX121" fmla="*/ 2030944 w 2449768"/>
                <a:gd name="connsiteY121" fmla="*/ 969646 h 1050628"/>
                <a:gd name="connsiteX122" fmla="*/ 2044236 w 2449768"/>
                <a:gd name="connsiteY122" fmla="*/ 978380 h 1050628"/>
                <a:gd name="connsiteX123" fmla="*/ 2038160 w 2449768"/>
                <a:gd name="connsiteY123" fmla="*/ 1002685 h 1050628"/>
                <a:gd name="connsiteX124" fmla="*/ 2013855 w 2449768"/>
                <a:gd name="connsiteY124" fmla="*/ 996609 h 1050628"/>
                <a:gd name="connsiteX125" fmla="*/ 2019931 w 2449768"/>
                <a:gd name="connsiteY125" fmla="*/ 972304 h 1050628"/>
                <a:gd name="connsiteX126" fmla="*/ 2030944 w 2449768"/>
                <a:gd name="connsiteY126" fmla="*/ 969646 h 1050628"/>
                <a:gd name="connsiteX127" fmla="*/ 405581 w 2449768"/>
                <a:gd name="connsiteY127" fmla="*/ 966608 h 1050628"/>
                <a:gd name="connsiteX128" fmla="*/ 418873 w 2449768"/>
                <a:gd name="connsiteY128" fmla="*/ 975342 h 1050628"/>
                <a:gd name="connsiteX129" fmla="*/ 412797 w 2449768"/>
                <a:gd name="connsiteY129" fmla="*/ 999647 h 1050628"/>
                <a:gd name="connsiteX130" fmla="*/ 388492 w 2449768"/>
                <a:gd name="connsiteY130" fmla="*/ 993571 h 1050628"/>
                <a:gd name="connsiteX131" fmla="*/ 394568 w 2449768"/>
                <a:gd name="connsiteY131" fmla="*/ 969266 h 1050628"/>
                <a:gd name="connsiteX132" fmla="*/ 405581 w 2449768"/>
                <a:gd name="connsiteY132" fmla="*/ 966608 h 1050628"/>
                <a:gd name="connsiteX133" fmla="*/ 2225380 w 2449768"/>
                <a:gd name="connsiteY133" fmla="*/ 957494 h 1050628"/>
                <a:gd name="connsiteX134" fmla="*/ 2238671 w 2449768"/>
                <a:gd name="connsiteY134" fmla="*/ 966228 h 1050628"/>
                <a:gd name="connsiteX135" fmla="*/ 2232595 w 2449768"/>
                <a:gd name="connsiteY135" fmla="*/ 990533 h 1050628"/>
                <a:gd name="connsiteX136" fmla="*/ 2208290 w 2449768"/>
                <a:gd name="connsiteY136" fmla="*/ 984457 h 1050628"/>
                <a:gd name="connsiteX137" fmla="*/ 2214366 w 2449768"/>
                <a:gd name="connsiteY137" fmla="*/ 960152 h 1050628"/>
                <a:gd name="connsiteX138" fmla="*/ 2225380 w 2449768"/>
                <a:gd name="connsiteY138" fmla="*/ 957494 h 1050628"/>
                <a:gd name="connsiteX139" fmla="*/ 1927649 w 2449768"/>
                <a:gd name="connsiteY139" fmla="*/ 954456 h 1050628"/>
                <a:gd name="connsiteX140" fmla="*/ 1940941 w 2449768"/>
                <a:gd name="connsiteY140" fmla="*/ 963190 h 1050628"/>
                <a:gd name="connsiteX141" fmla="*/ 1934865 w 2449768"/>
                <a:gd name="connsiteY141" fmla="*/ 987495 h 1050628"/>
                <a:gd name="connsiteX142" fmla="*/ 1910560 w 2449768"/>
                <a:gd name="connsiteY142" fmla="*/ 981419 h 1050628"/>
                <a:gd name="connsiteX143" fmla="*/ 1916636 w 2449768"/>
                <a:gd name="connsiteY143" fmla="*/ 957114 h 1050628"/>
                <a:gd name="connsiteX144" fmla="*/ 1927649 w 2449768"/>
                <a:gd name="connsiteY144" fmla="*/ 954456 h 1050628"/>
                <a:gd name="connsiteX145" fmla="*/ 244564 w 2449768"/>
                <a:gd name="connsiteY145" fmla="*/ 954456 h 1050628"/>
                <a:gd name="connsiteX146" fmla="*/ 257856 w 2449768"/>
                <a:gd name="connsiteY146" fmla="*/ 963190 h 1050628"/>
                <a:gd name="connsiteX147" fmla="*/ 251780 w 2449768"/>
                <a:gd name="connsiteY147" fmla="*/ 987495 h 1050628"/>
                <a:gd name="connsiteX148" fmla="*/ 227475 w 2449768"/>
                <a:gd name="connsiteY148" fmla="*/ 981419 h 1050628"/>
                <a:gd name="connsiteX149" fmla="*/ 233551 w 2449768"/>
                <a:gd name="connsiteY149" fmla="*/ 957114 h 1050628"/>
                <a:gd name="connsiteX150" fmla="*/ 244564 w 2449768"/>
                <a:gd name="connsiteY150" fmla="*/ 954456 h 1050628"/>
                <a:gd name="connsiteX151" fmla="*/ 2431968 w 2449768"/>
                <a:gd name="connsiteY151" fmla="*/ 951418 h 1050628"/>
                <a:gd name="connsiteX152" fmla="*/ 2445260 w 2449768"/>
                <a:gd name="connsiteY152" fmla="*/ 960152 h 1050628"/>
                <a:gd name="connsiteX153" fmla="*/ 2439184 w 2449768"/>
                <a:gd name="connsiteY153" fmla="*/ 984457 h 1050628"/>
                <a:gd name="connsiteX154" fmla="*/ 2414879 w 2449768"/>
                <a:gd name="connsiteY154" fmla="*/ 978381 h 1050628"/>
                <a:gd name="connsiteX155" fmla="*/ 2420955 w 2449768"/>
                <a:gd name="connsiteY155" fmla="*/ 954076 h 1050628"/>
                <a:gd name="connsiteX156" fmla="*/ 2431968 w 2449768"/>
                <a:gd name="connsiteY156" fmla="*/ 951418 h 1050628"/>
                <a:gd name="connsiteX157" fmla="*/ 1553968 w 2449768"/>
                <a:gd name="connsiteY157" fmla="*/ 948380 h 1050628"/>
                <a:gd name="connsiteX158" fmla="*/ 1567259 w 2449768"/>
                <a:gd name="connsiteY158" fmla="*/ 957114 h 1050628"/>
                <a:gd name="connsiteX159" fmla="*/ 1561183 w 2449768"/>
                <a:gd name="connsiteY159" fmla="*/ 981419 h 1050628"/>
                <a:gd name="connsiteX160" fmla="*/ 1536879 w 2449768"/>
                <a:gd name="connsiteY160" fmla="*/ 975343 h 1050628"/>
                <a:gd name="connsiteX161" fmla="*/ 1542955 w 2449768"/>
                <a:gd name="connsiteY161" fmla="*/ 951038 h 1050628"/>
                <a:gd name="connsiteX162" fmla="*/ 1553968 w 2449768"/>
                <a:gd name="connsiteY162" fmla="*/ 948380 h 1050628"/>
                <a:gd name="connsiteX163" fmla="*/ 1222819 w 2449768"/>
                <a:gd name="connsiteY163" fmla="*/ 933189 h 1050628"/>
                <a:gd name="connsiteX164" fmla="*/ 1236111 w 2449768"/>
                <a:gd name="connsiteY164" fmla="*/ 941923 h 1050628"/>
                <a:gd name="connsiteX165" fmla="*/ 1230035 w 2449768"/>
                <a:gd name="connsiteY165" fmla="*/ 966228 h 1050628"/>
                <a:gd name="connsiteX166" fmla="*/ 1205730 w 2449768"/>
                <a:gd name="connsiteY166" fmla="*/ 960152 h 1050628"/>
                <a:gd name="connsiteX167" fmla="*/ 1211806 w 2449768"/>
                <a:gd name="connsiteY167" fmla="*/ 935847 h 1050628"/>
                <a:gd name="connsiteX168" fmla="*/ 1222819 w 2449768"/>
                <a:gd name="connsiteY168" fmla="*/ 933189 h 1050628"/>
                <a:gd name="connsiteX169" fmla="*/ 1031421 w 2449768"/>
                <a:gd name="connsiteY169" fmla="*/ 930151 h 1050628"/>
                <a:gd name="connsiteX170" fmla="*/ 1044713 w 2449768"/>
                <a:gd name="connsiteY170" fmla="*/ 938885 h 1050628"/>
                <a:gd name="connsiteX171" fmla="*/ 1038637 w 2449768"/>
                <a:gd name="connsiteY171" fmla="*/ 963190 h 1050628"/>
                <a:gd name="connsiteX172" fmla="*/ 1014332 w 2449768"/>
                <a:gd name="connsiteY172" fmla="*/ 957114 h 1050628"/>
                <a:gd name="connsiteX173" fmla="*/ 1020408 w 2449768"/>
                <a:gd name="connsiteY173" fmla="*/ 932809 h 1050628"/>
                <a:gd name="connsiteX174" fmla="*/ 1031421 w 2449768"/>
                <a:gd name="connsiteY174" fmla="*/ 930151 h 1050628"/>
                <a:gd name="connsiteX175" fmla="*/ 931165 w 2449768"/>
                <a:gd name="connsiteY175" fmla="*/ 930151 h 1050628"/>
                <a:gd name="connsiteX176" fmla="*/ 944457 w 2449768"/>
                <a:gd name="connsiteY176" fmla="*/ 938885 h 1050628"/>
                <a:gd name="connsiteX177" fmla="*/ 938381 w 2449768"/>
                <a:gd name="connsiteY177" fmla="*/ 963190 h 1050628"/>
                <a:gd name="connsiteX178" fmla="*/ 914076 w 2449768"/>
                <a:gd name="connsiteY178" fmla="*/ 957114 h 1050628"/>
                <a:gd name="connsiteX179" fmla="*/ 920152 w 2449768"/>
                <a:gd name="connsiteY179" fmla="*/ 932809 h 1050628"/>
                <a:gd name="connsiteX180" fmla="*/ 931165 w 2449768"/>
                <a:gd name="connsiteY180" fmla="*/ 930151 h 1050628"/>
                <a:gd name="connsiteX181" fmla="*/ 123041 w 2449768"/>
                <a:gd name="connsiteY181" fmla="*/ 930151 h 1050628"/>
                <a:gd name="connsiteX182" fmla="*/ 136333 w 2449768"/>
                <a:gd name="connsiteY182" fmla="*/ 938885 h 1050628"/>
                <a:gd name="connsiteX183" fmla="*/ 130257 w 2449768"/>
                <a:gd name="connsiteY183" fmla="*/ 963190 h 1050628"/>
                <a:gd name="connsiteX184" fmla="*/ 105952 w 2449768"/>
                <a:gd name="connsiteY184" fmla="*/ 957114 h 1050628"/>
                <a:gd name="connsiteX185" fmla="*/ 112028 w 2449768"/>
                <a:gd name="connsiteY185" fmla="*/ 932809 h 1050628"/>
                <a:gd name="connsiteX186" fmla="*/ 123041 w 2449768"/>
                <a:gd name="connsiteY186" fmla="*/ 930151 h 1050628"/>
                <a:gd name="connsiteX187" fmla="*/ 524065 w 2449768"/>
                <a:gd name="connsiteY187" fmla="*/ 917999 h 1050628"/>
                <a:gd name="connsiteX188" fmla="*/ 537357 w 2449768"/>
                <a:gd name="connsiteY188" fmla="*/ 926733 h 1050628"/>
                <a:gd name="connsiteX189" fmla="*/ 531281 w 2449768"/>
                <a:gd name="connsiteY189" fmla="*/ 951038 h 1050628"/>
                <a:gd name="connsiteX190" fmla="*/ 506976 w 2449768"/>
                <a:gd name="connsiteY190" fmla="*/ 944962 h 1050628"/>
                <a:gd name="connsiteX191" fmla="*/ 513052 w 2449768"/>
                <a:gd name="connsiteY191" fmla="*/ 920657 h 1050628"/>
                <a:gd name="connsiteX192" fmla="*/ 524065 w 2449768"/>
                <a:gd name="connsiteY192" fmla="*/ 917999 h 1050628"/>
                <a:gd name="connsiteX193" fmla="*/ 824833 w 2449768"/>
                <a:gd name="connsiteY193" fmla="*/ 911923 h 1050628"/>
                <a:gd name="connsiteX194" fmla="*/ 838125 w 2449768"/>
                <a:gd name="connsiteY194" fmla="*/ 920657 h 1050628"/>
                <a:gd name="connsiteX195" fmla="*/ 832049 w 2449768"/>
                <a:gd name="connsiteY195" fmla="*/ 944962 h 1050628"/>
                <a:gd name="connsiteX196" fmla="*/ 807744 w 2449768"/>
                <a:gd name="connsiteY196" fmla="*/ 938886 h 1050628"/>
                <a:gd name="connsiteX197" fmla="*/ 813820 w 2449768"/>
                <a:gd name="connsiteY197" fmla="*/ 914581 h 1050628"/>
                <a:gd name="connsiteX198" fmla="*/ 824833 w 2449768"/>
                <a:gd name="connsiteY198" fmla="*/ 911923 h 1050628"/>
                <a:gd name="connsiteX199" fmla="*/ 2137276 w 2449768"/>
                <a:gd name="connsiteY199" fmla="*/ 905847 h 1050628"/>
                <a:gd name="connsiteX200" fmla="*/ 2150567 w 2449768"/>
                <a:gd name="connsiteY200" fmla="*/ 914581 h 1050628"/>
                <a:gd name="connsiteX201" fmla="*/ 2144491 w 2449768"/>
                <a:gd name="connsiteY201" fmla="*/ 938886 h 1050628"/>
                <a:gd name="connsiteX202" fmla="*/ 2120187 w 2449768"/>
                <a:gd name="connsiteY202" fmla="*/ 932810 h 1050628"/>
                <a:gd name="connsiteX203" fmla="*/ 2126263 w 2449768"/>
                <a:gd name="connsiteY203" fmla="*/ 908505 h 1050628"/>
                <a:gd name="connsiteX204" fmla="*/ 2137276 w 2449768"/>
                <a:gd name="connsiteY204" fmla="*/ 905847 h 1050628"/>
                <a:gd name="connsiteX205" fmla="*/ 630397 w 2449768"/>
                <a:gd name="connsiteY205" fmla="*/ 905847 h 1050628"/>
                <a:gd name="connsiteX206" fmla="*/ 643689 w 2449768"/>
                <a:gd name="connsiteY206" fmla="*/ 914581 h 1050628"/>
                <a:gd name="connsiteX207" fmla="*/ 637613 w 2449768"/>
                <a:gd name="connsiteY207" fmla="*/ 938886 h 1050628"/>
                <a:gd name="connsiteX208" fmla="*/ 613308 w 2449768"/>
                <a:gd name="connsiteY208" fmla="*/ 932810 h 1050628"/>
                <a:gd name="connsiteX209" fmla="*/ 619384 w 2449768"/>
                <a:gd name="connsiteY209" fmla="*/ 908505 h 1050628"/>
                <a:gd name="connsiteX210" fmla="*/ 630397 w 2449768"/>
                <a:gd name="connsiteY210" fmla="*/ 905847 h 1050628"/>
                <a:gd name="connsiteX211" fmla="*/ 1332189 w 2449768"/>
                <a:gd name="connsiteY211" fmla="*/ 896733 h 1050628"/>
                <a:gd name="connsiteX212" fmla="*/ 1345481 w 2449768"/>
                <a:gd name="connsiteY212" fmla="*/ 905467 h 1050628"/>
                <a:gd name="connsiteX213" fmla="*/ 1339405 w 2449768"/>
                <a:gd name="connsiteY213" fmla="*/ 929772 h 1050628"/>
                <a:gd name="connsiteX214" fmla="*/ 1315100 w 2449768"/>
                <a:gd name="connsiteY214" fmla="*/ 923696 h 1050628"/>
                <a:gd name="connsiteX215" fmla="*/ 1321176 w 2449768"/>
                <a:gd name="connsiteY215" fmla="*/ 899391 h 1050628"/>
                <a:gd name="connsiteX216" fmla="*/ 1332189 w 2449768"/>
                <a:gd name="connsiteY216" fmla="*/ 896733 h 1050628"/>
                <a:gd name="connsiteX217" fmla="*/ 724577 w 2449768"/>
                <a:gd name="connsiteY217" fmla="*/ 890656 h 1050628"/>
                <a:gd name="connsiteX218" fmla="*/ 737869 w 2449768"/>
                <a:gd name="connsiteY218" fmla="*/ 899390 h 1050628"/>
                <a:gd name="connsiteX219" fmla="*/ 731793 w 2449768"/>
                <a:gd name="connsiteY219" fmla="*/ 923695 h 1050628"/>
                <a:gd name="connsiteX220" fmla="*/ 707488 w 2449768"/>
                <a:gd name="connsiteY220" fmla="*/ 917619 h 1050628"/>
                <a:gd name="connsiteX221" fmla="*/ 713564 w 2449768"/>
                <a:gd name="connsiteY221" fmla="*/ 893314 h 1050628"/>
                <a:gd name="connsiteX222" fmla="*/ 724577 w 2449768"/>
                <a:gd name="connsiteY222" fmla="*/ 890656 h 1050628"/>
                <a:gd name="connsiteX223" fmla="*/ 1435484 w 2449768"/>
                <a:gd name="connsiteY223" fmla="*/ 884580 h 1050628"/>
                <a:gd name="connsiteX224" fmla="*/ 1448776 w 2449768"/>
                <a:gd name="connsiteY224" fmla="*/ 893314 h 1050628"/>
                <a:gd name="connsiteX225" fmla="*/ 1442700 w 2449768"/>
                <a:gd name="connsiteY225" fmla="*/ 917619 h 1050628"/>
                <a:gd name="connsiteX226" fmla="*/ 1418395 w 2449768"/>
                <a:gd name="connsiteY226" fmla="*/ 911543 h 1050628"/>
                <a:gd name="connsiteX227" fmla="*/ 1424471 w 2449768"/>
                <a:gd name="connsiteY227" fmla="*/ 887238 h 1050628"/>
                <a:gd name="connsiteX228" fmla="*/ 1435484 w 2449768"/>
                <a:gd name="connsiteY228" fmla="*/ 884580 h 1050628"/>
                <a:gd name="connsiteX229" fmla="*/ 1131677 w 2449768"/>
                <a:gd name="connsiteY229" fmla="*/ 884580 h 1050628"/>
                <a:gd name="connsiteX230" fmla="*/ 1144969 w 2449768"/>
                <a:gd name="connsiteY230" fmla="*/ 893314 h 1050628"/>
                <a:gd name="connsiteX231" fmla="*/ 1138893 w 2449768"/>
                <a:gd name="connsiteY231" fmla="*/ 917619 h 1050628"/>
                <a:gd name="connsiteX232" fmla="*/ 1114588 w 2449768"/>
                <a:gd name="connsiteY232" fmla="*/ 911543 h 1050628"/>
                <a:gd name="connsiteX233" fmla="*/ 1120664 w 2449768"/>
                <a:gd name="connsiteY233" fmla="*/ 887238 h 1050628"/>
                <a:gd name="connsiteX234" fmla="*/ 1131677 w 2449768"/>
                <a:gd name="connsiteY234" fmla="*/ 884580 h 1050628"/>
                <a:gd name="connsiteX235" fmla="*/ 1757518 w 2449768"/>
                <a:gd name="connsiteY235" fmla="*/ 881542 h 1050628"/>
                <a:gd name="connsiteX236" fmla="*/ 1770810 w 2449768"/>
                <a:gd name="connsiteY236" fmla="*/ 890276 h 1050628"/>
                <a:gd name="connsiteX237" fmla="*/ 1764734 w 2449768"/>
                <a:gd name="connsiteY237" fmla="*/ 914581 h 1050628"/>
                <a:gd name="connsiteX238" fmla="*/ 1740429 w 2449768"/>
                <a:gd name="connsiteY238" fmla="*/ 908505 h 1050628"/>
                <a:gd name="connsiteX239" fmla="*/ 1746505 w 2449768"/>
                <a:gd name="connsiteY239" fmla="*/ 884200 h 1050628"/>
                <a:gd name="connsiteX240" fmla="*/ 1757518 w 2449768"/>
                <a:gd name="connsiteY240" fmla="*/ 881542 h 1050628"/>
                <a:gd name="connsiteX241" fmla="*/ 1654224 w 2449768"/>
                <a:gd name="connsiteY241" fmla="*/ 881542 h 1050628"/>
                <a:gd name="connsiteX242" fmla="*/ 1667516 w 2449768"/>
                <a:gd name="connsiteY242" fmla="*/ 890276 h 1050628"/>
                <a:gd name="connsiteX243" fmla="*/ 1661440 w 2449768"/>
                <a:gd name="connsiteY243" fmla="*/ 914581 h 1050628"/>
                <a:gd name="connsiteX244" fmla="*/ 1637135 w 2449768"/>
                <a:gd name="connsiteY244" fmla="*/ 908505 h 1050628"/>
                <a:gd name="connsiteX245" fmla="*/ 1643211 w 2449768"/>
                <a:gd name="connsiteY245" fmla="*/ 884200 h 1050628"/>
                <a:gd name="connsiteX246" fmla="*/ 1654224 w 2449768"/>
                <a:gd name="connsiteY246" fmla="*/ 881542 h 1050628"/>
                <a:gd name="connsiteX247" fmla="*/ 2346903 w 2449768"/>
                <a:gd name="connsiteY247" fmla="*/ 878504 h 1050628"/>
                <a:gd name="connsiteX248" fmla="*/ 2360194 w 2449768"/>
                <a:gd name="connsiteY248" fmla="*/ 887238 h 1050628"/>
                <a:gd name="connsiteX249" fmla="*/ 2354118 w 2449768"/>
                <a:gd name="connsiteY249" fmla="*/ 911543 h 1050628"/>
                <a:gd name="connsiteX250" fmla="*/ 2329813 w 2449768"/>
                <a:gd name="connsiteY250" fmla="*/ 905467 h 1050628"/>
                <a:gd name="connsiteX251" fmla="*/ 2335889 w 2449768"/>
                <a:gd name="connsiteY251" fmla="*/ 881162 h 1050628"/>
                <a:gd name="connsiteX252" fmla="*/ 2346903 w 2449768"/>
                <a:gd name="connsiteY252" fmla="*/ 878504 h 1050628"/>
                <a:gd name="connsiteX253" fmla="*/ 320515 w 2449768"/>
                <a:gd name="connsiteY253" fmla="*/ 872428 h 1050628"/>
                <a:gd name="connsiteX254" fmla="*/ 333807 w 2449768"/>
                <a:gd name="connsiteY254" fmla="*/ 881162 h 1050628"/>
                <a:gd name="connsiteX255" fmla="*/ 327731 w 2449768"/>
                <a:gd name="connsiteY255" fmla="*/ 905467 h 1050628"/>
                <a:gd name="connsiteX256" fmla="*/ 303426 w 2449768"/>
                <a:gd name="connsiteY256" fmla="*/ 899391 h 1050628"/>
                <a:gd name="connsiteX257" fmla="*/ 309502 w 2449768"/>
                <a:gd name="connsiteY257" fmla="*/ 875086 h 1050628"/>
                <a:gd name="connsiteX258" fmla="*/ 320515 w 2449768"/>
                <a:gd name="connsiteY258" fmla="*/ 872428 h 1050628"/>
                <a:gd name="connsiteX259" fmla="*/ 1876003 w 2449768"/>
                <a:gd name="connsiteY259" fmla="*/ 866352 h 1050628"/>
                <a:gd name="connsiteX260" fmla="*/ 1889294 w 2449768"/>
                <a:gd name="connsiteY260" fmla="*/ 875086 h 1050628"/>
                <a:gd name="connsiteX261" fmla="*/ 1883218 w 2449768"/>
                <a:gd name="connsiteY261" fmla="*/ 899391 h 1050628"/>
                <a:gd name="connsiteX262" fmla="*/ 1858913 w 2449768"/>
                <a:gd name="connsiteY262" fmla="*/ 893315 h 1050628"/>
                <a:gd name="connsiteX263" fmla="*/ 1864989 w 2449768"/>
                <a:gd name="connsiteY263" fmla="*/ 869010 h 1050628"/>
                <a:gd name="connsiteX264" fmla="*/ 1876003 w 2449768"/>
                <a:gd name="connsiteY264" fmla="*/ 866352 h 1050628"/>
                <a:gd name="connsiteX265" fmla="*/ 2000563 w 2449768"/>
                <a:gd name="connsiteY265" fmla="*/ 857238 h 1050628"/>
                <a:gd name="connsiteX266" fmla="*/ 2013855 w 2449768"/>
                <a:gd name="connsiteY266" fmla="*/ 865972 h 1050628"/>
                <a:gd name="connsiteX267" fmla="*/ 2007779 w 2449768"/>
                <a:gd name="connsiteY267" fmla="*/ 890277 h 1050628"/>
                <a:gd name="connsiteX268" fmla="*/ 1983474 w 2449768"/>
                <a:gd name="connsiteY268" fmla="*/ 884201 h 1050628"/>
                <a:gd name="connsiteX269" fmla="*/ 1989550 w 2449768"/>
                <a:gd name="connsiteY269" fmla="*/ 859896 h 1050628"/>
                <a:gd name="connsiteX270" fmla="*/ 2000563 w 2449768"/>
                <a:gd name="connsiteY270" fmla="*/ 857238 h 1050628"/>
                <a:gd name="connsiteX271" fmla="*/ 420771 w 2449768"/>
                <a:gd name="connsiteY271" fmla="*/ 857238 h 1050628"/>
                <a:gd name="connsiteX272" fmla="*/ 434062 w 2449768"/>
                <a:gd name="connsiteY272" fmla="*/ 865972 h 1050628"/>
                <a:gd name="connsiteX273" fmla="*/ 427986 w 2449768"/>
                <a:gd name="connsiteY273" fmla="*/ 890277 h 1050628"/>
                <a:gd name="connsiteX274" fmla="*/ 403682 w 2449768"/>
                <a:gd name="connsiteY274" fmla="*/ 884201 h 1050628"/>
                <a:gd name="connsiteX275" fmla="*/ 409758 w 2449768"/>
                <a:gd name="connsiteY275" fmla="*/ 859896 h 1050628"/>
                <a:gd name="connsiteX276" fmla="*/ 420771 w 2449768"/>
                <a:gd name="connsiteY276" fmla="*/ 857238 h 1050628"/>
                <a:gd name="connsiteX277" fmla="*/ 2237532 w 2449768"/>
                <a:gd name="connsiteY277" fmla="*/ 848124 h 1050628"/>
                <a:gd name="connsiteX278" fmla="*/ 2250824 w 2449768"/>
                <a:gd name="connsiteY278" fmla="*/ 856858 h 1050628"/>
                <a:gd name="connsiteX279" fmla="*/ 2244748 w 2449768"/>
                <a:gd name="connsiteY279" fmla="*/ 881163 h 1050628"/>
                <a:gd name="connsiteX280" fmla="*/ 2220443 w 2449768"/>
                <a:gd name="connsiteY280" fmla="*/ 875087 h 1050628"/>
                <a:gd name="connsiteX281" fmla="*/ 2226519 w 2449768"/>
                <a:gd name="connsiteY281" fmla="*/ 850782 h 1050628"/>
                <a:gd name="connsiteX282" fmla="*/ 2237532 w 2449768"/>
                <a:gd name="connsiteY282" fmla="*/ 848124 h 1050628"/>
                <a:gd name="connsiteX283" fmla="*/ 211145 w 2449768"/>
                <a:gd name="connsiteY283" fmla="*/ 848124 h 1050628"/>
                <a:gd name="connsiteX284" fmla="*/ 224436 w 2449768"/>
                <a:gd name="connsiteY284" fmla="*/ 856858 h 1050628"/>
                <a:gd name="connsiteX285" fmla="*/ 218360 w 2449768"/>
                <a:gd name="connsiteY285" fmla="*/ 881163 h 1050628"/>
                <a:gd name="connsiteX286" fmla="*/ 194056 w 2449768"/>
                <a:gd name="connsiteY286" fmla="*/ 875087 h 1050628"/>
                <a:gd name="connsiteX287" fmla="*/ 200132 w 2449768"/>
                <a:gd name="connsiteY287" fmla="*/ 850782 h 1050628"/>
                <a:gd name="connsiteX288" fmla="*/ 211145 w 2449768"/>
                <a:gd name="connsiteY288" fmla="*/ 848124 h 1050628"/>
                <a:gd name="connsiteX289" fmla="*/ 1511435 w 2449768"/>
                <a:gd name="connsiteY289" fmla="*/ 839009 h 1050628"/>
                <a:gd name="connsiteX290" fmla="*/ 1524727 w 2449768"/>
                <a:gd name="connsiteY290" fmla="*/ 847743 h 1050628"/>
                <a:gd name="connsiteX291" fmla="*/ 1518651 w 2449768"/>
                <a:gd name="connsiteY291" fmla="*/ 872048 h 1050628"/>
                <a:gd name="connsiteX292" fmla="*/ 1494346 w 2449768"/>
                <a:gd name="connsiteY292" fmla="*/ 865972 h 1050628"/>
                <a:gd name="connsiteX293" fmla="*/ 1500422 w 2449768"/>
                <a:gd name="connsiteY293" fmla="*/ 841667 h 1050628"/>
                <a:gd name="connsiteX294" fmla="*/ 1511435 w 2449768"/>
                <a:gd name="connsiteY294" fmla="*/ 839009 h 1050628"/>
                <a:gd name="connsiteX295" fmla="*/ 1253200 w 2449768"/>
                <a:gd name="connsiteY295" fmla="*/ 826857 h 1050628"/>
                <a:gd name="connsiteX296" fmla="*/ 1266492 w 2449768"/>
                <a:gd name="connsiteY296" fmla="*/ 835591 h 1050628"/>
                <a:gd name="connsiteX297" fmla="*/ 1260416 w 2449768"/>
                <a:gd name="connsiteY297" fmla="*/ 859896 h 1050628"/>
                <a:gd name="connsiteX298" fmla="*/ 1236111 w 2449768"/>
                <a:gd name="connsiteY298" fmla="*/ 853820 h 1050628"/>
                <a:gd name="connsiteX299" fmla="*/ 1242187 w 2449768"/>
                <a:gd name="connsiteY299" fmla="*/ 829515 h 1050628"/>
                <a:gd name="connsiteX300" fmla="*/ 1253200 w 2449768"/>
                <a:gd name="connsiteY300" fmla="*/ 826857 h 1050628"/>
                <a:gd name="connsiteX301" fmla="*/ 2428930 w 2449768"/>
                <a:gd name="connsiteY301" fmla="*/ 814705 h 1050628"/>
                <a:gd name="connsiteX302" fmla="*/ 2442221 w 2449768"/>
                <a:gd name="connsiteY302" fmla="*/ 823439 h 1050628"/>
                <a:gd name="connsiteX303" fmla="*/ 2436145 w 2449768"/>
                <a:gd name="connsiteY303" fmla="*/ 847744 h 1050628"/>
                <a:gd name="connsiteX304" fmla="*/ 2411841 w 2449768"/>
                <a:gd name="connsiteY304" fmla="*/ 841668 h 1050628"/>
                <a:gd name="connsiteX305" fmla="*/ 2417917 w 2449768"/>
                <a:gd name="connsiteY305" fmla="*/ 817363 h 1050628"/>
                <a:gd name="connsiteX306" fmla="*/ 2428930 w 2449768"/>
                <a:gd name="connsiteY306" fmla="*/ 814705 h 1050628"/>
                <a:gd name="connsiteX307" fmla="*/ 991927 w 2449768"/>
                <a:gd name="connsiteY307" fmla="*/ 814705 h 1050628"/>
                <a:gd name="connsiteX308" fmla="*/ 1005218 w 2449768"/>
                <a:gd name="connsiteY308" fmla="*/ 823439 h 1050628"/>
                <a:gd name="connsiteX309" fmla="*/ 999142 w 2449768"/>
                <a:gd name="connsiteY309" fmla="*/ 847744 h 1050628"/>
                <a:gd name="connsiteX310" fmla="*/ 974838 w 2449768"/>
                <a:gd name="connsiteY310" fmla="*/ 841668 h 1050628"/>
                <a:gd name="connsiteX311" fmla="*/ 980914 w 2449768"/>
                <a:gd name="connsiteY311" fmla="*/ 817363 h 1050628"/>
                <a:gd name="connsiteX312" fmla="*/ 991927 w 2449768"/>
                <a:gd name="connsiteY312" fmla="*/ 814705 h 1050628"/>
                <a:gd name="connsiteX313" fmla="*/ 894709 w 2449768"/>
                <a:gd name="connsiteY313" fmla="*/ 814705 h 1050628"/>
                <a:gd name="connsiteX314" fmla="*/ 908001 w 2449768"/>
                <a:gd name="connsiteY314" fmla="*/ 823439 h 1050628"/>
                <a:gd name="connsiteX315" fmla="*/ 901925 w 2449768"/>
                <a:gd name="connsiteY315" fmla="*/ 847744 h 1050628"/>
                <a:gd name="connsiteX316" fmla="*/ 877620 w 2449768"/>
                <a:gd name="connsiteY316" fmla="*/ 841668 h 1050628"/>
                <a:gd name="connsiteX317" fmla="*/ 883696 w 2449768"/>
                <a:gd name="connsiteY317" fmla="*/ 817363 h 1050628"/>
                <a:gd name="connsiteX318" fmla="*/ 894709 w 2449768"/>
                <a:gd name="connsiteY318" fmla="*/ 814705 h 1050628"/>
                <a:gd name="connsiteX319" fmla="*/ 2088668 w 2449768"/>
                <a:gd name="connsiteY319" fmla="*/ 805591 h 1050628"/>
                <a:gd name="connsiteX320" fmla="*/ 2101959 w 2449768"/>
                <a:gd name="connsiteY320" fmla="*/ 814325 h 1050628"/>
                <a:gd name="connsiteX321" fmla="*/ 2095883 w 2449768"/>
                <a:gd name="connsiteY321" fmla="*/ 838630 h 1050628"/>
                <a:gd name="connsiteX322" fmla="*/ 2071578 w 2449768"/>
                <a:gd name="connsiteY322" fmla="*/ 832554 h 1050628"/>
                <a:gd name="connsiteX323" fmla="*/ 2077654 w 2449768"/>
                <a:gd name="connsiteY323" fmla="*/ 808249 h 1050628"/>
                <a:gd name="connsiteX324" fmla="*/ 2088668 w 2449768"/>
                <a:gd name="connsiteY324" fmla="*/ 805591 h 1050628"/>
                <a:gd name="connsiteX325" fmla="*/ 575712 w 2449768"/>
                <a:gd name="connsiteY325" fmla="*/ 802553 h 1050628"/>
                <a:gd name="connsiteX326" fmla="*/ 589004 w 2449768"/>
                <a:gd name="connsiteY326" fmla="*/ 811287 h 1050628"/>
                <a:gd name="connsiteX327" fmla="*/ 582928 w 2449768"/>
                <a:gd name="connsiteY327" fmla="*/ 835592 h 1050628"/>
                <a:gd name="connsiteX328" fmla="*/ 558623 w 2449768"/>
                <a:gd name="connsiteY328" fmla="*/ 829516 h 1050628"/>
                <a:gd name="connsiteX329" fmla="*/ 564699 w 2449768"/>
                <a:gd name="connsiteY329" fmla="*/ 805211 h 1050628"/>
                <a:gd name="connsiteX330" fmla="*/ 575712 w 2449768"/>
                <a:gd name="connsiteY330" fmla="*/ 802553 h 1050628"/>
                <a:gd name="connsiteX331" fmla="*/ 1602577 w 2449768"/>
                <a:gd name="connsiteY331" fmla="*/ 796477 h 1050628"/>
                <a:gd name="connsiteX332" fmla="*/ 1615869 w 2449768"/>
                <a:gd name="connsiteY332" fmla="*/ 805211 h 1050628"/>
                <a:gd name="connsiteX333" fmla="*/ 1609793 w 2449768"/>
                <a:gd name="connsiteY333" fmla="*/ 829516 h 1050628"/>
                <a:gd name="connsiteX334" fmla="*/ 1585488 w 2449768"/>
                <a:gd name="connsiteY334" fmla="*/ 823440 h 1050628"/>
                <a:gd name="connsiteX335" fmla="*/ 1591564 w 2449768"/>
                <a:gd name="connsiteY335" fmla="*/ 799135 h 1050628"/>
                <a:gd name="connsiteX336" fmla="*/ 1602577 w 2449768"/>
                <a:gd name="connsiteY336" fmla="*/ 796477 h 1050628"/>
                <a:gd name="connsiteX337" fmla="*/ 1104335 w 2449768"/>
                <a:gd name="connsiteY337" fmla="*/ 793438 h 1050628"/>
                <a:gd name="connsiteX338" fmla="*/ 1117627 w 2449768"/>
                <a:gd name="connsiteY338" fmla="*/ 802172 h 1050628"/>
                <a:gd name="connsiteX339" fmla="*/ 1111551 w 2449768"/>
                <a:gd name="connsiteY339" fmla="*/ 826477 h 1050628"/>
                <a:gd name="connsiteX340" fmla="*/ 1087246 w 2449768"/>
                <a:gd name="connsiteY340" fmla="*/ 820401 h 1050628"/>
                <a:gd name="connsiteX341" fmla="*/ 1093322 w 2449768"/>
                <a:gd name="connsiteY341" fmla="*/ 796096 h 1050628"/>
                <a:gd name="connsiteX342" fmla="*/ 1104335 w 2449768"/>
                <a:gd name="connsiteY342" fmla="*/ 793438 h 1050628"/>
                <a:gd name="connsiteX343" fmla="*/ 791415 w 2449768"/>
                <a:gd name="connsiteY343" fmla="*/ 793438 h 1050628"/>
                <a:gd name="connsiteX344" fmla="*/ 804707 w 2449768"/>
                <a:gd name="connsiteY344" fmla="*/ 802172 h 1050628"/>
                <a:gd name="connsiteX345" fmla="*/ 798631 w 2449768"/>
                <a:gd name="connsiteY345" fmla="*/ 826477 h 1050628"/>
                <a:gd name="connsiteX346" fmla="*/ 774326 w 2449768"/>
                <a:gd name="connsiteY346" fmla="*/ 820401 h 1050628"/>
                <a:gd name="connsiteX347" fmla="*/ 780402 w 2449768"/>
                <a:gd name="connsiteY347" fmla="*/ 796096 h 1050628"/>
                <a:gd name="connsiteX348" fmla="*/ 791415 w 2449768"/>
                <a:gd name="connsiteY348" fmla="*/ 793438 h 1050628"/>
                <a:gd name="connsiteX349" fmla="*/ 1371684 w 2449768"/>
                <a:gd name="connsiteY349" fmla="*/ 784324 h 1050628"/>
                <a:gd name="connsiteX350" fmla="*/ 1384976 w 2449768"/>
                <a:gd name="connsiteY350" fmla="*/ 793058 h 1050628"/>
                <a:gd name="connsiteX351" fmla="*/ 1378900 w 2449768"/>
                <a:gd name="connsiteY351" fmla="*/ 817363 h 1050628"/>
                <a:gd name="connsiteX352" fmla="*/ 1354595 w 2449768"/>
                <a:gd name="connsiteY352" fmla="*/ 811287 h 1050628"/>
                <a:gd name="connsiteX353" fmla="*/ 1360671 w 2449768"/>
                <a:gd name="connsiteY353" fmla="*/ 786982 h 1050628"/>
                <a:gd name="connsiteX354" fmla="*/ 1371684 w 2449768"/>
                <a:gd name="connsiteY354" fmla="*/ 784324 h 1050628"/>
                <a:gd name="connsiteX355" fmla="*/ 472418 w 2449768"/>
                <a:gd name="connsiteY355" fmla="*/ 781286 h 1050628"/>
                <a:gd name="connsiteX356" fmla="*/ 485710 w 2449768"/>
                <a:gd name="connsiteY356" fmla="*/ 790020 h 1050628"/>
                <a:gd name="connsiteX357" fmla="*/ 479634 w 2449768"/>
                <a:gd name="connsiteY357" fmla="*/ 814325 h 1050628"/>
                <a:gd name="connsiteX358" fmla="*/ 455329 w 2449768"/>
                <a:gd name="connsiteY358" fmla="*/ 808249 h 1050628"/>
                <a:gd name="connsiteX359" fmla="*/ 461405 w 2449768"/>
                <a:gd name="connsiteY359" fmla="*/ 783944 h 1050628"/>
                <a:gd name="connsiteX360" fmla="*/ 472418 w 2449768"/>
                <a:gd name="connsiteY360" fmla="*/ 781286 h 1050628"/>
                <a:gd name="connsiteX361" fmla="*/ 1803089 w 2449768"/>
                <a:gd name="connsiteY361" fmla="*/ 778248 h 1050628"/>
                <a:gd name="connsiteX362" fmla="*/ 1816381 w 2449768"/>
                <a:gd name="connsiteY362" fmla="*/ 786982 h 1050628"/>
                <a:gd name="connsiteX363" fmla="*/ 1810305 w 2449768"/>
                <a:gd name="connsiteY363" fmla="*/ 811287 h 1050628"/>
                <a:gd name="connsiteX364" fmla="*/ 1786000 w 2449768"/>
                <a:gd name="connsiteY364" fmla="*/ 805211 h 1050628"/>
                <a:gd name="connsiteX365" fmla="*/ 1792076 w 2449768"/>
                <a:gd name="connsiteY365" fmla="*/ 780906 h 1050628"/>
                <a:gd name="connsiteX366" fmla="*/ 1803089 w 2449768"/>
                <a:gd name="connsiteY366" fmla="*/ 778248 h 1050628"/>
                <a:gd name="connsiteX367" fmla="*/ 675968 w 2449768"/>
                <a:gd name="connsiteY367" fmla="*/ 772172 h 1050628"/>
                <a:gd name="connsiteX368" fmla="*/ 689260 w 2449768"/>
                <a:gd name="connsiteY368" fmla="*/ 780906 h 1050628"/>
                <a:gd name="connsiteX369" fmla="*/ 683184 w 2449768"/>
                <a:gd name="connsiteY369" fmla="*/ 805211 h 1050628"/>
                <a:gd name="connsiteX370" fmla="*/ 658879 w 2449768"/>
                <a:gd name="connsiteY370" fmla="*/ 799135 h 1050628"/>
                <a:gd name="connsiteX371" fmla="*/ 664955 w 2449768"/>
                <a:gd name="connsiteY371" fmla="*/ 774830 h 1050628"/>
                <a:gd name="connsiteX372" fmla="*/ 675968 w 2449768"/>
                <a:gd name="connsiteY372" fmla="*/ 772172 h 1050628"/>
                <a:gd name="connsiteX373" fmla="*/ 302287 w 2449768"/>
                <a:gd name="connsiteY373" fmla="*/ 769134 h 1050628"/>
                <a:gd name="connsiteX374" fmla="*/ 315579 w 2449768"/>
                <a:gd name="connsiteY374" fmla="*/ 777868 h 1050628"/>
                <a:gd name="connsiteX375" fmla="*/ 309503 w 2449768"/>
                <a:gd name="connsiteY375" fmla="*/ 802173 h 1050628"/>
                <a:gd name="connsiteX376" fmla="*/ 285198 w 2449768"/>
                <a:gd name="connsiteY376" fmla="*/ 796097 h 1050628"/>
                <a:gd name="connsiteX377" fmla="*/ 291274 w 2449768"/>
                <a:gd name="connsiteY377" fmla="*/ 771792 h 1050628"/>
                <a:gd name="connsiteX378" fmla="*/ 302287 w 2449768"/>
                <a:gd name="connsiteY378" fmla="*/ 769134 h 1050628"/>
                <a:gd name="connsiteX379" fmla="*/ 2313484 w 2449768"/>
                <a:gd name="connsiteY379" fmla="*/ 766096 h 1050628"/>
                <a:gd name="connsiteX380" fmla="*/ 2326775 w 2449768"/>
                <a:gd name="connsiteY380" fmla="*/ 774830 h 1050628"/>
                <a:gd name="connsiteX381" fmla="*/ 2320699 w 2449768"/>
                <a:gd name="connsiteY381" fmla="*/ 799135 h 1050628"/>
                <a:gd name="connsiteX382" fmla="*/ 2296395 w 2449768"/>
                <a:gd name="connsiteY382" fmla="*/ 793059 h 1050628"/>
                <a:gd name="connsiteX383" fmla="*/ 2302471 w 2449768"/>
                <a:gd name="connsiteY383" fmla="*/ 768754 h 1050628"/>
                <a:gd name="connsiteX384" fmla="*/ 2313484 w 2449768"/>
                <a:gd name="connsiteY384" fmla="*/ 766096 h 1050628"/>
                <a:gd name="connsiteX385" fmla="*/ 1921574 w 2449768"/>
                <a:gd name="connsiteY385" fmla="*/ 766096 h 1050628"/>
                <a:gd name="connsiteX386" fmla="*/ 1934865 w 2449768"/>
                <a:gd name="connsiteY386" fmla="*/ 774830 h 1050628"/>
                <a:gd name="connsiteX387" fmla="*/ 1928789 w 2449768"/>
                <a:gd name="connsiteY387" fmla="*/ 799135 h 1050628"/>
                <a:gd name="connsiteX388" fmla="*/ 1904485 w 2449768"/>
                <a:gd name="connsiteY388" fmla="*/ 793059 h 1050628"/>
                <a:gd name="connsiteX389" fmla="*/ 1910561 w 2449768"/>
                <a:gd name="connsiteY389" fmla="*/ 768754 h 1050628"/>
                <a:gd name="connsiteX390" fmla="*/ 1921574 w 2449768"/>
                <a:gd name="connsiteY390" fmla="*/ 766096 h 1050628"/>
                <a:gd name="connsiteX391" fmla="*/ 2176771 w 2449768"/>
                <a:gd name="connsiteY391" fmla="*/ 756982 h 1050628"/>
                <a:gd name="connsiteX392" fmla="*/ 2190062 w 2449768"/>
                <a:gd name="connsiteY392" fmla="*/ 765716 h 1050628"/>
                <a:gd name="connsiteX393" fmla="*/ 2183986 w 2449768"/>
                <a:gd name="connsiteY393" fmla="*/ 790021 h 1050628"/>
                <a:gd name="connsiteX394" fmla="*/ 2159682 w 2449768"/>
                <a:gd name="connsiteY394" fmla="*/ 783945 h 1050628"/>
                <a:gd name="connsiteX395" fmla="*/ 2165758 w 2449768"/>
                <a:gd name="connsiteY395" fmla="*/ 759640 h 1050628"/>
                <a:gd name="connsiteX396" fmla="*/ 2176771 w 2449768"/>
                <a:gd name="connsiteY396" fmla="*/ 756982 h 1050628"/>
                <a:gd name="connsiteX397" fmla="*/ 1702833 w 2449768"/>
                <a:gd name="connsiteY397" fmla="*/ 750906 h 1050628"/>
                <a:gd name="connsiteX398" fmla="*/ 1716125 w 2449768"/>
                <a:gd name="connsiteY398" fmla="*/ 759640 h 1050628"/>
                <a:gd name="connsiteX399" fmla="*/ 1710049 w 2449768"/>
                <a:gd name="connsiteY399" fmla="*/ 783945 h 1050628"/>
                <a:gd name="connsiteX400" fmla="*/ 1685744 w 2449768"/>
                <a:gd name="connsiteY400" fmla="*/ 777869 h 1050628"/>
                <a:gd name="connsiteX401" fmla="*/ 1691820 w 2449768"/>
                <a:gd name="connsiteY401" fmla="*/ 753564 h 1050628"/>
                <a:gd name="connsiteX402" fmla="*/ 1702833 w 2449768"/>
                <a:gd name="connsiteY402" fmla="*/ 750906 h 1050628"/>
                <a:gd name="connsiteX403" fmla="*/ 1210667 w 2449768"/>
                <a:gd name="connsiteY403" fmla="*/ 741791 h 1050628"/>
                <a:gd name="connsiteX404" fmla="*/ 1223959 w 2449768"/>
                <a:gd name="connsiteY404" fmla="*/ 750525 h 1050628"/>
                <a:gd name="connsiteX405" fmla="*/ 1217883 w 2449768"/>
                <a:gd name="connsiteY405" fmla="*/ 774830 h 1050628"/>
                <a:gd name="connsiteX406" fmla="*/ 1193578 w 2449768"/>
                <a:gd name="connsiteY406" fmla="*/ 768754 h 1050628"/>
                <a:gd name="connsiteX407" fmla="*/ 1199654 w 2449768"/>
                <a:gd name="connsiteY407" fmla="*/ 744449 h 1050628"/>
                <a:gd name="connsiteX408" fmla="*/ 1210667 w 2449768"/>
                <a:gd name="connsiteY408" fmla="*/ 741791 h 1050628"/>
                <a:gd name="connsiteX409" fmla="*/ 1450674 w 2449768"/>
                <a:gd name="connsiteY409" fmla="*/ 723563 h 1050628"/>
                <a:gd name="connsiteX410" fmla="*/ 1463966 w 2449768"/>
                <a:gd name="connsiteY410" fmla="*/ 732297 h 1050628"/>
                <a:gd name="connsiteX411" fmla="*/ 1457890 w 2449768"/>
                <a:gd name="connsiteY411" fmla="*/ 756602 h 1050628"/>
                <a:gd name="connsiteX412" fmla="*/ 1433585 w 2449768"/>
                <a:gd name="connsiteY412" fmla="*/ 750526 h 1050628"/>
                <a:gd name="connsiteX413" fmla="*/ 1439661 w 2449768"/>
                <a:gd name="connsiteY413" fmla="*/ 726221 h 1050628"/>
                <a:gd name="connsiteX414" fmla="*/ 1450674 w 2449768"/>
                <a:gd name="connsiteY414" fmla="*/ 723563 h 1050628"/>
                <a:gd name="connsiteX415" fmla="*/ 2021829 w 2449768"/>
                <a:gd name="connsiteY415" fmla="*/ 720525 h 1050628"/>
                <a:gd name="connsiteX416" fmla="*/ 2035121 w 2449768"/>
                <a:gd name="connsiteY416" fmla="*/ 729259 h 1050628"/>
                <a:gd name="connsiteX417" fmla="*/ 2029045 w 2449768"/>
                <a:gd name="connsiteY417" fmla="*/ 753564 h 1050628"/>
                <a:gd name="connsiteX418" fmla="*/ 2004740 w 2449768"/>
                <a:gd name="connsiteY418" fmla="*/ 747488 h 1050628"/>
                <a:gd name="connsiteX419" fmla="*/ 2010816 w 2449768"/>
                <a:gd name="connsiteY419" fmla="*/ 723183 h 1050628"/>
                <a:gd name="connsiteX420" fmla="*/ 2021829 w 2449768"/>
                <a:gd name="connsiteY420" fmla="*/ 720525 h 1050628"/>
                <a:gd name="connsiteX421" fmla="*/ 387352 w 2449768"/>
                <a:gd name="connsiteY421" fmla="*/ 720525 h 1050628"/>
                <a:gd name="connsiteX422" fmla="*/ 400644 w 2449768"/>
                <a:gd name="connsiteY422" fmla="*/ 729259 h 1050628"/>
                <a:gd name="connsiteX423" fmla="*/ 394568 w 2449768"/>
                <a:gd name="connsiteY423" fmla="*/ 753564 h 1050628"/>
                <a:gd name="connsiteX424" fmla="*/ 370263 w 2449768"/>
                <a:gd name="connsiteY424" fmla="*/ 747488 h 1050628"/>
                <a:gd name="connsiteX425" fmla="*/ 376339 w 2449768"/>
                <a:gd name="connsiteY425" fmla="*/ 723183 h 1050628"/>
                <a:gd name="connsiteX426" fmla="*/ 387352 w 2449768"/>
                <a:gd name="connsiteY426" fmla="*/ 720525 h 1050628"/>
                <a:gd name="connsiteX427" fmla="*/ 1049650 w 2449768"/>
                <a:gd name="connsiteY427" fmla="*/ 702297 h 1050628"/>
                <a:gd name="connsiteX428" fmla="*/ 1062942 w 2449768"/>
                <a:gd name="connsiteY428" fmla="*/ 711031 h 1050628"/>
                <a:gd name="connsiteX429" fmla="*/ 1056866 w 2449768"/>
                <a:gd name="connsiteY429" fmla="*/ 735336 h 1050628"/>
                <a:gd name="connsiteX430" fmla="*/ 1032561 w 2449768"/>
                <a:gd name="connsiteY430" fmla="*/ 729260 h 1050628"/>
                <a:gd name="connsiteX431" fmla="*/ 1038637 w 2449768"/>
                <a:gd name="connsiteY431" fmla="*/ 704955 h 1050628"/>
                <a:gd name="connsiteX432" fmla="*/ 1049650 w 2449768"/>
                <a:gd name="connsiteY432" fmla="*/ 702297 h 1050628"/>
                <a:gd name="connsiteX433" fmla="*/ 931165 w 2449768"/>
                <a:gd name="connsiteY433" fmla="*/ 702297 h 1050628"/>
                <a:gd name="connsiteX434" fmla="*/ 944457 w 2449768"/>
                <a:gd name="connsiteY434" fmla="*/ 711031 h 1050628"/>
                <a:gd name="connsiteX435" fmla="*/ 938381 w 2449768"/>
                <a:gd name="connsiteY435" fmla="*/ 735336 h 1050628"/>
                <a:gd name="connsiteX436" fmla="*/ 914076 w 2449768"/>
                <a:gd name="connsiteY436" fmla="*/ 729260 h 1050628"/>
                <a:gd name="connsiteX437" fmla="*/ 920152 w 2449768"/>
                <a:gd name="connsiteY437" fmla="*/ 704955 h 1050628"/>
                <a:gd name="connsiteX438" fmla="*/ 931165 w 2449768"/>
                <a:gd name="connsiteY438" fmla="*/ 702297 h 1050628"/>
                <a:gd name="connsiteX439" fmla="*/ 1547892 w 2449768"/>
                <a:gd name="connsiteY439" fmla="*/ 699259 h 1050628"/>
                <a:gd name="connsiteX440" fmla="*/ 1561184 w 2449768"/>
                <a:gd name="connsiteY440" fmla="*/ 707993 h 1050628"/>
                <a:gd name="connsiteX441" fmla="*/ 1555108 w 2449768"/>
                <a:gd name="connsiteY441" fmla="*/ 732298 h 1050628"/>
                <a:gd name="connsiteX442" fmla="*/ 1530803 w 2449768"/>
                <a:gd name="connsiteY442" fmla="*/ 726222 h 1050628"/>
                <a:gd name="connsiteX443" fmla="*/ 1536879 w 2449768"/>
                <a:gd name="connsiteY443" fmla="*/ 701917 h 1050628"/>
                <a:gd name="connsiteX444" fmla="*/ 1547892 w 2449768"/>
                <a:gd name="connsiteY444" fmla="*/ 699259 h 1050628"/>
                <a:gd name="connsiteX445" fmla="*/ 1313961 w 2449768"/>
                <a:gd name="connsiteY445" fmla="*/ 699259 h 1050628"/>
                <a:gd name="connsiteX446" fmla="*/ 1327253 w 2449768"/>
                <a:gd name="connsiteY446" fmla="*/ 707993 h 1050628"/>
                <a:gd name="connsiteX447" fmla="*/ 1321177 w 2449768"/>
                <a:gd name="connsiteY447" fmla="*/ 732298 h 1050628"/>
                <a:gd name="connsiteX448" fmla="*/ 1296872 w 2449768"/>
                <a:gd name="connsiteY448" fmla="*/ 726222 h 1050628"/>
                <a:gd name="connsiteX449" fmla="*/ 1302948 w 2449768"/>
                <a:gd name="connsiteY449" fmla="*/ 701917 h 1050628"/>
                <a:gd name="connsiteX450" fmla="*/ 1313961 w 2449768"/>
                <a:gd name="connsiteY450" fmla="*/ 699259 h 1050628"/>
                <a:gd name="connsiteX451" fmla="*/ 2413739 w 2449768"/>
                <a:gd name="connsiteY451" fmla="*/ 696220 h 1050628"/>
                <a:gd name="connsiteX452" fmla="*/ 2427031 w 2449768"/>
                <a:gd name="connsiteY452" fmla="*/ 704954 h 1050628"/>
                <a:gd name="connsiteX453" fmla="*/ 2420955 w 2449768"/>
                <a:gd name="connsiteY453" fmla="*/ 729259 h 1050628"/>
                <a:gd name="connsiteX454" fmla="*/ 2396650 w 2449768"/>
                <a:gd name="connsiteY454" fmla="*/ 723183 h 1050628"/>
                <a:gd name="connsiteX455" fmla="*/ 2402726 w 2449768"/>
                <a:gd name="connsiteY455" fmla="*/ 698878 h 1050628"/>
                <a:gd name="connsiteX456" fmla="*/ 2413739 w 2449768"/>
                <a:gd name="connsiteY456" fmla="*/ 696220 h 1050628"/>
                <a:gd name="connsiteX457" fmla="*/ 551408 w 2449768"/>
                <a:gd name="connsiteY457" fmla="*/ 690144 h 1050628"/>
                <a:gd name="connsiteX458" fmla="*/ 564699 w 2449768"/>
                <a:gd name="connsiteY458" fmla="*/ 698878 h 1050628"/>
                <a:gd name="connsiteX459" fmla="*/ 558623 w 2449768"/>
                <a:gd name="connsiteY459" fmla="*/ 723183 h 1050628"/>
                <a:gd name="connsiteX460" fmla="*/ 534319 w 2449768"/>
                <a:gd name="connsiteY460" fmla="*/ 717107 h 1050628"/>
                <a:gd name="connsiteX461" fmla="*/ 540395 w 2449768"/>
                <a:gd name="connsiteY461" fmla="*/ 692802 h 1050628"/>
                <a:gd name="connsiteX462" fmla="*/ 551408 w 2449768"/>
                <a:gd name="connsiteY462" fmla="*/ 690144 h 1050628"/>
                <a:gd name="connsiteX463" fmla="*/ 830909 w 2449768"/>
                <a:gd name="connsiteY463" fmla="*/ 684068 h 1050628"/>
                <a:gd name="connsiteX464" fmla="*/ 844201 w 2449768"/>
                <a:gd name="connsiteY464" fmla="*/ 692802 h 1050628"/>
                <a:gd name="connsiteX465" fmla="*/ 838125 w 2449768"/>
                <a:gd name="connsiteY465" fmla="*/ 717107 h 1050628"/>
                <a:gd name="connsiteX466" fmla="*/ 813820 w 2449768"/>
                <a:gd name="connsiteY466" fmla="*/ 711031 h 1050628"/>
                <a:gd name="connsiteX467" fmla="*/ 819896 w 2449768"/>
                <a:gd name="connsiteY467" fmla="*/ 686726 h 1050628"/>
                <a:gd name="connsiteX468" fmla="*/ 830909 w 2449768"/>
                <a:gd name="connsiteY468" fmla="*/ 684068 h 1050628"/>
                <a:gd name="connsiteX469" fmla="*/ 730653 w 2449768"/>
                <a:gd name="connsiteY469" fmla="*/ 677992 h 1050628"/>
                <a:gd name="connsiteX470" fmla="*/ 743945 w 2449768"/>
                <a:gd name="connsiteY470" fmla="*/ 686726 h 1050628"/>
                <a:gd name="connsiteX471" fmla="*/ 737869 w 2449768"/>
                <a:gd name="connsiteY471" fmla="*/ 711031 h 1050628"/>
                <a:gd name="connsiteX472" fmla="*/ 713564 w 2449768"/>
                <a:gd name="connsiteY472" fmla="*/ 704955 h 1050628"/>
                <a:gd name="connsiteX473" fmla="*/ 719640 w 2449768"/>
                <a:gd name="connsiteY473" fmla="*/ 680650 h 1050628"/>
                <a:gd name="connsiteX474" fmla="*/ 730653 w 2449768"/>
                <a:gd name="connsiteY474" fmla="*/ 677992 h 1050628"/>
                <a:gd name="connsiteX475" fmla="*/ 2228418 w 2449768"/>
                <a:gd name="connsiteY475" fmla="*/ 671916 h 1050628"/>
                <a:gd name="connsiteX476" fmla="*/ 2241710 w 2449768"/>
                <a:gd name="connsiteY476" fmla="*/ 680650 h 1050628"/>
                <a:gd name="connsiteX477" fmla="*/ 2235634 w 2449768"/>
                <a:gd name="connsiteY477" fmla="*/ 704955 h 1050628"/>
                <a:gd name="connsiteX478" fmla="*/ 2211329 w 2449768"/>
                <a:gd name="connsiteY478" fmla="*/ 698879 h 1050628"/>
                <a:gd name="connsiteX479" fmla="*/ 2217405 w 2449768"/>
                <a:gd name="connsiteY479" fmla="*/ 674574 h 1050628"/>
                <a:gd name="connsiteX480" fmla="*/ 2228418 w 2449768"/>
                <a:gd name="connsiteY480" fmla="*/ 671916 h 1050628"/>
                <a:gd name="connsiteX481" fmla="*/ 1839546 w 2449768"/>
                <a:gd name="connsiteY481" fmla="*/ 671916 h 1050628"/>
                <a:gd name="connsiteX482" fmla="*/ 1852838 w 2449768"/>
                <a:gd name="connsiteY482" fmla="*/ 680650 h 1050628"/>
                <a:gd name="connsiteX483" fmla="*/ 1846762 w 2449768"/>
                <a:gd name="connsiteY483" fmla="*/ 704955 h 1050628"/>
                <a:gd name="connsiteX484" fmla="*/ 1822457 w 2449768"/>
                <a:gd name="connsiteY484" fmla="*/ 698879 h 1050628"/>
                <a:gd name="connsiteX485" fmla="*/ 1828533 w 2449768"/>
                <a:gd name="connsiteY485" fmla="*/ 674574 h 1050628"/>
                <a:gd name="connsiteX486" fmla="*/ 1839546 w 2449768"/>
                <a:gd name="connsiteY486" fmla="*/ 671916 h 1050628"/>
                <a:gd name="connsiteX487" fmla="*/ 2109933 w 2449768"/>
                <a:gd name="connsiteY487" fmla="*/ 656726 h 1050628"/>
                <a:gd name="connsiteX488" fmla="*/ 2123225 w 2449768"/>
                <a:gd name="connsiteY488" fmla="*/ 665460 h 1050628"/>
                <a:gd name="connsiteX489" fmla="*/ 2117149 w 2449768"/>
                <a:gd name="connsiteY489" fmla="*/ 689765 h 1050628"/>
                <a:gd name="connsiteX490" fmla="*/ 2092844 w 2449768"/>
                <a:gd name="connsiteY490" fmla="*/ 683689 h 1050628"/>
                <a:gd name="connsiteX491" fmla="*/ 2098920 w 2449768"/>
                <a:gd name="connsiteY491" fmla="*/ 659384 h 1050628"/>
                <a:gd name="connsiteX492" fmla="*/ 2109933 w 2449768"/>
                <a:gd name="connsiteY492" fmla="*/ 656726 h 1050628"/>
                <a:gd name="connsiteX493" fmla="*/ 1632957 w 2449768"/>
                <a:gd name="connsiteY493" fmla="*/ 656726 h 1050628"/>
                <a:gd name="connsiteX494" fmla="*/ 1646249 w 2449768"/>
                <a:gd name="connsiteY494" fmla="*/ 665460 h 1050628"/>
                <a:gd name="connsiteX495" fmla="*/ 1640173 w 2449768"/>
                <a:gd name="connsiteY495" fmla="*/ 689765 h 1050628"/>
                <a:gd name="connsiteX496" fmla="*/ 1615868 w 2449768"/>
                <a:gd name="connsiteY496" fmla="*/ 683689 h 1050628"/>
                <a:gd name="connsiteX497" fmla="*/ 1621944 w 2449768"/>
                <a:gd name="connsiteY497" fmla="*/ 659384 h 1050628"/>
                <a:gd name="connsiteX498" fmla="*/ 1632957 w 2449768"/>
                <a:gd name="connsiteY498" fmla="*/ 656726 h 1050628"/>
                <a:gd name="connsiteX499" fmla="*/ 1165096 w 2449768"/>
                <a:gd name="connsiteY499" fmla="*/ 656726 h 1050628"/>
                <a:gd name="connsiteX500" fmla="*/ 1178387 w 2449768"/>
                <a:gd name="connsiteY500" fmla="*/ 665460 h 1050628"/>
                <a:gd name="connsiteX501" fmla="*/ 1172311 w 2449768"/>
                <a:gd name="connsiteY501" fmla="*/ 689765 h 1050628"/>
                <a:gd name="connsiteX502" fmla="*/ 1148007 w 2449768"/>
                <a:gd name="connsiteY502" fmla="*/ 683689 h 1050628"/>
                <a:gd name="connsiteX503" fmla="*/ 1154083 w 2449768"/>
                <a:gd name="connsiteY503" fmla="*/ 659384 h 1050628"/>
                <a:gd name="connsiteX504" fmla="*/ 1165096 w 2449768"/>
                <a:gd name="connsiteY504" fmla="*/ 656726 h 1050628"/>
                <a:gd name="connsiteX505" fmla="*/ 1948916 w 2449768"/>
                <a:gd name="connsiteY505" fmla="*/ 653688 h 1050628"/>
                <a:gd name="connsiteX506" fmla="*/ 1962208 w 2449768"/>
                <a:gd name="connsiteY506" fmla="*/ 662422 h 1050628"/>
                <a:gd name="connsiteX507" fmla="*/ 1956132 w 2449768"/>
                <a:gd name="connsiteY507" fmla="*/ 686727 h 1050628"/>
                <a:gd name="connsiteX508" fmla="*/ 1931827 w 2449768"/>
                <a:gd name="connsiteY508" fmla="*/ 680651 h 1050628"/>
                <a:gd name="connsiteX509" fmla="*/ 1937903 w 2449768"/>
                <a:gd name="connsiteY509" fmla="*/ 656346 h 1050628"/>
                <a:gd name="connsiteX510" fmla="*/ 1948916 w 2449768"/>
                <a:gd name="connsiteY510" fmla="*/ 653688 h 1050628"/>
                <a:gd name="connsiteX511" fmla="*/ 2328673 w 2449768"/>
                <a:gd name="connsiteY511" fmla="*/ 647611 h 1050628"/>
                <a:gd name="connsiteX512" fmla="*/ 2341965 w 2449768"/>
                <a:gd name="connsiteY512" fmla="*/ 656345 h 1050628"/>
                <a:gd name="connsiteX513" fmla="*/ 2335889 w 2449768"/>
                <a:gd name="connsiteY513" fmla="*/ 680650 h 1050628"/>
                <a:gd name="connsiteX514" fmla="*/ 2311584 w 2449768"/>
                <a:gd name="connsiteY514" fmla="*/ 674574 h 1050628"/>
                <a:gd name="connsiteX515" fmla="*/ 2317660 w 2449768"/>
                <a:gd name="connsiteY515" fmla="*/ 650269 h 1050628"/>
                <a:gd name="connsiteX516" fmla="*/ 2328673 w 2449768"/>
                <a:gd name="connsiteY516" fmla="*/ 647611 h 1050628"/>
                <a:gd name="connsiteX517" fmla="*/ 639512 w 2449768"/>
                <a:gd name="connsiteY517" fmla="*/ 641535 h 1050628"/>
                <a:gd name="connsiteX518" fmla="*/ 652804 w 2449768"/>
                <a:gd name="connsiteY518" fmla="*/ 650269 h 1050628"/>
                <a:gd name="connsiteX519" fmla="*/ 646728 w 2449768"/>
                <a:gd name="connsiteY519" fmla="*/ 674574 h 1050628"/>
                <a:gd name="connsiteX520" fmla="*/ 622423 w 2449768"/>
                <a:gd name="connsiteY520" fmla="*/ 668498 h 1050628"/>
                <a:gd name="connsiteX521" fmla="*/ 628499 w 2449768"/>
                <a:gd name="connsiteY521" fmla="*/ 644193 h 1050628"/>
                <a:gd name="connsiteX522" fmla="*/ 639512 w 2449768"/>
                <a:gd name="connsiteY522" fmla="*/ 641535 h 1050628"/>
                <a:gd name="connsiteX523" fmla="*/ 451152 w 2449768"/>
                <a:gd name="connsiteY523" fmla="*/ 641535 h 1050628"/>
                <a:gd name="connsiteX524" fmla="*/ 464444 w 2449768"/>
                <a:gd name="connsiteY524" fmla="*/ 650269 h 1050628"/>
                <a:gd name="connsiteX525" fmla="*/ 458368 w 2449768"/>
                <a:gd name="connsiteY525" fmla="*/ 674574 h 1050628"/>
                <a:gd name="connsiteX526" fmla="*/ 434063 w 2449768"/>
                <a:gd name="connsiteY526" fmla="*/ 668498 h 1050628"/>
                <a:gd name="connsiteX527" fmla="*/ 440139 w 2449768"/>
                <a:gd name="connsiteY527" fmla="*/ 644193 h 1050628"/>
                <a:gd name="connsiteX528" fmla="*/ 451152 w 2449768"/>
                <a:gd name="connsiteY528" fmla="*/ 641535 h 1050628"/>
                <a:gd name="connsiteX529" fmla="*/ 1739291 w 2449768"/>
                <a:gd name="connsiteY529" fmla="*/ 638497 h 1050628"/>
                <a:gd name="connsiteX530" fmla="*/ 1752582 w 2449768"/>
                <a:gd name="connsiteY530" fmla="*/ 647231 h 1050628"/>
                <a:gd name="connsiteX531" fmla="*/ 1746506 w 2449768"/>
                <a:gd name="connsiteY531" fmla="*/ 671536 h 1050628"/>
                <a:gd name="connsiteX532" fmla="*/ 1722201 w 2449768"/>
                <a:gd name="connsiteY532" fmla="*/ 665460 h 1050628"/>
                <a:gd name="connsiteX533" fmla="*/ 1728277 w 2449768"/>
                <a:gd name="connsiteY533" fmla="*/ 641155 h 1050628"/>
                <a:gd name="connsiteX534" fmla="*/ 1739291 w 2449768"/>
                <a:gd name="connsiteY534" fmla="*/ 638497 h 1050628"/>
                <a:gd name="connsiteX535" fmla="*/ 1429407 w 2449768"/>
                <a:gd name="connsiteY535" fmla="*/ 623307 h 1050628"/>
                <a:gd name="connsiteX536" fmla="*/ 1442699 w 2449768"/>
                <a:gd name="connsiteY536" fmla="*/ 632041 h 1050628"/>
                <a:gd name="connsiteX537" fmla="*/ 1436623 w 2449768"/>
                <a:gd name="connsiteY537" fmla="*/ 656346 h 1050628"/>
                <a:gd name="connsiteX538" fmla="*/ 1412318 w 2449768"/>
                <a:gd name="connsiteY538" fmla="*/ 650270 h 1050628"/>
                <a:gd name="connsiteX539" fmla="*/ 1418394 w 2449768"/>
                <a:gd name="connsiteY539" fmla="*/ 625965 h 1050628"/>
                <a:gd name="connsiteX540" fmla="*/ 1429407 w 2449768"/>
                <a:gd name="connsiteY540" fmla="*/ 623307 h 1050628"/>
                <a:gd name="connsiteX541" fmla="*/ 991927 w 2449768"/>
                <a:gd name="connsiteY541" fmla="*/ 614193 h 1050628"/>
                <a:gd name="connsiteX542" fmla="*/ 1005219 w 2449768"/>
                <a:gd name="connsiteY542" fmla="*/ 622927 h 1050628"/>
                <a:gd name="connsiteX543" fmla="*/ 999143 w 2449768"/>
                <a:gd name="connsiteY543" fmla="*/ 647232 h 1050628"/>
                <a:gd name="connsiteX544" fmla="*/ 974838 w 2449768"/>
                <a:gd name="connsiteY544" fmla="*/ 641156 h 1050628"/>
                <a:gd name="connsiteX545" fmla="*/ 980914 w 2449768"/>
                <a:gd name="connsiteY545" fmla="*/ 616851 h 1050628"/>
                <a:gd name="connsiteX546" fmla="*/ 991927 w 2449768"/>
                <a:gd name="connsiteY546" fmla="*/ 614193 h 1050628"/>
                <a:gd name="connsiteX547" fmla="*/ 1244086 w 2449768"/>
                <a:gd name="connsiteY547" fmla="*/ 589888 h 1050628"/>
                <a:gd name="connsiteX548" fmla="*/ 1257378 w 2449768"/>
                <a:gd name="connsiteY548" fmla="*/ 598622 h 1050628"/>
                <a:gd name="connsiteX549" fmla="*/ 1251302 w 2449768"/>
                <a:gd name="connsiteY549" fmla="*/ 622927 h 1050628"/>
                <a:gd name="connsiteX550" fmla="*/ 1226997 w 2449768"/>
                <a:gd name="connsiteY550" fmla="*/ 616851 h 1050628"/>
                <a:gd name="connsiteX551" fmla="*/ 1233073 w 2449768"/>
                <a:gd name="connsiteY551" fmla="*/ 592546 h 1050628"/>
                <a:gd name="connsiteX552" fmla="*/ 1244086 w 2449768"/>
                <a:gd name="connsiteY552" fmla="*/ 589888 h 1050628"/>
                <a:gd name="connsiteX553" fmla="*/ 1332189 w 2449768"/>
                <a:gd name="connsiteY553" fmla="*/ 586850 h 1050628"/>
                <a:gd name="connsiteX554" fmla="*/ 1345481 w 2449768"/>
                <a:gd name="connsiteY554" fmla="*/ 595584 h 1050628"/>
                <a:gd name="connsiteX555" fmla="*/ 1339405 w 2449768"/>
                <a:gd name="connsiteY555" fmla="*/ 619889 h 1050628"/>
                <a:gd name="connsiteX556" fmla="*/ 1315100 w 2449768"/>
                <a:gd name="connsiteY556" fmla="*/ 613813 h 1050628"/>
                <a:gd name="connsiteX557" fmla="*/ 1321176 w 2449768"/>
                <a:gd name="connsiteY557" fmla="*/ 589508 h 1050628"/>
                <a:gd name="connsiteX558" fmla="*/ 1332189 w 2449768"/>
                <a:gd name="connsiteY558" fmla="*/ 586850 h 1050628"/>
                <a:gd name="connsiteX559" fmla="*/ 867366 w 2449768"/>
                <a:gd name="connsiteY559" fmla="*/ 583812 h 1050628"/>
                <a:gd name="connsiteX560" fmla="*/ 880658 w 2449768"/>
                <a:gd name="connsiteY560" fmla="*/ 592546 h 1050628"/>
                <a:gd name="connsiteX561" fmla="*/ 874582 w 2449768"/>
                <a:gd name="connsiteY561" fmla="*/ 616851 h 1050628"/>
                <a:gd name="connsiteX562" fmla="*/ 850277 w 2449768"/>
                <a:gd name="connsiteY562" fmla="*/ 610775 h 1050628"/>
                <a:gd name="connsiteX563" fmla="*/ 856353 w 2449768"/>
                <a:gd name="connsiteY563" fmla="*/ 586470 h 1050628"/>
                <a:gd name="connsiteX564" fmla="*/ 867366 w 2449768"/>
                <a:gd name="connsiteY564" fmla="*/ 583812 h 1050628"/>
                <a:gd name="connsiteX565" fmla="*/ 2222342 w 2449768"/>
                <a:gd name="connsiteY565" fmla="*/ 576217 h 1050628"/>
                <a:gd name="connsiteX566" fmla="*/ 2235633 w 2449768"/>
                <a:gd name="connsiteY566" fmla="*/ 586470 h 1050628"/>
                <a:gd name="connsiteX567" fmla="*/ 2229557 w 2449768"/>
                <a:gd name="connsiteY567" fmla="*/ 610775 h 1050628"/>
                <a:gd name="connsiteX568" fmla="*/ 2205253 w 2449768"/>
                <a:gd name="connsiteY568" fmla="*/ 604698 h 1050628"/>
                <a:gd name="connsiteX569" fmla="*/ 2211329 w 2449768"/>
                <a:gd name="connsiteY569" fmla="*/ 577356 h 1050628"/>
                <a:gd name="connsiteX570" fmla="*/ 2222342 w 2449768"/>
                <a:gd name="connsiteY570" fmla="*/ 576217 h 1050628"/>
                <a:gd name="connsiteX571" fmla="*/ 1092183 w 2449768"/>
                <a:gd name="connsiteY571" fmla="*/ 571660 h 1050628"/>
                <a:gd name="connsiteX572" fmla="*/ 1105475 w 2449768"/>
                <a:gd name="connsiteY572" fmla="*/ 580394 h 1050628"/>
                <a:gd name="connsiteX573" fmla="*/ 1099399 w 2449768"/>
                <a:gd name="connsiteY573" fmla="*/ 604699 h 1050628"/>
                <a:gd name="connsiteX574" fmla="*/ 1075094 w 2449768"/>
                <a:gd name="connsiteY574" fmla="*/ 598623 h 1050628"/>
                <a:gd name="connsiteX575" fmla="*/ 1081170 w 2449768"/>
                <a:gd name="connsiteY575" fmla="*/ 574318 h 1050628"/>
                <a:gd name="connsiteX576" fmla="*/ 1092183 w 2449768"/>
                <a:gd name="connsiteY576" fmla="*/ 571660 h 1050628"/>
                <a:gd name="connsiteX577" fmla="*/ 2000563 w 2449768"/>
                <a:gd name="connsiteY577" fmla="*/ 568622 h 1050628"/>
                <a:gd name="connsiteX578" fmla="*/ 2013855 w 2449768"/>
                <a:gd name="connsiteY578" fmla="*/ 577356 h 1050628"/>
                <a:gd name="connsiteX579" fmla="*/ 2007779 w 2449768"/>
                <a:gd name="connsiteY579" fmla="*/ 601661 h 1050628"/>
                <a:gd name="connsiteX580" fmla="*/ 1983474 w 2449768"/>
                <a:gd name="connsiteY580" fmla="*/ 595585 h 1050628"/>
                <a:gd name="connsiteX581" fmla="*/ 1989550 w 2449768"/>
                <a:gd name="connsiteY581" fmla="*/ 571280 h 1050628"/>
                <a:gd name="connsiteX582" fmla="*/ 2000563 w 2449768"/>
                <a:gd name="connsiteY582" fmla="*/ 568622 h 1050628"/>
                <a:gd name="connsiteX583" fmla="*/ 745844 w 2449768"/>
                <a:gd name="connsiteY583" fmla="*/ 568622 h 1050628"/>
                <a:gd name="connsiteX584" fmla="*/ 759136 w 2449768"/>
                <a:gd name="connsiteY584" fmla="*/ 577356 h 1050628"/>
                <a:gd name="connsiteX585" fmla="*/ 753060 w 2449768"/>
                <a:gd name="connsiteY585" fmla="*/ 601661 h 1050628"/>
                <a:gd name="connsiteX586" fmla="*/ 728755 w 2449768"/>
                <a:gd name="connsiteY586" fmla="*/ 595585 h 1050628"/>
                <a:gd name="connsiteX587" fmla="*/ 734831 w 2449768"/>
                <a:gd name="connsiteY587" fmla="*/ 571280 h 1050628"/>
                <a:gd name="connsiteX588" fmla="*/ 745844 w 2449768"/>
                <a:gd name="connsiteY588" fmla="*/ 568622 h 1050628"/>
                <a:gd name="connsiteX589" fmla="*/ 533179 w 2449768"/>
                <a:gd name="connsiteY589" fmla="*/ 568622 h 1050628"/>
                <a:gd name="connsiteX590" fmla="*/ 546471 w 2449768"/>
                <a:gd name="connsiteY590" fmla="*/ 577356 h 1050628"/>
                <a:gd name="connsiteX591" fmla="*/ 540395 w 2449768"/>
                <a:gd name="connsiteY591" fmla="*/ 601661 h 1050628"/>
                <a:gd name="connsiteX592" fmla="*/ 516090 w 2449768"/>
                <a:gd name="connsiteY592" fmla="*/ 595585 h 1050628"/>
                <a:gd name="connsiteX593" fmla="*/ 522166 w 2449768"/>
                <a:gd name="connsiteY593" fmla="*/ 571280 h 1050628"/>
                <a:gd name="connsiteX594" fmla="*/ 533179 w 2449768"/>
                <a:gd name="connsiteY594" fmla="*/ 568622 h 1050628"/>
                <a:gd name="connsiteX595" fmla="*/ 1866889 w 2449768"/>
                <a:gd name="connsiteY595" fmla="*/ 565584 h 1050628"/>
                <a:gd name="connsiteX596" fmla="*/ 1880180 w 2449768"/>
                <a:gd name="connsiteY596" fmla="*/ 574318 h 1050628"/>
                <a:gd name="connsiteX597" fmla="*/ 1874104 w 2449768"/>
                <a:gd name="connsiteY597" fmla="*/ 598623 h 1050628"/>
                <a:gd name="connsiteX598" fmla="*/ 1849800 w 2449768"/>
                <a:gd name="connsiteY598" fmla="*/ 592547 h 1050628"/>
                <a:gd name="connsiteX599" fmla="*/ 1855876 w 2449768"/>
                <a:gd name="connsiteY599" fmla="*/ 568242 h 1050628"/>
                <a:gd name="connsiteX600" fmla="*/ 1866889 w 2449768"/>
                <a:gd name="connsiteY600" fmla="*/ 565584 h 1050628"/>
                <a:gd name="connsiteX601" fmla="*/ 1508397 w 2449768"/>
                <a:gd name="connsiteY601" fmla="*/ 565584 h 1050628"/>
                <a:gd name="connsiteX602" fmla="*/ 1521689 w 2449768"/>
                <a:gd name="connsiteY602" fmla="*/ 574318 h 1050628"/>
                <a:gd name="connsiteX603" fmla="*/ 1515613 w 2449768"/>
                <a:gd name="connsiteY603" fmla="*/ 598623 h 1050628"/>
                <a:gd name="connsiteX604" fmla="*/ 1491308 w 2449768"/>
                <a:gd name="connsiteY604" fmla="*/ 592547 h 1050628"/>
                <a:gd name="connsiteX605" fmla="*/ 1497384 w 2449768"/>
                <a:gd name="connsiteY605" fmla="*/ 568242 h 1050628"/>
                <a:gd name="connsiteX606" fmla="*/ 1508397 w 2449768"/>
                <a:gd name="connsiteY606" fmla="*/ 565584 h 1050628"/>
                <a:gd name="connsiteX607" fmla="*/ 2365130 w 2449768"/>
                <a:gd name="connsiteY607" fmla="*/ 556470 h 1050628"/>
                <a:gd name="connsiteX608" fmla="*/ 2378422 w 2449768"/>
                <a:gd name="connsiteY608" fmla="*/ 565204 h 1050628"/>
                <a:gd name="connsiteX609" fmla="*/ 2372346 w 2449768"/>
                <a:gd name="connsiteY609" fmla="*/ 589509 h 1050628"/>
                <a:gd name="connsiteX610" fmla="*/ 2348041 w 2449768"/>
                <a:gd name="connsiteY610" fmla="*/ 583433 h 1050628"/>
                <a:gd name="connsiteX611" fmla="*/ 2354117 w 2449768"/>
                <a:gd name="connsiteY611" fmla="*/ 559128 h 1050628"/>
                <a:gd name="connsiteX612" fmla="*/ 2365130 w 2449768"/>
                <a:gd name="connsiteY612" fmla="*/ 556470 h 1050628"/>
                <a:gd name="connsiteX613" fmla="*/ 1620805 w 2449768"/>
                <a:gd name="connsiteY613" fmla="*/ 550394 h 1050628"/>
                <a:gd name="connsiteX614" fmla="*/ 1634097 w 2449768"/>
                <a:gd name="connsiteY614" fmla="*/ 559128 h 1050628"/>
                <a:gd name="connsiteX615" fmla="*/ 1628021 w 2449768"/>
                <a:gd name="connsiteY615" fmla="*/ 583433 h 1050628"/>
                <a:gd name="connsiteX616" fmla="*/ 1603716 w 2449768"/>
                <a:gd name="connsiteY616" fmla="*/ 577357 h 1050628"/>
                <a:gd name="connsiteX617" fmla="*/ 1609792 w 2449768"/>
                <a:gd name="connsiteY617" fmla="*/ 553052 h 1050628"/>
                <a:gd name="connsiteX618" fmla="*/ 1620805 w 2449768"/>
                <a:gd name="connsiteY618" fmla="*/ 550394 h 1050628"/>
                <a:gd name="connsiteX619" fmla="*/ 2097781 w 2449768"/>
                <a:gd name="connsiteY619" fmla="*/ 544317 h 1050628"/>
                <a:gd name="connsiteX620" fmla="*/ 2111073 w 2449768"/>
                <a:gd name="connsiteY620" fmla="*/ 553051 h 1050628"/>
                <a:gd name="connsiteX621" fmla="*/ 2104997 w 2449768"/>
                <a:gd name="connsiteY621" fmla="*/ 577356 h 1050628"/>
                <a:gd name="connsiteX622" fmla="*/ 2080692 w 2449768"/>
                <a:gd name="connsiteY622" fmla="*/ 571280 h 1050628"/>
                <a:gd name="connsiteX623" fmla="*/ 2086768 w 2449768"/>
                <a:gd name="connsiteY623" fmla="*/ 546975 h 1050628"/>
                <a:gd name="connsiteX624" fmla="*/ 2097781 w 2449768"/>
                <a:gd name="connsiteY624" fmla="*/ 544317 h 1050628"/>
                <a:gd name="connsiteX625" fmla="*/ 1745366 w 2449768"/>
                <a:gd name="connsiteY625" fmla="*/ 538241 h 1050628"/>
                <a:gd name="connsiteX626" fmla="*/ 1758658 w 2449768"/>
                <a:gd name="connsiteY626" fmla="*/ 546975 h 1050628"/>
                <a:gd name="connsiteX627" fmla="*/ 1752582 w 2449768"/>
                <a:gd name="connsiteY627" fmla="*/ 571280 h 1050628"/>
                <a:gd name="connsiteX628" fmla="*/ 1728277 w 2449768"/>
                <a:gd name="connsiteY628" fmla="*/ 565204 h 1050628"/>
                <a:gd name="connsiteX629" fmla="*/ 1734353 w 2449768"/>
                <a:gd name="connsiteY629" fmla="*/ 540899 h 1050628"/>
                <a:gd name="connsiteX630" fmla="*/ 1745366 w 2449768"/>
                <a:gd name="connsiteY630" fmla="*/ 538241 h 1050628"/>
                <a:gd name="connsiteX631" fmla="*/ 624322 w 2449768"/>
                <a:gd name="connsiteY631" fmla="*/ 529127 h 1050628"/>
                <a:gd name="connsiteX632" fmla="*/ 637613 w 2449768"/>
                <a:gd name="connsiteY632" fmla="*/ 537861 h 1050628"/>
                <a:gd name="connsiteX633" fmla="*/ 631537 w 2449768"/>
                <a:gd name="connsiteY633" fmla="*/ 562166 h 1050628"/>
                <a:gd name="connsiteX634" fmla="*/ 607233 w 2449768"/>
                <a:gd name="connsiteY634" fmla="*/ 556090 h 1050628"/>
                <a:gd name="connsiteX635" fmla="*/ 613309 w 2449768"/>
                <a:gd name="connsiteY635" fmla="*/ 531785 h 1050628"/>
                <a:gd name="connsiteX636" fmla="*/ 624322 w 2449768"/>
                <a:gd name="connsiteY636" fmla="*/ 529127 h 1050628"/>
                <a:gd name="connsiteX637" fmla="*/ 958508 w 2449768"/>
                <a:gd name="connsiteY637" fmla="*/ 523051 h 1050628"/>
                <a:gd name="connsiteX638" fmla="*/ 971800 w 2449768"/>
                <a:gd name="connsiteY638" fmla="*/ 531785 h 1050628"/>
                <a:gd name="connsiteX639" fmla="*/ 965724 w 2449768"/>
                <a:gd name="connsiteY639" fmla="*/ 556090 h 1050628"/>
                <a:gd name="connsiteX640" fmla="*/ 941419 w 2449768"/>
                <a:gd name="connsiteY640" fmla="*/ 550014 h 1050628"/>
                <a:gd name="connsiteX641" fmla="*/ 947495 w 2449768"/>
                <a:gd name="connsiteY641" fmla="*/ 525709 h 1050628"/>
                <a:gd name="connsiteX642" fmla="*/ 958508 w 2449768"/>
                <a:gd name="connsiteY642" fmla="*/ 523051 h 1050628"/>
                <a:gd name="connsiteX643" fmla="*/ 1177248 w 2449768"/>
                <a:gd name="connsiteY643" fmla="*/ 507861 h 1050628"/>
                <a:gd name="connsiteX644" fmla="*/ 1190540 w 2449768"/>
                <a:gd name="connsiteY644" fmla="*/ 516595 h 1050628"/>
                <a:gd name="connsiteX645" fmla="*/ 1184464 w 2449768"/>
                <a:gd name="connsiteY645" fmla="*/ 540900 h 1050628"/>
                <a:gd name="connsiteX646" fmla="*/ 1160159 w 2449768"/>
                <a:gd name="connsiteY646" fmla="*/ 534824 h 1050628"/>
                <a:gd name="connsiteX647" fmla="*/ 1166235 w 2449768"/>
                <a:gd name="connsiteY647" fmla="*/ 510519 h 1050628"/>
                <a:gd name="connsiteX648" fmla="*/ 1177248 w 2449768"/>
                <a:gd name="connsiteY648" fmla="*/ 507861 h 1050628"/>
                <a:gd name="connsiteX649" fmla="*/ 1399027 w 2449768"/>
                <a:gd name="connsiteY649" fmla="*/ 504823 h 1050628"/>
                <a:gd name="connsiteX650" fmla="*/ 1412319 w 2449768"/>
                <a:gd name="connsiteY650" fmla="*/ 513557 h 1050628"/>
                <a:gd name="connsiteX651" fmla="*/ 1406243 w 2449768"/>
                <a:gd name="connsiteY651" fmla="*/ 537862 h 1050628"/>
                <a:gd name="connsiteX652" fmla="*/ 1381938 w 2449768"/>
                <a:gd name="connsiteY652" fmla="*/ 531786 h 1050628"/>
                <a:gd name="connsiteX653" fmla="*/ 1388014 w 2449768"/>
                <a:gd name="connsiteY653" fmla="*/ 507481 h 1050628"/>
                <a:gd name="connsiteX654" fmla="*/ 1399027 w 2449768"/>
                <a:gd name="connsiteY654" fmla="*/ 504823 h 1050628"/>
                <a:gd name="connsiteX655" fmla="*/ 2194999 w 2449768"/>
                <a:gd name="connsiteY655" fmla="*/ 492670 h 1050628"/>
                <a:gd name="connsiteX656" fmla="*/ 2208291 w 2449768"/>
                <a:gd name="connsiteY656" fmla="*/ 501404 h 1050628"/>
                <a:gd name="connsiteX657" fmla="*/ 2202214 w 2449768"/>
                <a:gd name="connsiteY657" fmla="*/ 525709 h 1050628"/>
                <a:gd name="connsiteX658" fmla="*/ 2177910 w 2449768"/>
                <a:gd name="connsiteY658" fmla="*/ 519633 h 1050628"/>
                <a:gd name="connsiteX659" fmla="*/ 2183986 w 2449768"/>
                <a:gd name="connsiteY659" fmla="*/ 495328 h 1050628"/>
                <a:gd name="connsiteX660" fmla="*/ 2194999 w 2449768"/>
                <a:gd name="connsiteY660" fmla="*/ 492670 h 1050628"/>
                <a:gd name="connsiteX661" fmla="*/ 1912459 w 2449768"/>
                <a:gd name="connsiteY661" fmla="*/ 480518 h 1050628"/>
                <a:gd name="connsiteX662" fmla="*/ 1925751 w 2449768"/>
                <a:gd name="connsiteY662" fmla="*/ 489252 h 1050628"/>
                <a:gd name="connsiteX663" fmla="*/ 1919675 w 2449768"/>
                <a:gd name="connsiteY663" fmla="*/ 513557 h 1050628"/>
                <a:gd name="connsiteX664" fmla="*/ 1895370 w 2449768"/>
                <a:gd name="connsiteY664" fmla="*/ 507481 h 1050628"/>
                <a:gd name="connsiteX665" fmla="*/ 1901446 w 2449768"/>
                <a:gd name="connsiteY665" fmla="*/ 483176 h 1050628"/>
                <a:gd name="connsiteX666" fmla="*/ 1912459 w 2449768"/>
                <a:gd name="connsiteY666" fmla="*/ 480518 h 1050628"/>
                <a:gd name="connsiteX667" fmla="*/ 803567 w 2449768"/>
                <a:gd name="connsiteY667" fmla="*/ 480518 h 1050628"/>
                <a:gd name="connsiteX668" fmla="*/ 816859 w 2449768"/>
                <a:gd name="connsiteY668" fmla="*/ 489252 h 1050628"/>
                <a:gd name="connsiteX669" fmla="*/ 810783 w 2449768"/>
                <a:gd name="connsiteY669" fmla="*/ 513557 h 1050628"/>
                <a:gd name="connsiteX670" fmla="*/ 786478 w 2449768"/>
                <a:gd name="connsiteY670" fmla="*/ 507481 h 1050628"/>
                <a:gd name="connsiteX671" fmla="*/ 792554 w 2449768"/>
                <a:gd name="connsiteY671" fmla="*/ 483176 h 1050628"/>
                <a:gd name="connsiteX672" fmla="*/ 803567 w 2449768"/>
                <a:gd name="connsiteY672" fmla="*/ 480518 h 1050628"/>
                <a:gd name="connsiteX673" fmla="*/ 1550930 w 2449768"/>
                <a:gd name="connsiteY673" fmla="*/ 471404 h 1050628"/>
                <a:gd name="connsiteX674" fmla="*/ 1564222 w 2449768"/>
                <a:gd name="connsiteY674" fmla="*/ 480138 h 1050628"/>
                <a:gd name="connsiteX675" fmla="*/ 1558146 w 2449768"/>
                <a:gd name="connsiteY675" fmla="*/ 504443 h 1050628"/>
                <a:gd name="connsiteX676" fmla="*/ 1533841 w 2449768"/>
                <a:gd name="connsiteY676" fmla="*/ 498367 h 1050628"/>
                <a:gd name="connsiteX677" fmla="*/ 1539917 w 2449768"/>
                <a:gd name="connsiteY677" fmla="*/ 474062 h 1050628"/>
                <a:gd name="connsiteX678" fmla="*/ 1550930 w 2449768"/>
                <a:gd name="connsiteY678" fmla="*/ 471404 h 1050628"/>
                <a:gd name="connsiteX679" fmla="*/ 2307407 w 2449768"/>
                <a:gd name="connsiteY679" fmla="*/ 465328 h 1050628"/>
                <a:gd name="connsiteX680" fmla="*/ 2320698 w 2449768"/>
                <a:gd name="connsiteY680" fmla="*/ 474062 h 1050628"/>
                <a:gd name="connsiteX681" fmla="*/ 2314622 w 2449768"/>
                <a:gd name="connsiteY681" fmla="*/ 498367 h 1050628"/>
                <a:gd name="connsiteX682" fmla="*/ 2290318 w 2449768"/>
                <a:gd name="connsiteY682" fmla="*/ 492291 h 1050628"/>
                <a:gd name="connsiteX683" fmla="*/ 2296394 w 2449768"/>
                <a:gd name="connsiteY683" fmla="*/ 467986 h 1050628"/>
                <a:gd name="connsiteX684" fmla="*/ 2307407 w 2449768"/>
                <a:gd name="connsiteY684" fmla="*/ 465328 h 1050628"/>
                <a:gd name="connsiteX685" fmla="*/ 1076992 w 2449768"/>
                <a:gd name="connsiteY685" fmla="*/ 462290 h 1050628"/>
                <a:gd name="connsiteX686" fmla="*/ 1090284 w 2449768"/>
                <a:gd name="connsiteY686" fmla="*/ 471024 h 1050628"/>
                <a:gd name="connsiteX687" fmla="*/ 1084208 w 2449768"/>
                <a:gd name="connsiteY687" fmla="*/ 495329 h 1050628"/>
                <a:gd name="connsiteX688" fmla="*/ 1059903 w 2449768"/>
                <a:gd name="connsiteY688" fmla="*/ 489253 h 1050628"/>
                <a:gd name="connsiteX689" fmla="*/ 1065979 w 2449768"/>
                <a:gd name="connsiteY689" fmla="*/ 464948 h 1050628"/>
                <a:gd name="connsiteX690" fmla="*/ 1076992 w 2449768"/>
                <a:gd name="connsiteY690" fmla="*/ 462290 h 1050628"/>
                <a:gd name="connsiteX691" fmla="*/ 2030944 w 2449768"/>
                <a:gd name="connsiteY691" fmla="*/ 456214 h 1050628"/>
                <a:gd name="connsiteX692" fmla="*/ 2044236 w 2449768"/>
                <a:gd name="connsiteY692" fmla="*/ 464948 h 1050628"/>
                <a:gd name="connsiteX693" fmla="*/ 2038160 w 2449768"/>
                <a:gd name="connsiteY693" fmla="*/ 489253 h 1050628"/>
                <a:gd name="connsiteX694" fmla="*/ 2013855 w 2449768"/>
                <a:gd name="connsiteY694" fmla="*/ 483177 h 1050628"/>
                <a:gd name="connsiteX695" fmla="*/ 2019931 w 2449768"/>
                <a:gd name="connsiteY695" fmla="*/ 458872 h 1050628"/>
                <a:gd name="connsiteX696" fmla="*/ 2030944 w 2449768"/>
                <a:gd name="connsiteY696" fmla="*/ 456214 h 1050628"/>
                <a:gd name="connsiteX697" fmla="*/ 1280542 w 2449768"/>
                <a:gd name="connsiteY697" fmla="*/ 453176 h 1050628"/>
                <a:gd name="connsiteX698" fmla="*/ 1293834 w 2449768"/>
                <a:gd name="connsiteY698" fmla="*/ 461910 h 1050628"/>
                <a:gd name="connsiteX699" fmla="*/ 1287758 w 2449768"/>
                <a:gd name="connsiteY699" fmla="*/ 486215 h 1050628"/>
                <a:gd name="connsiteX700" fmla="*/ 1263453 w 2449768"/>
                <a:gd name="connsiteY700" fmla="*/ 480139 h 1050628"/>
                <a:gd name="connsiteX701" fmla="*/ 1269529 w 2449768"/>
                <a:gd name="connsiteY701" fmla="*/ 455834 h 1050628"/>
                <a:gd name="connsiteX702" fmla="*/ 1280542 w 2449768"/>
                <a:gd name="connsiteY702" fmla="*/ 453176 h 1050628"/>
                <a:gd name="connsiteX703" fmla="*/ 679006 w 2449768"/>
                <a:gd name="connsiteY703" fmla="*/ 450138 h 1050628"/>
                <a:gd name="connsiteX704" fmla="*/ 692298 w 2449768"/>
                <a:gd name="connsiteY704" fmla="*/ 458872 h 1050628"/>
                <a:gd name="connsiteX705" fmla="*/ 686222 w 2449768"/>
                <a:gd name="connsiteY705" fmla="*/ 483177 h 1050628"/>
                <a:gd name="connsiteX706" fmla="*/ 661917 w 2449768"/>
                <a:gd name="connsiteY706" fmla="*/ 477101 h 1050628"/>
                <a:gd name="connsiteX707" fmla="*/ 667993 w 2449768"/>
                <a:gd name="connsiteY707" fmla="*/ 452796 h 1050628"/>
                <a:gd name="connsiteX708" fmla="*/ 679006 w 2449768"/>
                <a:gd name="connsiteY708" fmla="*/ 450138 h 1050628"/>
                <a:gd name="connsiteX709" fmla="*/ 1815242 w 2449768"/>
                <a:gd name="connsiteY709" fmla="*/ 447099 h 1050628"/>
                <a:gd name="connsiteX710" fmla="*/ 1828533 w 2449768"/>
                <a:gd name="connsiteY710" fmla="*/ 455833 h 1050628"/>
                <a:gd name="connsiteX711" fmla="*/ 1822457 w 2449768"/>
                <a:gd name="connsiteY711" fmla="*/ 480138 h 1050628"/>
                <a:gd name="connsiteX712" fmla="*/ 1798152 w 2449768"/>
                <a:gd name="connsiteY712" fmla="*/ 474062 h 1050628"/>
                <a:gd name="connsiteX713" fmla="*/ 1804228 w 2449768"/>
                <a:gd name="connsiteY713" fmla="*/ 449757 h 1050628"/>
                <a:gd name="connsiteX714" fmla="*/ 1815242 w 2449768"/>
                <a:gd name="connsiteY714" fmla="*/ 447099 h 1050628"/>
                <a:gd name="connsiteX715" fmla="*/ 1699795 w 2449768"/>
                <a:gd name="connsiteY715" fmla="*/ 444061 h 1050628"/>
                <a:gd name="connsiteX716" fmla="*/ 1713087 w 2449768"/>
                <a:gd name="connsiteY716" fmla="*/ 452795 h 1050628"/>
                <a:gd name="connsiteX717" fmla="*/ 1707011 w 2449768"/>
                <a:gd name="connsiteY717" fmla="*/ 477100 h 1050628"/>
                <a:gd name="connsiteX718" fmla="*/ 1682706 w 2449768"/>
                <a:gd name="connsiteY718" fmla="*/ 471024 h 1050628"/>
                <a:gd name="connsiteX719" fmla="*/ 1688782 w 2449768"/>
                <a:gd name="connsiteY719" fmla="*/ 446719 h 1050628"/>
                <a:gd name="connsiteX720" fmla="*/ 1699795 w 2449768"/>
                <a:gd name="connsiteY720" fmla="*/ 444061 h 1050628"/>
                <a:gd name="connsiteX721" fmla="*/ 888633 w 2449768"/>
                <a:gd name="connsiteY721" fmla="*/ 434947 h 1050628"/>
                <a:gd name="connsiteX722" fmla="*/ 901925 w 2449768"/>
                <a:gd name="connsiteY722" fmla="*/ 443681 h 1050628"/>
                <a:gd name="connsiteX723" fmla="*/ 895849 w 2449768"/>
                <a:gd name="connsiteY723" fmla="*/ 467986 h 1050628"/>
                <a:gd name="connsiteX724" fmla="*/ 871544 w 2449768"/>
                <a:gd name="connsiteY724" fmla="*/ 461910 h 1050628"/>
                <a:gd name="connsiteX725" fmla="*/ 877620 w 2449768"/>
                <a:gd name="connsiteY725" fmla="*/ 437605 h 1050628"/>
                <a:gd name="connsiteX726" fmla="*/ 888633 w 2449768"/>
                <a:gd name="connsiteY726" fmla="*/ 434947 h 1050628"/>
                <a:gd name="connsiteX727" fmla="*/ 2158542 w 2449768"/>
                <a:gd name="connsiteY727" fmla="*/ 407605 h 1050628"/>
                <a:gd name="connsiteX728" fmla="*/ 2171833 w 2449768"/>
                <a:gd name="connsiteY728" fmla="*/ 416339 h 1050628"/>
                <a:gd name="connsiteX729" fmla="*/ 2165757 w 2449768"/>
                <a:gd name="connsiteY729" fmla="*/ 440644 h 1050628"/>
                <a:gd name="connsiteX730" fmla="*/ 2141453 w 2449768"/>
                <a:gd name="connsiteY730" fmla="*/ 434568 h 1050628"/>
                <a:gd name="connsiteX731" fmla="*/ 2147529 w 2449768"/>
                <a:gd name="connsiteY731" fmla="*/ 410263 h 1050628"/>
                <a:gd name="connsiteX732" fmla="*/ 2158542 w 2449768"/>
                <a:gd name="connsiteY732" fmla="*/ 407605 h 1050628"/>
                <a:gd name="connsiteX733" fmla="*/ 1484092 w 2449768"/>
                <a:gd name="connsiteY733" fmla="*/ 407605 h 1050628"/>
                <a:gd name="connsiteX734" fmla="*/ 1497384 w 2449768"/>
                <a:gd name="connsiteY734" fmla="*/ 416339 h 1050628"/>
                <a:gd name="connsiteX735" fmla="*/ 1491308 w 2449768"/>
                <a:gd name="connsiteY735" fmla="*/ 440644 h 1050628"/>
                <a:gd name="connsiteX736" fmla="*/ 1467003 w 2449768"/>
                <a:gd name="connsiteY736" fmla="*/ 434568 h 1050628"/>
                <a:gd name="connsiteX737" fmla="*/ 1473079 w 2449768"/>
                <a:gd name="connsiteY737" fmla="*/ 410263 h 1050628"/>
                <a:gd name="connsiteX738" fmla="*/ 1484092 w 2449768"/>
                <a:gd name="connsiteY738" fmla="*/ 407605 h 1050628"/>
                <a:gd name="connsiteX739" fmla="*/ 1365608 w 2449768"/>
                <a:gd name="connsiteY739" fmla="*/ 404567 h 1050628"/>
                <a:gd name="connsiteX740" fmla="*/ 1378900 w 2449768"/>
                <a:gd name="connsiteY740" fmla="*/ 413301 h 1050628"/>
                <a:gd name="connsiteX741" fmla="*/ 1372824 w 2449768"/>
                <a:gd name="connsiteY741" fmla="*/ 437606 h 1050628"/>
                <a:gd name="connsiteX742" fmla="*/ 1348519 w 2449768"/>
                <a:gd name="connsiteY742" fmla="*/ 431530 h 1050628"/>
                <a:gd name="connsiteX743" fmla="*/ 1354595 w 2449768"/>
                <a:gd name="connsiteY743" fmla="*/ 407225 h 1050628"/>
                <a:gd name="connsiteX744" fmla="*/ 1365608 w 2449768"/>
                <a:gd name="connsiteY744" fmla="*/ 404567 h 1050628"/>
                <a:gd name="connsiteX745" fmla="*/ 988889 w 2449768"/>
                <a:gd name="connsiteY745" fmla="*/ 404567 h 1050628"/>
                <a:gd name="connsiteX746" fmla="*/ 1002180 w 2449768"/>
                <a:gd name="connsiteY746" fmla="*/ 413301 h 1050628"/>
                <a:gd name="connsiteX747" fmla="*/ 996104 w 2449768"/>
                <a:gd name="connsiteY747" fmla="*/ 437606 h 1050628"/>
                <a:gd name="connsiteX748" fmla="*/ 971800 w 2449768"/>
                <a:gd name="connsiteY748" fmla="*/ 431530 h 1050628"/>
                <a:gd name="connsiteX749" fmla="*/ 977876 w 2449768"/>
                <a:gd name="connsiteY749" fmla="*/ 407225 h 1050628"/>
                <a:gd name="connsiteX750" fmla="*/ 988889 w 2449768"/>
                <a:gd name="connsiteY750" fmla="*/ 404567 h 1050628"/>
                <a:gd name="connsiteX751" fmla="*/ 1182565 w 2449768"/>
                <a:gd name="connsiteY751" fmla="*/ 394312 h 1050628"/>
                <a:gd name="connsiteX752" fmla="*/ 1193578 w 2449768"/>
                <a:gd name="connsiteY752" fmla="*/ 404186 h 1050628"/>
                <a:gd name="connsiteX753" fmla="*/ 1187502 w 2449768"/>
                <a:gd name="connsiteY753" fmla="*/ 428491 h 1050628"/>
                <a:gd name="connsiteX754" fmla="*/ 1163197 w 2449768"/>
                <a:gd name="connsiteY754" fmla="*/ 422415 h 1050628"/>
                <a:gd name="connsiteX755" fmla="*/ 1169273 w 2449768"/>
                <a:gd name="connsiteY755" fmla="*/ 398110 h 1050628"/>
                <a:gd name="connsiteX756" fmla="*/ 1182565 w 2449768"/>
                <a:gd name="connsiteY756" fmla="*/ 394312 h 1050628"/>
                <a:gd name="connsiteX757" fmla="*/ 1620805 w 2449768"/>
                <a:gd name="connsiteY757" fmla="*/ 389376 h 1050628"/>
                <a:gd name="connsiteX758" fmla="*/ 1634097 w 2449768"/>
                <a:gd name="connsiteY758" fmla="*/ 398110 h 1050628"/>
                <a:gd name="connsiteX759" fmla="*/ 1628021 w 2449768"/>
                <a:gd name="connsiteY759" fmla="*/ 422415 h 1050628"/>
                <a:gd name="connsiteX760" fmla="*/ 1603716 w 2449768"/>
                <a:gd name="connsiteY760" fmla="*/ 416339 h 1050628"/>
                <a:gd name="connsiteX761" fmla="*/ 1609792 w 2449768"/>
                <a:gd name="connsiteY761" fmla="*/ 392034 h 1050628"/>
                <a:gd name="connsiteX762" fmla="*/ 1620805 w 2449768"/>
                <a:gd name="connsiteY762" fmla="*/ 389376 h 1050628"/>
                <a:gd name="connsiteX763" fmla="*/ 1961068 w 2449768"/>
                <a:gd name="connsiteY763" fmla="*/ 380262 h 1050628"/>
                <a:gd name="connsiteX764" fmla="*/ 1974360 w 2449768"/>
                <a:gd name="connsiteY764" fmla="*/ 388996 h 1050628"/>
                <a:gd name="connsiteX765" fmla="*/ 1968284 w 2449768"/>
                <a:gd name="connsiteY765" fmla="*/ 413301 h 1050628"/>
                <a:gd name="connsiteX766" fmla="*/ 1943979 w 2449768"/>
                <a:gd name="connsiteY766" fmla="*/ 407225 h 1050628"/>
                <a:gd name="connsiteX767" fmla="*/ 1950055 w 2449768"/>
                <a:gd name="connsiteY767" fmla="*/ 382920 h 1050628"/>
                <a:gd name="connsiteX768" fmla="*/ 1961068 w 2449768"/>
                <a:gd name="connsiteY768" fmla="*/ 380262 h 1050628"/>
                <a:gd name="connsiteX769" fmla="*/ 770148 w 2449768"/>
                <a:gd name="connsiteY769" fmla="*/ 380262 h 1050628"/>
                <a:gd name="connsiteX770" fmla="*/ 783440 w 2449768"/>
                <a:gd name="connsiteY770" fmla="*/ 388996 h 1050628"/>
                <a:gd name="connsiteX771" fmla="*/ 777364 w 2449768"/>
                <a:gd name="connsiteY771" fmla="*/ 413301 h 1050628"/>
                <a:gd name="connsiteX772" fmla="*/ 753059 w 2449768"/>
                <a:gd name="connsiteY772" fmla="*/ 407225 h 1050628"/>
                <a:gd name="connsiteX773" fmla="*/ 759135 w 2449768"/>
                <a:gd name="connsiteY773" fmla="*/ 382920 h 1050628"/>
                <a:gd name="connsiteX774" fmla="*/ 770148 w 2449768"/>
                <a:gd name="connsiteY774" fmla="*/ 380262 h 1050628"/>
                <a:gd name="connsiteX775" fmla="*/ 2240571 w 2449768"/>
                <a:gd name="connsiteY775" fmla="*/ 352920 h 1050628"/>
                <a:gd name="connsiteX776" fmla="*/ 2253862 w 2449768"/>
                <a:gd name="connsiteY776" fmla="*/ 361654 h 1050628"/>
                <a:gd name="connsiteX777" fmla="*/ 2247786 w 2449768"/>
                <a:gd name="connsiteY777" fmla="*/ 385959 h 1050628"/>
                <a:gd name="connsiteX778" fmla="*/ 2223481 w 2449768"/>
                <a:gd name="connsiteY778" fmla="*/ 379883 h 1050628"/>
                <a:gd name="connsiteX779" fmla="*/ 2229557 w 2449768"/>
                <a:gd name="connsiteY779" fmla="*/ 355578 h 1050628"/>
                <a:gd name="connsiteX780" fmla="*/ 2240571 w 2449768"/>
                <a:gd name="connsiteY780" fmla="*/ 352920 h 1050628"/>
                <a:gd name="connsiteX781" fmla="*/ 2082590 w 2449768"/>
                <a:gd name="connsiteY781" fmla="*/ 352920 h 1050628"/>
                <a:gd name="connsiteX782" fmla="*/ 2095882 w 2449768"/>
                <a:gd name="connsiteY782" fmla="*/ 361654 h 1050628"/>
                <a:gd name="connsiteX783" fmla="*/ 2089806 w 2449768"/>
                <a:gd name="connsiteY783" fmla="*/ 385959 h 1050628"/>
                <a:gd name="connsiteX784" fmla="*/ 2065501 w 2449768"/>
                <a:gd name="connsiteY784" fmla="*/ 379883 h 1050628"/>
                <a:gd name="connsiteX785" fmla="*/ 2071577 w 2449768"/>
                <a:gd name="connsiteY785" fmla="*/ 355578 h 1050628"/>
                <a:gd name="connsiteX786" fmla="*/ 2082590 w 2449768"/>
                <a:gd name="connsiteY786" fmla="*/ 352920 h 1050628"/>
                <a:gd name="connsiteX787" fmla="*/ 1080030 w 2449768"/>
                <a:gd name="connsiteY787" fmla="*/ 337729 h 1050628"/>
                <a:gd name="connsiteX788" fmla="*/ 1093322 w 2449768"/>
                <a:gd name="connsiteY788" fmla="*/ 346463 h 1050628"/>
                <a:gd name="connsiteX789" fmla="*/ 1087246 w 2449768"/>
                <a:gd name="connsiteY789" fmla="*/ 370768 h 1050628"/>
                <a:gd name="connsiteX790" fmla="*/ 1062941 w 2449768"/>
                <a:gd name="connsiteY790" fmla="*/ 364692 h 1050628"/>
                <a:gd name="connsiteX791" fmla="*/ 1069017 w 2449768"/>
                <a:gd name="connsiteY791" fmla="*/ 340387 h 1050628"/>
                <a:gd name="connsiteX792" fmla="*/ 1080030 w 2449768"/>
                <a:gd name="connsiteY792" fmla="*/ 337729 h 1050628"/>
                <a:gd name="connsiteX793" fmla="*/ 1787899 w 2449768"/>
                <a:gd name="connsiteY793" fmla="*/ 331653 h 1050628"/>
                <a:gd name="connsiteX794" fmla="*/ 1801191 w 2449768"/>
                <a:gd name="connsiteY794" fmla="*/ 340387 h 1050628"/>
                <a:gd name="connsiteX795" fmla="*/ 1795115 w 2449768"/>
                <a:gd name="connsiteY795" fmla="*/ 364692 h 1050628"/>
                <a:gd name="connsiteX796" fmla="*/ 1770810 w 2449768"/>
                <a:gd name="connsiteY796" fmla="*/ 358616 h 1050628"/>
                <a:gd name="connsiteX797" fmla="*/ 1776886 w 2449768"/>
                <a:gd name="connsiteY797" fmla="*/ 334311 h 1050628"/>
                <a:gd name="connsiteX798" fmla="*/ 1787899 w 2449768"/>
                <a:gd name="connsiteY798" fmla="*/ 331653 h 1050628"/>
                <a:gd name="connsiteX799" fmla="*/ 1879040 w 2449768"/>
                <a:gd name="connsiteY799" fmla="*/ 328615 h 1050628"/>
                <a:gd name="connsiteX800" fmla="*/ 1892332 w 2449768"/>
                <a:gd name="connsiteY800" fmla="*/ 337349 h 1050628"/>
                <a:gd name="connsiteX801" fmla="*/ 1886256 w 2449768"/>
                <a:gd name="connsiteY801" fmla="*/ 361654 h 1050628"/>
                <a:gd name="connsiteX802" fmla="*/ 1861951 w 2449768"/>
                <a:gd name="connsiteY802" fmla="*/ 355578 h 1050628"/>
                <a:gd name="connsiteX803" fmla="*/ 1868027 w 2449768"/>
                <a:gd name="connsiteY803" fmla="*/ 331273 h 1050628"/>
                <a:gd name="connsiteX804" fmla="*/ 1879040 w 2449768"/>
                <a:gd name="connsiteY804" fmla="*/ 328615 h 1050628"/>
                <a:gd name="connsiteX805" fmla="*/ 1265352 w 2449768"/>
                <a:gd name="connsiteY805" fmla="*/ 325577 h 1050628"/>
                <a:gd name="connsiteX806" fmla="*/ 1278644 w 2449768"/>
                <a:gd name="connsiteY806" fmla="*/ 334311 h 1050628"/>
                <a:gd name="connsiteX807" fmla="*/ 1272568 w 2449768"/>
                <a:gd name="connsiteY807" fmla="*/ 358616 h 1050628"/>
                <a:gd name="connsiteX808" fmla="*/ 1248263 w 2449768"/>
                <a:gd name="connsiteY808" fmla="*/ 352540 h 1050628"/>
                <a:gd name="connsiteX809" fmla="*/ 1254339 w 2449768"/>
                <a:gd name="connsiteY809" fmla="*/ 328235 h 1050628"/>
                <a:gd name="connsiteX810" fmla="*/ 1265352 w 2449768"/>
                <a:gd name="connsiteY810" fmla="*/ 325577 h 1050628"/>
                <a:gd name="connsiteX811" fmla="*/ 864328 w 2449768"/>
                <a:gd name="connsiteY811" fmla="*/ 319501 h 1050628"/>
                <a:gd name="connsiteX812" fmla="*/ 877620 w 2449768"/>
                <a:gd name="connsiteY812" fmla="*/ 328235 h 1050628"/>
                <a:gd name="connsiteX813" fmla="*/ 871544 w 2449768"/>
                <a:gd name="connsiteY813" fmla="*/ 352540 h 1050628"/>
                <a:gd name="connsiteX814" fmla="*/ 847239 w 2449768"/>
                <a:gd name="connsiteY814" fmla="*/ 346464 h 1050628"/>
                <a:gd name="connsiteX815" fmla="*/ 853315 w 2449768"/>
                <a:gd name="connsiteY815" fmla="*/ 322159 h 1050628"/>
                <a:gd name="connsiteX816" fmla="*/ 864328 w 2449768"/>
                <a:gd name="connsiteY816" fmla="*/ 319501 h 1050628"/>
                <a:gd name="connsiteX817" fmla="*/ 1459788 w 2449768"/>
                <a:gd name="connsiteY817" fmla="*/ 316463 h 1050628"/>
                <a:gd name="connsiteX818" fmla="*/ 1473080 w 2449768"/>
                <a:gd name="connsiteY818" fmla="*/ 325197 h 1050628"/>
                <a:gd name="connsiteX819" fmla="*/ 1467004 w 2449768"/>
                <a:gd name="connsiteY819" fmla="*/ 349502 h 1050628"/>
                <a:gd name="connsiteX820" fmla="*/ 1442699 w 2449768"/>
                <a:gd name="connsiteY820" fmla="*/ 343426 h 1050628"/>
                <a:gd name="connsiteX821" fmla="*/ 1448775 w 2449768"/>
                <a:gd name="connsiteY821" fmla="*/ 319121 h 1050628"/>
                <a:gd name="connsiteX822" fmla="*/ 1459788 w 2449768"/>
                <a:gd name="connsiteY822" fmla="*/ 316463 h 1050628"/>
                <a:gd name="connsiteX823" fmla="*/ 1702833 w 2449768"/>
                <a:gd name="connsiteY823" fmla="*/ 310387 h 1050628"/>
                <a:gd name="connsiteX824" fmla="*/ 1716125 w 2449768"/>
                <a:gd name="connsiteY824" fmla="*/ 319121 h 1050628"/>
                <a:gd name="connsiteX825" fmla="*/ 1710049 w 2449768"/>
                <a:gd name="connsiteY825" fmla="*/ 343426 h 1050628"/>
                <a:gd name="connsiteX826" fmla="*/ 1685744 w 2449768"/>
                <a:gd name="connsiteY826" fmla="*/ 337350 h 1050628"/>
                <a:gd name="connsiteX827" fmla="*/ 1691820 w 2449768"/>
                <a:gd name="connsiteY827" fmla="*/ 313045 h 1050628"/>
                <a:gd name="connsiteX828" fmla="*/ 1702833 w 2449768"/>
                <a:gd name="connsiteY828" fmla="*/ 310387 h 1050628"/>
                <a:gd name="connsiteX829" fmla="*/ 1577893 w 2449768"/>
                <a:gd name="connsiteY829" fmla="*/ 297095 h 1050628"/>
                <a:gd name="connsiteX830" fmla="*/ 1591565 w 2449768"/>
                <a:gd name="connsiteY830" fmla="*/ 306969 h 1050628"/>
                <a:gd name="connsiteX831" fmla="*/ 1585489 w 2449768"/>
                <a:gd name="connsiteY831" fmla="*/ 331274 h 1050628"/>
                <a:gd name="connsiteX832" fmla="*/ 1561184 w 2449768"/>
                <a:gd name="connsiteY832" fmla="*/ 325198 h 1050628"/>
                <a:gd name="connsiteX833" fmla="*/ 1564222 w 2449768"/>
                <a:gd name="connsiteY833" fmla="*/ 300893 h 1050628"/>
                <a:gd name="connsiteX834" fmla="*/ 1577893 w 2449768"/>
                <a:gd name="connsiteY834" fmla="*/ 297095 h 1050628"/>
                <a:gd name="connsiteX835" fmla="*/ 955470 w 2449768"/>
                <a:gd name="connsiteY835" fmla="*/ 295196 h 1050628"/>
                <a:gd name="connsiteX836" fmla="*/ 968762 w 2449768"/>
                <a:gd name="connsiteY836" fmla="*/ 303930 h 1050628"/>
                <a:gd name="connsiteX837" fmla="*/ 962686 w 2449768"/>
                <a:gd name="connsiteY837" fmla="*/ 328235 h 1050628"/>
                <a:gd name="connsiteX838" fmla="*/ 938381 w 2449768"/>
                <a:gd name="connsiteY838" fmla="*/ 322159 h 1050628"/>
                <a:gd name="connsiteX839" fmla="*/ 944457 w 2449768"/>
                <a:gd name="connsiteY839" fmla="*/ 297854 h 1050628"/>
                <a:gd name="connsiteX840" fmla="*/ 955470 w 2449768"/>
                <a:gd name="connsiteY840" fmla="*/ 295196 h 1050628"/>
                <a:gd name="connsiteX841" fmla="*/ 1365608 w 2449768"/>
                <a:gd name="connsiteY841" fmla="*/ 283044 h 1050628"/>
                <a:gd name="connsiteX842" fmla="*/ 1378900 w 2449768"/>
                <a:gd name="connsiteY842" fmla="*/ 291778 h 1050628"/>
                <a:gd name="connsiteX843" fmla="*/ 1372824 w 2449768"/>
                <a:gd name="connsiteY843" fmla="*/ 316083 h 1050628"/>
                <a:gd name="connsiteX844" fmla="*/ 1348519 w 2449768"/>
                <a:gd name="connsiteY844" fmla="*/ 310007 h 1050628"/>
                <a:gd name="connsiteX845" fmla="*/ 1354595 w 2449768"/>
                <a:gd name="connsiteY845" fmla="*/ 285702 h 1050628"/>
                <a:gd name="connsiteX846" fmla="*/ 1365608 w 2449768"/>
                <a:gd name="connsiteY846" fmla="*/ 283044 h 1050628"/>
                <a:gd name="connsiteX847" fmla="*/ 1979296 w 2449768"/>
                <a:gd name="connsiteY847" fmla="*/ 267854 h 1050628"/>
                <a:gd name="connsiteX848" fmla="*/ 1992588 w 2449768"/>
                <a:gd name="connsiteY848" fmla="*/ 276588 h 1050628"/>
                <a:gd name="connsiteX849" fmla="*/ 1986512 w 2449768"/>
                <a:gd name="connsiteY849" fmla="*/ 300893 h 1050628"/>
                <a:gd name="connsiteX850" fmla="*/ 1962207 w 2449768"/>
                <a:gd name="connsiteY850" fmla="*/ 294817 h 1050628"/>
                <a:gd name="connsiteX851" fmla="*/ 1968283 w 2449768"/>
                <a:gd name="connsiteY851" fmla="*/ 270512 h 1050628"/>
                <a:gd name="connsiteX852" fmla="*/ 1979296 w 2449768"/>
                <a:gd name="connsiteY852" fmla="*/ 267854 h 1050628"/>
                <a:gd name="connsiteX853" fmla="*/ 1173830 w 2449768"/>
                <a:gd name="connsiteY853" fmla="*/ 266714 h 1050628"/>
                <a:gd name="connsiteX854" fmla="*/ 1187502 w 2449768"/>
                <a:gd name="connsiteY854" fmla="*/ 276588 h 1050628"/>
                <a:gd name="connsiteX855" fmla="*/ 1181425 w 2449768"/>
                <a:gd name="connsiteY855" fmla="*/ 300893 h 1050628"/>
                <a:gd name="connsiteX856" fmla="*/ 1157121 w 2449768"/>
                <a:gd name="connsiteY856" fmla="*/ 294817 h 1050628"/>
                <a:gd name="connsiteX857" fmla="*/ 1160159 w 2449768"/>
                <a:gd name="connsiteY857" fmla="*/ 270512 h 1050628"/>
                <a:gd name="connsiteX858" fmla="*/ 1173830 w 2449768"/>
                <a:gd name="connsiteY858" fmla="*/ 266714 h 1050628"/>
                <a:gd name="connsiteX859" fmla="*/ 2167656 w 2449768"/>
                <a:gd name="connsiteY859" fmla="*/ 246587 h 1050628"/>
                <a:gd name="connsiteX860" fmla="*/ 2180948 w 2449768"/>
                <a:gd name="connsiteY860" fmla="*/ 255321 h 1050628"/>
                <a:gd name="connsiteX861" fmla="*/ 2174872 w 2449768"/>
                <a:gd name="connsiteY861" fmla="*/ 279626 h 1050628"/>
                <a:gd name="connsiteX862" fmla="*/ 2150567 w 2449768"/>
                <a:gd name="connsiteY862" fmla="*/ 273550 h 1050628"/>
                <a:gd name="connsiteX863" fmla="*/ 2156643 w 2449768"/>
                <a:gd name="connsiteY863" fmla="*/ 249245 h 1050628"/>
                <a:gd name="connsiteX864" fmla="*/ 2167656 w 2449768"/>
                <a:gd name="connsiteY864" fmla="*/ 246587 h 1050628"/>
                <a:gd name="connsiteX865" fmla="*/ 2073477 w 2449768"/>
                <a:gd name="connsiteY865" fmla="*/ 240511 h 1050628"/>
                <a:gd name="connsiteX866" fmla="*/ 2086768 w 2449768"/>
                <a:gd name="connsiteY866" fmla="*/ 249245 h 1050628"/>
                <a:gd name="connsiteX867" fmla="*/ 2080692 w 2449768"/>
                <a:gd name="connsiteY867" fmla="*/ 273550 h 1050628"/>
                <a:gd name="connsiteX868" fmla="*/ 2056387 w 2449768"/>
                <a:gd name="connsiteY868" fmla="*/ 267474 h 1050628"/>
                <a:gd name="connsiteX869" fmla="*/ 2062463 w 2449768"/>
                <a:gd name="connsiteY869" fmla="*/ 243169 h 1050628"/>
                <a:gd name="connsiteX870" fmla="*/ 2073477 w 2449768"/>
                <a:gd name="connsiteY870" fmla="*/ 240511 h 1050628"/>
                <a:gd name="connsiteX871" fmla="*/ 1505359 w 2449768"/>
                <a:gd name="connsiteY871" fmla="*/ 222283 h 1050628"/>
                <a:gd name="connsiteX872" fmla="*/ 1518651 w 2449768"/>
                <a:gd name="connsiteY872" fmla="*/ 231017 h 1050628"/>
                <a:gd name="connsiteX873" fmla="*/ 1512575 w 2449768"/>
                <a:gd name="connsiteY873" fmla="*/ 255322 h 1050628"/>
                <a:gd name="connsiteX874" fmla="*/ 1488270 w 2449768"/>
                <a:gd name="connsiteY874" fmla="*/ 249246 h 1050628"/>
                <a:gd name="connsiteX875" fmla="*/ 1494346 w 2449768"/>
                <a:gd name="connsiteY875" fmla="*/ 224941 h 1050628"/>
                <a:gd name="connsiteX876" fmla="*/ 1505359 w 2449768"/>
                <a:gd name="connsiteY876" fmla="*/ 222283 h 1050628"/>
                <a:gd name="connsiteX877" fmla="*/ 1007117 w 2449768"/>
                <a:gd name="connsiteY877" fmla="*/ 222283 h 1050628"/>
                <a:gd name="connsiteX878" fmla="*/ 1020409 w 2449768"/>
                <a:gd name="connsiteY878" fmla="*/ 231017 h 1050628"/>
                <a:gd name="connsiteX879" fmla="*/ 1014333 w 2449768"/>
                <a:gd name="connsiteY879" fmla="*/ 255322 h 1050628"/>
                <a:gd name="connsiteX880" fmla="*/ 990028 w 2449768"/>
                <a:gd name="connsiteY880" fmla="*/ 249246 h 1050628"/>
                <a:gd name="connsiteX881" fmla="*/ 996104 w 2449768"/>
                <a:gd name="connsiteY881" fmla="*/ 224941 h 1050628"/>
                <a:gd name="connsiteX882" fmla="*/ 1007117 w 2449768"/>
                <a:gd name="connsiteY882" fmla="*/ 222283 h 1050628"/>
                <a:gd name="connsiteX883" fmla="*/ 1298771 w 2449768"/>
                <a:gd name="connsiteY883" fmla="*/ 210131 h 1050628"/>
                <a:gd name="connsiteX884" fmla="*/ 1312063 w 2449768"/>
                <a:gd name="connsiteY884" fmla="*/ 218865 h 1050628"/>
                <a:gd name="connsiteX885" fmla="*/ 1305987 w 2449768"/>
                <a:gd name="connsiteY885" fmla="*/ 243170 h 1050628"/>
                <a:gd name="connsiteX886" fmla="*/ 1281682 w 2449768"/>
                <a:gd name="connsiteY886" fmla="*/ 237094 h 1050628"/>
                <a:gd name="connsiteX887" fmla="*/ 1287758 w 2449768"/>
                <a:gd name="connsiteY887" fmla="*/ 212789 h 1050628"/>
                <a:gd name="connsiteX888" fmla="*/ 1298771 w 2449768"/>
                <a:gd name="connsiteY888" fmla="*/ 210131 h 1050628"/>
                <a:gd name="connsiteX889" fmla="*/ 1881700 w 2449768"/>
                <a:gd name="connsiteY889" fmla="*/ 207472 h 1050628"/>
                <a:gd name="connsiteX890" fmla="*/ 1895371 w 2449768"/>
                <a:gd name="connsiteY890" fmla="*/ 218865 h 1050628"/>
                <a:gd name="connsiteX891" fmla="*/ 1889295 w 2449768"/>
                <a:gd name="connsiteY891" fmla="*/ 243170 h 1050628"/>
                <a:gd name="connsiteX892" fmla="*/ 1864990 w 2449768"/>
                <a:gd name="connsiteY892" fmla="*/ 237094 h 1050628"/>
                <a:gd name="connsiteX893" fmla="*/ 1868028 w 2449768"/>
                <a:gd name="connsiteY893" fmla="*/ 209751 h 1050628"/>
                <a:gd name="connsiteX894" fmla="*/ 1881700 w 2449768"/>
                <a:gd name="connsiteY894" fmla="*/ 207472 h 1050628"/>
                <a:gd name="connsiteX895" fmla="*/ 1657262 w 2449768"/>
                <a:gd name="connsiteY895" fmla="*/ 207093 h 1050628"/>
                <a:gd name="connsiteX896" fmla="*/ 1670554 w 2449768"/>
                <a:gd name="connsiteY896" fmla="*/ 215827 h 1050628"/>
                <a:gd name="connsiteX897" fmla="*/ 1664478 w 2449768"/>
                <a:gd name="connsiteY897" fmla="*/ 240132 h 1050628"/>
                <a:gd name="connsiteX898" fmla="*/ 1637135 w 2449768"/>
                <a:gd name="connsiteY898" fmla="*/ 234056 h 1050628"/>
                <a:gd name="connsiteX899" fmla="*/ 1646249 w 2449768"/>
                <a:gd name="connsiteY899" fmla="*/ 209751 h 1050628"/>
                <a:gd name="connsiteX900" fmla="*/ 1657262 w 2449768"/>
                <a:gd name="connsiteY900" fmla="*/ 207093 h 1050628"/>
                <a:gd name="connsiteX901" fmla="*/ 1769671 w 2449768"/>
                <a:gd name="connsiteY901" fmla="*/ 201017 h 1050628"/>
                <a:gd name="connsiteX902" fmla="*/ 1782962 w 2449768"/>
                <a:gd name="connsiteY902" fmla="*/ 209751 h 1050628"/>
                <a:gd name="connsiteX903" fmla="*/ 1776886 w 2449768"/>
                <a:gd name="connsiteY903" fmla="*/ 234056 h 1050628"/>
                <a:gd name="connsiteX904" fmla="*/ 1752581 w 2449768"/>
                <a:gd name="connsiteY904" fmla="*/ 227980 h 1050628"/>
                <a:gd name="connsiteX905" fmla="*/ 1758657 w 2449768"/>
                <a:gd name="connsiteY905" fmla="*/ 203675 h 1050628"/>
                <a:gd name="connsiteX906" fmla="*/ 1769671 w 2449768"/>
                <a:gd name="connsiteY906" fmla="*/ 201017 h 1050628"/>
                <a:gd name="connsiteX907" fmla="*/ 1089145 w 2449768"/>
                <a:gd name="connsiteY907" fmla="*/ 197978 h 1050628"/>
                <a:gd name="connsiteX908" fmla="*/ 1102437 w 2449768"/>
                <a:gd name="connsiteY908" fmla="*/ 206712 h 1050628"/>
                <a:gd name="connsiteX909" fmla="*/ 1096361 w 2449768"/>
                <a:gd name="connsiteY909" fmla="*/ 231017 h 1050628"/>
                <a:gd name="connsiteX910" fmla="*/ 1072056 w 2449768"/>
                <a:gd name="connsiteY910" fmla="*/ 224941 h 1050628"/>
                <a:gd name="connsiteX911" fmla="*/ 1078132 w 2449768"/>
                <a:gd name="connsiteY911" fmla="*/ 200636 h 1050628"/>
                <a:gd name="connsiteX912" fmla="*/ 1089145 w 2449768"/>
                <a:gd name="connsiteY912" fmla="*/ 197978 h 1050628"/>
                <a:gd name="connsiteX913" fmla="*/ 1395989 w 2449768"/>
                <a:gd name="connsiteY913" fmla="*/ 161522 h 1050628"/>
                <a:gd name="connsiteX914" fmla="*/ 1409281 w 2449768"/>
                <a:gd name="connsiteY914" fmla="*/ 170256 h 1050628"/>
                <a:gd name="connsiteX915" fmla="*/ 1403205 w 2449768"/>
                <a:gd name="connsiteY915" fmla="*/ 194561 h 1050628"/>
                <a:gd name="connsiteX916" fmla="*/ 1378900 w 2449768"/>
                <a:gd name="connsiteY916" fmla="*/ 188485 h 1050628"/>
                <a:gd name="connsiteX917" fmla="*/ 1384976 w 2449768"/>
                <a:gd name="connsiteY917" fmla="*/ 164180 h 1050628"/>
                <a:gd name="connsiteX918" fmla="*/ 1395989 w 2449768"/>
                <a:gd name="connsiteY918" fmla="*/ 161522 h 1050628"/>
                <a:gd name="connsiteX919" fmla="*/ 1967145 w 2449768"/>
                <a:gd name="connsiteY919" fmla="*/ 140255 h 1050628"/>
                <a:gd name="connsiteX920" fmla="*/ 1980436 w 2449768"/>
                <a:gd name="connsiteY920" fmla="*/ 148989 h 1050628"/>
                <a:gd name="connsiteX921" fmla="*/ 1974360 w 2449768"/>
                <a:gd name="connsiteY921" fmla="*/ 173294 h 1050628"/>
                <a:gd name="connsiteX922" fmla="*/ 1950055 w 2449768"/>
                <a:gd name="connsiteY922" fmla="*/ 170256 h 1050628"/>
                <a:gd name="connsiteX923" fmla="*/ 1956131 w 2449768"/>
                <a:gd name="connsiteY923" fmla="*/ 142913 h 1050628"/>
                <a:gd name="connsiteX924" fmla="*/ 1967145 w 2449768"/>
                <a:gd name="connsiteY924" fmla="*/ 140255 h 1050628"/>
                <a:gd name="connsiteX925" fmla="*/ 1234971 w 2449768"/>
                <a:gd name="connsiteY925" fmla="*/ 131141 h 1050628"/>
                <a:gd name="connsiteX926" fmla="*/ 1248263 w 2449768"/>
                <a:gd name="connsiteY926" fmla="*/ 139875 h 1050628"/>
                <a:gd name="connsiteX927" fmla="*/ 1242187 w 2449768"/>
                <a:gd name="connsiteY927" fmla="*/ 164180 h 1050628"/>
                <a:gd name="connsiteX928" fmla="*/ 1217882 w 2449768"/>
                <a:gd name="connsiteY928" fmla="*/ 158104 h 1050628"/>
                <a:gd name="connsiteX929" fmla="*/ 1223958 w 2449768"/>
                <a:gd name="connsiteY929" fmla="*/ 133799 h 1050628"/>
                <a:gd name="connsiteX930" fmla="*/ 1234971 w 2449768"/>
                <a:gd name="connsiteY930" fmla="*/ 131141 h 1050628"/>
                <a:gd name="connsiteX931" fmla="*/ 1149906 w 2449768"/>
                <a:gd name="connsiteY931" fmla="*/ 131141 h 1050628"/>
                <a:gd name="connsiteX932" fmla="*/ 1163198 w 2449768"/>
                <a:gd name="connsiteY932" fmla="*/ 139875 h 1050628"/>
                <a:gd name="connsiteX933" fmla="*/ 1157122 w 2449768"/>
                <a:gd name="connsiteY933" fmla="*/ 164180 h 1050628"/>
                <a:gd name="connsiteX934" fmla="*/ 1132817 w 2449768"/>
                <a:gd name="connsiteY934" fmla="*/ 158104 h 1050628"/>
                <a:gd name="connsiteX935" fmla="*/ 1138893 w 2449768"/>
                <a:gd name="connsiteY935" fmla="*/ 133799 h 1050628"/>
                <a:gd name="connsiteX936" fmla="*/ 1149906 w 2449768"/>
                <a:gd name="connsiteY936" fmla="*/ 131141 h 1050628"/>
                <a:gd name="connsiteX937" fmla="*/ 2064362 w 2449768"/>
                <a:gd name="connsiteY937" fmla="*/ 128103 h 1050628"/>
                <a:gd name="connsiteX938" fmla="*/ 2077654 w 2449768"/>
                <a:gd name="connsiteY938" fmla="*/ 136837 h 1050628"/>
                <a:gd name="connsiteX939" fmla="*/ 2071578 w 2449768"/>
                <a:gd name="connsiteY939" fmla="*/ 161142 h 1050628"/>
                <a:gd name="connsiteX940" fmla="*/ 2047273 w 2449768"/>
                <a:gd name="connsiteY940" fmla="*/ 155066 h 1050628"/>
                <a:gd name="connsiteX941" fmla="*/ 2053349 w 2449768"/>
                <a:gd name="connsiteY941" fmla="*/ 130761 h 1050628"/>
                <a:gd name="connsiteX942" fmla="*/ 2064362 w 2449768"/>
                <a:gd name="connsiteY942" fmla="*/ 128103 h 1050628"/>
                <a:gd name="connsiteX943" fmla="*/ 1496245 w 2449768"/>
                <a:gd name="connsiteY943" fmla="*/ 120887 h 1050628"/>
                <a:gd name="connsiteX944" fmla="*/ 1509537 w 2449768"/>
                <a:gd name="connsiteY944" fmla="*/ 130761 h 1050628"/>
                <a:gd name="connsiteX945" fmla="*/ 1503461 w 2449768"/>
                <a:gd name="connsiteY945" fmla="*/ 155066 h 1050628"/>
                <a:gd name="connsiteX946" fmla="*/ 1479156 w 2449768"/>
                <a:gd name="connsiteY946" fmla="*/ 148990 h 1050628"/>
                <a:gd name="connsiteX947" fmla="*/ 1485232 w 2449768"/>
                <a:gd name="connsiteY947" fmla="*/ 124685 h 1050628"/>
                <a:gd name="connsiteX948" fmla="*/ 1496245 w 2449768"/>
                <a:gd name="connsiteY948" fmla="*/ 120887 h 1050628"/>
                <a:gd name="connsiteX949" fmla="*/ 1599539 w 2449768"/>
                <a:gd name="connsiteY949" fmla="*/ 112913 h 1050628"/>
                <a:gd name="connsiteX950" fmla="*/ 1612831 w 2449768"/>
                <a:gd name="connsiteY950" fmla="*/ 121647 h 1050628"/>
                <a:gd name="connsiteX951" fmla="*/ 1606754 w 2449768"/>
                <a:gd name="connsiteY951" fmla="*/ 145952 h 1050628"/>
                <a:gd name="connsiteX952" fmla="*/ 1582450 w 2449768"/>
                <a:gd name="connsiteY952" fmla="*/ 139876 h 1050628"/>
                <a:gd name="connsiteX953" fmla="*/ 1588526 w 2449768"/>
                <a:gd name="connsiteY953" fmla="*/ 115571 h 1050628"/>
                <a:gd name="connsiteX954" fmla="*/ 1599539 w 2449768"/>
                <a:gd name="connsiteY954" fmla="*/ 112913 h 1050628"/>
                <a:gd name="connsiteX955" fmla="*/ 1836508 w 2449768"/>
                <a:gd name="connsiteY955" fmla="*/ 109875 h 1050628"/>
                <a:gd name="connsiteX956" fmla="*/ 1849800 w 2449768"/>
                <a:gd name="connsiteY956" fmla="*/ 118609 h 1050628"/>
                <a:gd name="connsiteX957" fmla="*/ 1843724 w 2449768"/>
                <a:gd name="connsiteY957" fmla="*/ 142914 h 1050628"/>
                <a:gd name="connsiteX958" fmla="*/ 1819419 w 2449768"/>
                <a:gd name="connsiteY958" fmla="*/ 136838 h 1050628"/>
                <a:gd name="connsiteX959" fmla="*/ 1825495 w 2449768"/>
                <a:gd name="connsiteY959" fmla="*/ 112533 h 1050628"/>
                <a:gd name="connsiteX960" fmla="*/ 1836508 w 2449768"/>
                <a:gd name="connsiteY960" fmla="*/ 109875 h 1050628"/>
                <a:gd name="connsiteX961" fmla="*/ 1708529 w 2449768"/>
                <a:gd name="connsiteY961" fmla="*/ 106837 h 1050628"/>
                <a:gd name="connsiteX962" fmla="*/ 1722201 w 2449768"/>
                <a:gd name="connsiteY962" fmla="*/ 115571 h 1050628"/>
                <a:gd name="connsiteX963" fmla="*/ 1716124 w 2449768"/>
                <a:gd name="connsiteY963" fmla="*/ 139876 h 1050628"/>
                <a:gd name="connsiteX964" fmla="*/ 1691820 w 2449768"/>
                <a:gd name="connsiteY964" fmla="*/ 133800 h 1050628"/>
                <a:gd name="connsiteX965" fmla="*/ 1694858 w 2449768"/>
                <a:gd name="connsiteY965" fmla="*/ 109495 h 1050628"/>
                <a:gd name="connsiteX966" fmla="*/ 1708529 w 2449768"/>
                <a:gd name="connsiteY966" fmla="*/ 106837 h 1050628"/>
                <a:gd name="connsiteX967" fmla="*/ 1301429 w 2449768"/>
                <a:gd name="connsiteY967" fmla="*/ 60126 h 1050628"/>
                <a:gd name="connsiteX968" fmla="*/ 1315101 w 2449768"/>
                <a:gd name="connsiteY968" fmla="*/ 70000 h 1050628"/>
                <a:gd name="connsiteX969" fmla="*/ 1309024 w 2449768"/>
                <a:gd name="connsiteY969" fmla="*/ 94305 h 1050628"/>
                <a:gd name="connsiteX970" fmla="*/ 1284720 w 2449768"/>
                <a:gd name="connsiteY970" fmla="*/ 88229 h 1050628"/>
                <a:gd name="connsiteX971" fmla="*/ 1287758 w 2449768"/>
                <a:gd name="connsiteY971" fmla="*/ 63924 h 1050628"/>
                <a:gd name="connsiteX972" fmla="*/ 1301429 w 2449768"/>
                <a:gd name="connsiteY972" fmla="*/ 60126 h 1050628"/>
                <a:gd name="connsiteX973" fmla="*/ 1930687 w 2449768"/>
                <a:gd name="connsiteY973" fmla="*/ 49113 h 1050628"/>
                <a:gd name="connsiteX974" fmla="*/ 1943979 w 2449768"/>
                <a:gd name="connsiteY974" fmla="*/ 57847 h 1050628"/>
                <a:gd name="connsiteX975" fmla="*/ 1937903 w 2449768"/>
                <a:gd name="connsiteY975" fmla="*/ 82152 h 1050628"/>
                <a:gd name="connsiteX976" fmla="*/ 1913598 w 2449768"/>
                <a:gd name="connsiteY976" fmla="*/ 76076 h 1050628"/>
                <a:gd name="connsiteX977" fmla="*/ 1919674 w 2449768"/>
                <a:gd name="connsiteY977" fmla="*/ 51771 h 1050628"/>
                <a:gd name="connsiteX978" fmla="*/ 1930687 w 2449768"/>
                <a:gd name="connsiteY978" fmla="*/ 49113 h 1050628"/>
                <a:gd name="connsiteX979" fmla="*/ 1402065 w 2449768"/>
                <a:gd name="connsiteY979" fmla="*/ 43037 h 1050628"/>
                <a:gd name="connsiteX980" fmla="*/ 1415357 w 2449768"/>
                <a:gd name="connsiteY980" fmla="*/ 51771 h 1050628"/>
                <a:gd name="connsiteX981" fmla="*/ 1409281 w 2449768"/>
                <a:gd name="connsiteY981" fmla="*/ 76076 h 1050628"/>
                <a:gd name="connsiteX982" fmla="*/ 1384976 w 2449768"/>
                <a:gd name="connsiteY982" fmla="*/ 70000 h 1050628"/>
                <a:gd name="connsiteX983" fmla="*/ 1391052 w 2449768"/>
                <a:gd name="connsiteY983" fmla="*/ 45695 h 1050628"/>
                <a:gd name="connsiteX984" fmla="*/ 1402065 w 2449768"/>
                <a:gd name="connsiteY984" fmla="*/ 43037 h 1050628"/>
                <a:gd name="connsiteX985" fmla="*/ 1806127 w 2449768"/>
                <a:gd name="connsiteY985" fmla="*/ 15695 h 1050628"/>
                <a:gd name="connsiteX986" fmla="*/ 1819419 w 2449768"/>
                <a:gd name="connsiteY986" fmla="*/ 24429 h 1050628"/>
                <a:gd name="connsiteX987" fmla="*/ 1813343 w 2449768"/>
                <a:gd name="connsiteY987" fmla="*/ 48734 h 1050628"/>
                <a:gd name="connsiteX988" fmla="*/ 1789038 w 2449768"/>
                <a:gd name="connsiteY988" fmla="*/ 42658 h 1050628"/>
                <a:gd name="connsiteX989" fmla="*/ 1795114 w 2449768"/>
                <a:gd name="connsiteY989" fmla="*/ 18353 h 1050628"/>
                <a:gd name="connsiteX990" fmla="*/ 1806127 w 2449768"/>
                <a:gd name="connsiteY990" fmla="*/ 15695 h 1050628"/>
                <a:gd name="connsiteX991" fmla="*/ 1499283 w 2449768"/>
                <a:gd name="connsiteY991" fmla="*/ 9619 h 1050628"/>
                <a:gd name="connsiteX992" fmla="*/ 1512575 w 2449768"/>
                <a:gd name="connsiteY992" fmla="*/ 18353 h 1050628"/>
                <a:gd name="connsiteX993" fmla="*/ 1506499 w 2449768"/>
                <a:gd name="connsiteY993" fmla="*/ 45696 h 1050628"/>
                <a:gd name="connsiteX994" fmla="*/ 1482194 w 2449768"/>
                <a:gd name="connsiteY994" fmla="*/ 39620 h 1050628"/>
                <a:gd name="connsiteX995" fmla="*/ 1488270 w 2449768"/>
                <a:gd name="connsiteY995" fmla="*/ 12277 h 1050628"/>
                <a:gd name="connsiteX996" fmla="*/ 1499283 w 2449768"/>
                <a:gd name="connsiteY996" fmla="*/ 9619 h 1050628"/>
                <a:gd name="connsiteX997" fmla="*/ 1699795 w 2449768"/>
                <a:gd name="connsiteY997" fmla="*/ 3543 h 1050628"/>
                <a:gd name="connsiteX998" fmla="*/ 1713087 w 2449768"/>
                <a:gd name="connsiteY998" fmla="*/ 12277 h 1050628"/>
                <a:gd name="connsiteX999" fmla="*/ 1707011 w 2449768"/>
                <a:gd name="connsiteY999" fmla="*/ 36582 h 1050628"/>
                <a:gd name="connsiteX1000" fmla="*/ 1682706 w 2449768"/>
                <a:gd name="connsiteY1000" fmla="*/ 30506 h 1050628"/>
                <a:gd name="connsiteX1001" fmla="*/ 1688782 w 2449768"/>
                <a:gd name="connsiteY1001" fmla="*/ 6201 h 1050628"/>
                <a:gd name="connsiteX1002" fmla="*/ 1699795 w 2449768"/>
                <a:gd name="connsiteY1002" fmla="*/ 3543 h 1050628"/>
                <a:gd name="connsiteX1003" fmla="*/ 1599539 w 2449768"/>
                <a:gd name="connsiteY1003" fmla="*/ 504 h 1050628"/>
                <a:gd name="connsiteX1004" fmla="*/ 1612831 w 2449768"/>
                <a:gd name="connsiteY1004" fmla="*/ 9238 h 1050628"/>
                <a:gd name="connsiteX1005" fmla="*/ 1606754 w 2449768"/>
                <a:gd name="connsiteY1005" fmla="*/ 33543 h 1050628"/>
                <a:gd name="connsiteX1006" fmla="*/ 1582450 w 2449768"/>
                <a:gd name="connsiteY1006" fmla="*/ 27467 h 1050628"/>
                <a:gd name="connsiteX1007" fmla="*/ 1588526 w 2449768"/>
                <a:gd name="connsiteY1007" fmla="*/ 3162 h 1050628"/>
                <a:gd name="connsiteX1008" fmla="*/ 1599539 w 2449768"/>
                <a:gd name="connsiteY1008" fmla="*/ 504 h 1050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Lst>
              <a:rect l="l" t="t" r="r" b="b"/>
              <a:pathLst>
                <a:path w="2449768" h="1050628">
                  <a:moveTo>
                    <a:pt x="1553968" y="1045598"/>
                  </a:moveTo>
                  <a:lnTo>
                    <a:pt x="1561623" y="1050628"/>
                  </a:lnTo>
                  <a:lnTo>
                    <a:pt x="1540857" y="1050628"/>
                  </a:lnTo>
                  <a:lnTo>
                    <a:pt x="1542955" y="1048256"/>
                  </a:lnTo>
                  <a:cubicBezTo>
                    <a:pt x="1545993" y="1045218"/>
                    <a:pt x="1549791" y="1044458"/>
                    <a:pt x="1553968" y="1045598"/>
                  </a:cubicBezTo>
                  <a:close/>
                  <a:moveTo>
                    <a:pt x="490647" y="1036483"/>
                  </a:moveTo>
                  <a:cubicBezTo>
                    <a:pt x="494825" y="1037622"/>
                    <a:pt x="499382" y="1040660"/>
                    <a:pt x="503939" y="1045217"/>
                  </a:cubicBezTo>
                  <a:lnTo>
                    <a:pt x="505485" y="1050628"/>
                  </a:lnTo>
                  <a:lnTo>
                    <a:pt x="470645" y="1050628"/>
                  </a:lnTo>
                  <a:lnTo>
                    <a:pt x="469761" y="1046736"/>
                  </a:lnTo>
                  <a:cubicBezTo>
                    <a:pt x="470520" y="1042939"/>
                    <a:pt x="473558" y="1040660"/>
                    <a:pt x="479634" y="1039141"/>
                  </a:cubicBezTo>
                  <a:cubicBezTo>
                    <a:pt x="482672" y="1036103"/>
                    <a:pt x="486470" y="1035343"/>
                    <a:pt x="490647" y="1036483"/>
                  </a:cubicBezTo>
                  <a:close/>
                  <a:moveTo>
                    <a:pt x="326591" y="1030407"/>
                  </a:moveTo>
                  <a:cubicBezTo>
                    <a:pt x="330769" y="1031546"/>
                    <a:pt x="335326" y="1034584"/>
                    <a:pt x="339883" y="1039141"/>
                  </a:cubicBezTo>
                  <a:lnTo>
                    <a:pt x="341999" y="1050628"/>
                  </a:lnTo>
                  <a:lnTo>
                    <a:pt x="308260" y="1050628"/>
                  </a:lnTo>
                  <a:lnTo>
                    <a:pt x="306844" y="1042939"/>
                  </a:lnTo>
                  <a:cubicBezTo>
                    <a:pt x="307983" y="1039141"/>
                    <a:pt x="311021" y="1036103"/>
                    <a:pt x="315578" y="1033065"/>
                  </a:cubicBezTo>
                  <a:cubicBezTo>
                    <a:pt x="318616" y="1030027"/>
                    <a:pt x="322414" y="1029267"/>
                    <a:pt x="326591" y="1030407"/>
                  </a:cubicBezTo>
                  <a:close/>
                  <a:moveTo>
                    <a:pt x="20886" y="1026229"/>
                  </a:moveTo>
                  <a:cubicBezTo>
                    <a:pt x="24684" y="1026989"/>
                    <a:pt x="28482" y="1030027"/>
                    <a:pt x="33039" y="1036103"/>
                  </a:cubicBezTo>
                  <a:cubicBezTo>
                    <a:pt x="37596" y="1040660"/>
                    <a:pt x="38356" y="1045218"/>
                    <a:pt x="36837" y="1049395"/>
                  </a:cubicBezTo>
                  <a:lnTo>
                    <a:pt x="35731" y="1050628"/>
                  </a:lnTo>
                  <a:lnTo>
                    <a:pt x="1976" y="1050628"/>
                  </a:lnTo>
                  <a:lnTo>
                    <a:pt x="0" y="1039901"/>
                  </a:lnTo>
                  <a:cubicBezTo>
                    <a:pt x="1139" y="1036103"/>
                    <a:pt x="4177" y="1033065"/>
                    <a:pt x="8734" y="1030027"/>
                  </a:cubicBezTo>
                  <a:cubicBezTo>
                    <a:pt x="13291" y="1026989"/>
                    <a:pt x="17089" y="1025470"/>
                    <a:pt x="20886" y="1026229"/>
                  </a:cubicBezTo>
                  <a:close/>
                  <a:moveTo>
                    <a:pt x="2100819" y="1024331"/>
                  </a:moveTo>
                  <a:cubicBezTo>
                    <a:pt x="2104997" y="1025470"/>
                    <a:pt x="2109554" y="1028508"/>
                    <a:pt x="2114111" y="1033065"/>
                  </a:cubicBezTo>
                  <a:cubicBezTo>
                    <a:pt x="2118668" y="1037622"/>
                    <a:pt x="2119428" y="1042180"/>
                    <a:pt x="2117909" y="1046357"/>
                  </a:cubicBezTo>
                  <a:lnTo>
                    <a:pt x="2114079" y="1050628"/>
                  </a:lnTo>
                  <a:lnTo>
                    <a:pt x="2083616" y="1050628"/>
                  </a:lnTo>
                  <a:lnTo>
                    <a:pt x="2081072" y="1035724"/>
                  </a:lnTo>
                  <a:cubicBezTo>
                    <a:pt x="2082211" y="1031546"/>
                    <a:pt x="2085249" y="1028508"/>
                    <a:pt x="2089806" y="1026989"/>
                  </a:cubicBezTo>
                  <a:cubicBezTo>
                    <a:pt x="2092844" y="1023951"/>
                    <a:pt x="2096642" y="1023191"/>
                    <a:pt x="2100819" y="1024331"/>
                  </a:cubicBezTo>
                  <a:close/>
                  <a:moveTo>
                    <a:pt x="1192439" y="1024331"/>
                  </a:moveTo>
                  <a:cubicBezTo>
                    <a:pt x="1196617" y="1025470"/>
                    <a:pt x="1201174" y="1028508"/>
                    <a:pt x="1205731" y="1033065"/>
                  </a:cubicBezTo>
                  <a:cubicBezTo>
                    <a:pt x="1210288" y="1037622"/>
                    <a:pt x="1211048" y="1042180"/>
                    <a:pt x="1209529" y="1046357"/>
                  </a:cubicBezTo>
                  <a:lnTo>
                    <a:pt x="1205699" y="1050628"/>
                  </a:lnTo>
                  <a:lnTo>
                    <a:pt x="1175227" y="1050628"/>
                  </a:lnTo>
                  <a:lnTo>
                    <a:pt x="1172692" y="1036863"/>
                  </a:lnTo>
                  <a:cubicBezTo>
                    <a:pt x="1173831" y="1033065"/>
                    <a:pt x="1176869" y="1030027"/>
                    <a:pt x="1181426" y="1026989"/>
                  </a:cubicBezTo>
                  <a:cubicBezTo>
                    <a:pt x="1184464" y="1023951"/>
                    <a:pt x="1188262" y="1023191"/>
                    <a:pt x="1192439" y="1024331"/>
                  </a:cubicBezTo>
                  <a:close/>
                  <a:moveTo>
                    <a:pt x="788376" y="1024331"/>
                  </a:moveTo>
                  <a:cubicBezTo>
                    <a:pt x="792554" y="1025470"/>
                    <a:pt x="797111" y="1028508"/>
                    <a:pt x="801668" y="1033065"/>
                  </a:cubicBezTo>
                  <a:cubicBezTo>
                    <a:pt x="806225" y="1037622"/>
                    <a:pt x="806985" y="1042180"/>
                    <a:pt x="805466" y="1046357"/>
                  </a:cubicBezTo>
                  <a:lnTo>
                    <a:pt x="801636" y="1050628"/>
                  </a:lnTo>
                  <a:lnTo>
                    <a:pt x="771181" y="1050628"/>
                  </a:lnTo>
                  <a:lnTo>
                    <a:pt x="768629" y="1034584"/>
                  </a:lnTo>
                  <a:cubicBezTo>
                    <a:pt x="769768" y="1030787"/>
                    <a:pt x="772806" y="1028508"/>
                    <a:pt x="777363" y="1026989"/>
                  </a:cubicBezTo>
                  <a:cubicBezTo>
                    <a:pt x="780401" y="1023951"/>
                    <a:pt x="784199" y="1023191"/>
                    <a:pt x="788376" y="1024331"/>
                  </a:cubicBezTo>
                  <a:close/>
                  <a:moveTo>
                    <a:pt x="138231" y="1024331"/>
                  </a:moveTo>
                  <a:cubicBezTo>
                    <a:pt x="142409" y="1025470"/>
                    <a:pt x="146966" y="1028508"/>
                    <a:pt x="151523" y="1033065"/>
                  </a:cubicBezTo>
                  <a:cubicBezTo>
                    <a:pt x="156080" y="1037622"/>
                    <a:pt x="156080" y="1042939"/>
                    <a:pt x="154181" y="1047496"/>
                  </a:cubicBezTo>
                  <a:lnTo>
                    <a:pt x="151411" y="1050628"/>
                  </a:lnTo>
                  <a:lnTo>
                    <a:pt x="121019" y="1050628"/>
                  </a:lnTo>
                  <a:lnTo>
                    <a:pt x="118484" y="1036863"/>
                  </a:lnTo>
                  <a:cubicBezTo>
                    <a:pt x="119623" y="1033065"/>
                    <a:pt x="122661" y="1030027"/>
                    <a:pt x="127218" y="1026989"/>
                  </a:cubicBezTo>
                  <a:cubicBezTo>
                    <a:pt x="130256" y="1023951"/>
                    <a:pt x="134054" y="1023191"/>
                    <a:pt x="138231" y="1024331"/>
                  </a:cubicBezTo>
                  <a:close/>
                  <a:moveTo>
                    <a:pt x="894709" y="1021293"/>
                  </a:moveTo>
                  <a:cubicBezTo>
                    <a:pt x="898887" y="1022432"/>
                    <a:pt x="903444" y="1025470"/>
                    <a:pt x="908001" y="1030027"/>
                  </a:cubicBezTo>
                  <a:cubicBezTo>
                    <a:pt x="912558" y="1034584"/>
                    <a:pt x="913318" y="1039142"/>
                    <a:pt x="911799" y="1043319"/>
                  </a:cubicBezTo>
                  <a:lnTo>
                    <a:pt x="905246" y="1050628"/>
                  </a:lnTo>
                  <a:lnTo>
                    <a:pt x="880920" y="1050628"/>
                  </a:lnTo>
                  <a:lnTo>
                    <a:pt x="877620" y="1048256"/>
                  </a:lnTo>
                  <a:cubicBezTo>
                    <a:pt x="871544" y="1033065"/>
                    <a:pt x="871544" y="1026989"/>
                    <a:pt x="883696" y="1023951"/>
                  </a:cubicBezTo>
                  <a:cubicBezTo>
                    <a:pt x="886734" y="1020913"/>
                    <a:pt x="890532" y="1020153"/>
                    <a:pt x="894709" y="1021293"/>
                  </a:cubicBezTo>
                  <a:close/>
                  <a:moveTo>
                    <a:pt x="694197" y="1021293"/>
                  </a:moveTo>
                  <a:cubicBezTo>
                    <a:pt x="698374" y="1022432"/>
                    <a:pt x="702931" y="1025470"/>
                    <a:pt x="707488" y="1030027"/>
                  </a:cubicBezTo>
                  <a:cubicBezTo>
                    <a:pt x="712046" y="1034584"/>
                    <a:pt x="712805" y="1039142"/>
                    <a:pt x="711286" y="1043319"/>
                  </a:cubicBezTo>
                  <a:lnTo>
                    <a:pt x="704733" y="1050628"/>
                  </a:lnTo>
                  <a:lnTo>
                    <a:pt x="680408" y="1050628"/>
                  </a:lnTo>
                  <a:lnTo>
                    <a:pt x="677108" y="1048256"/>
                  </a:lnTo>
                  <a:cubicBezTo>
                    <a:pt x="671032" y="1036103"/>
                    <a:pt x="677108" y="1030027"/>
                    <a:pt x="683184" y="1023951"/>
                  </a:cubicBezTo>
                  <a:cubicBezTo>
                    <a:pt x="686222" y="1020913"/>
                    <a:pt x="690020" y="1020153"/>
                    <a:pt x="694197" y="1021293"/>
                  </a:cubicBezTo>
                  <a:close/>
                  <a:moveTo>
                    <a:pt x="596979" y="1021293"/>
                  </a:moveTo>
                  <a:cubicBezTo>
                    <a:pt x="601157" y="1022432"/>
                    <a:pt x="605714" y="1025470"/>
                    <a:pt x="610271" y="1030027"/>
                  </a:cubicBezTo>
                  <a:cubicBezTo>
                    <a:pt x="614828" y="1034584"/>
                    <a:pt x="615588" y="1039142"/>
                    <a:pt x="614069" y="1043319"/>
                  </a:cubicBezTo>
                  <a:lnTo>
                    <a:pt x="607516" y="1050628"/>
                  </a:lnTo>
                  <a:lnTo>
                    <a:pt x="583190" y="1050628"/>
                  </a:lnTo>
                  <a:lnTo>
                    <a:pt x="579890" y="1048256"/>
                  </a:lnTo>
                  <a:cubicBezTo>
                    <a:pt x="573814" y="1033065"/>
                    <a:pt x="576852" y="1026989"/>
                    <a:pt x="585966" y="1023951"/>
                  </a:cubicBezTo>
                  <a:cubicBezTo>
                    <a:pt x="589004" y="1020913"/>
                    <a:pt x="592802" y="1020153"/>
                    <a:pt x="596979" y="1021293"/>
                  </a:cubicBezTo>
                  <a:close/>
                  <a:moveTo>
                    <a:pt x="1086106" y="1015217"/>
                  </a:moveTo>
                  <a:cubicBezTo>
                    <a:pt x="1090284" y="1016356"/>
                    <a:pt x="1094841" y="1019394"/>
                    <a:pt x="1099398" y="1023951"/>
                  </a:cubicBezTo>
                  <a:cubicBezTo>
                    <a:pt x="1108512" y="1033065"/>
                    <a:pt x="1099398" y="1045218"/>
                    <a:pt x="1093322" y="1048256"/>
                  </a:cubicBezTo>
                  <a:lnTo>
                    <a:pt x="1082478" y="1050628"/>
                  </a:lnTo>
                  <a:lnTo>
                    <a:pt x="1080771" y="1050628"/>
                  </a:lnTo>
                  <a:lnTo>
                    <a:pt x="1069017" y="1042180"/>
                  </a:lnTo>
                  <a:cubicBezTo>
                    <a:pt x="1062941" y="1030027"/>
                    <a:pt x="1065979" y="1023951"/>
                    <a:pt x="1075093" y="1017875"/>
                  </a:cubicBezTo>
                  <a:cubicBezTo>
                    <a:pt x="1078131" y="1014837"/>
                    <a:pt x="1081929" y="1014077"/>
                    <a:pt x="1086106" y="1015217"/>
                  </a:cubicBezTo>
                  <a:close/>
                  <a:moveTo>
                    <a:pt x="1313961" y="1009141"/>
                  </a:moveTo>
                  <a:cubicBezTo>
                    <a:pt x="1318139" y="1010280"/>
                    <a:pt x="1322696" y="1013318"/>
                    <a:pt x="1327253" y="1017875"/>
                  </a:cubicBezTo>
                  <a:cubicBezTo>
                    <a:pt x="1336367" y="1026989"/>
                    <a:pt x="1327253" y="1039142"/>
                    <a:pt x="1321177" y="1042180"/>
                  </a:cubicBezTo>
                  <a:cubicBezTo>
                    <a:pt x="1315101" y="1045218"/>
                    <a:pt x="1302948" y="1048256"/>
                    <a:pt x="1296872" y="1036104"/>
                  </a:cubicBezTo>
                  <a:cubicBezTo>
                    <a:pt x="1290796" y="1023951"/>
                    <a:pt x="1293834" y="1017875"/>
                    <a:pt x="1302948" y="1011799"/>
                  </a:cubicBezTo>
                  <a:cubicBezTo>
                    <a:pt x="1305986" y="1008761"/>
                    <a:pt x="1309784" y="1008001"/>
                    <a:pt x="1313961" y="1009141"/>
                  </a:cubicBezTo>
                  <a:close/>
                  <a:moveTo>
                    <a:pt x="2337788" y="996989"/>
                  </a:moveTo>
                  <a:cubicBezTo>
                    <a:pt x="2341966" y="998128"/>
                    <a:pt x="2346523" y="1001166"/>
                    <a:pt x="2351080" y="1005723"/>
                  </a:cubicBezTo>
                  <a:cubicBezTo>
                    <a:pt x="2360194" y="1014837"/>
                    <a:pt x="2354118" y="1023952"/>
                    <a:pt x="2345004" y="1030028"/>
                  </a:cubicBezTo>
                  <a:cubicBezTo>
                    <a:pt x="2338927" y="1033066"/>
                    <a:pt x="2326775" y="1036104"/>
                    <a:pt x="2320699" y="1023952"/>
                  </a:cubicBezTo>
                  <a:cubicBezTo>
                    <a:pt x="2314623" y="1008761"/>
                    <a:pt x="2317661" y="1002685"/>
                    <a:pt x="2326775" y="999647"/>
                  </a:cubicBezTo>
                  <a:cubicBezTo>
                    <a:pt x="2329813" y="996609"/>
                    <a:pt x="2333611" y="995849"/>
                    <a:pt x="2337788" y="996989"/>
                  </a:cubicBezTo>
                  <a:close/>
                  <a:moveTo>
                    <a:pt x="1429407" y="990912"/>
                  </a:moveTo>
                  <a:cubicBezTo>
                    <a:pt x="1433585" y="992051"/>
                    <a:pt x="1438142" y="995089"/>
                    <a:pt x="1442699" y="999646"/>
                  </a:cubicBezTo>
                  <a:cubicBezTo>
                    <a:pt x="1451813" y="1008760"/>
                    <a:pt x="1445737" y="1017875"/>
                    <a:pt x="1436623" y="1023951"/>
                  </a:cubicBezTo>
                  <a:cubicBezTo>
                    <a:pt x="1430547" y="1026989"/>
                    <a:pt x="1418394" y="1030027"/>
                    <a:pt x="1412318" y="1017875"/>
                  </a:cubicBezTo>
                  <a:cubicBezTo>
                    <a:pt x="1406242" y="1005722"/>
                    <a:pt x="1409280" y="996608"/>
                    <a:pt x="1418394" y="993570"/>
                  </a:cubicBezTo>
                  <a:cubicBezTo>
                    <a:pt x="1421432" y="990532"/>
                    <a:pt x="1425230" y="989772"/>
                    <a:pt x="1429407" y="990912"/>
                  </a:cubicBezTo>
                  <a:close/>
                  <a:moveTo>
                    <a:pt x="1672452" y="987874"/>
                  </a:moveTo>
                  <a:cubicBezTo>
                    <a:pt x="1676630" y="989013"/>
                    <a:pt x="1681187" y="992051"/>
                    <a:pt x="1685744" y="996608"/>
                  </a:cubicBezTo>
                  <a:cubicBezTo>
                    <a:pt x="1694858" y="1005722"/>
                    <a:pt x="1688782" y="1014837"/>
                    <a:pt x="1679668" y="1020913"/>
                  </a:cubicBezTo>
                  <a:cubicBezTo>
                    <a:pt x="1673592" y="1023951"/>
                    <a:pt x="1661439" y="1026989"/>
                    <a:pt x="1655363" y="1014837"/>
                  </a:cubicBezTo>
                  <a:cubicBezTo>
                    <a:pt x="1649287" y="1002684"/>
                    <a:pt x="1649287" y="993570"/>
                    <a:pt x="1661439" y="990532"/>
                  </a:cubicBezTo>
                  <a:cubicBezTo>
                    <a:pt x="1664477" y="987494"/>
                    <a:pt x="1668275" y="986734"/>
                    <a:pt x="1672452" y="987874"/>
                  </a:cubicBezTo>
                  <a:close/>
                  <a:moveTo>
                    <a:pt x="1803089" y="975722"/>
                  </a:moveTo>
                  <a:cubicBezTo>
                    <a:pt x="1807266" y="976861"/>
                    <a:pt x="1811824" y="979899"/>
                    <a:pt x="1816381" y="984456"/>
                  </a:cubicBezTo>
                  <a:cubicBezTo>
                    <a:pt x="1825495" y="993570"/>
                    <a:pt x="1819419" y="1002685"/>
                    <a:pt x="1810305" y="1008761"/>
                  </a:cubicBezTo>
                  <a:cubicBezTo>
                    <a:pt x="1804228" y="1011799"/>
                    <a:pt x="1792076" y="1014837"/>
                    <a:pt x="1786000" y="1002685"/>
                  </a:cubicBezTo>
                  <a:cubicBezTo>
                    <a:pt x="1779924" y="987494"/>
                    <a:pt x="1782962" y="981418"/>
                    <a:pt x="1792076" y="978380"/>
                  </a:cubicBezTo>
                  <a:cubicBezTo>
                    <a:pt x="1795114" y="975342"/>
                    <a:pt x="1798912" y="974582"/>
                    <a:pt x="1803089" y="975722"/>
                  </a:cubicBezTo>
                  <a:close/>
                  <a:moveTo>
                    <a:pt x="2030944" y="969646"/>
                  </a:moveTo>
                  <a:cubicBezTo>
                    <a:pt x="2035121" y="970785"/>
                    <a:pt x="2039679" y="973823"/>
                    <a:pt x="2044236" y="978380"/>
                  </a:cubicBezTo>
                  <a:cubicBezTo>
                    <a:pt x="2053350" y="987494"/>
                    <a:pt x="2047274" y="996609"/>
                    <a:pt x="2038160" y="1002685"/>
                  </a:cubicBezTo>
                  <a:cubicBezTo>
                    <a:pt x="2032083" y="1005723"/>
                    <a:pt x="2019931" y="1008761"/>
                    <a:pt x="2013855" y="996609"/>
                  </a:cubicBezTo>
                  <a:cubicBezTo>
                    <a:pt x="2007779" y="981418"/>
                    <a:pt x="2010817" y="975342"/>
                    <a:pt x="2019931" y="972304"/>
                  </a:cubicBezTo>
                  <a:cubicBezTo>
                    <a:pt x="2022969" y="969266"/>
                    <a:pt x="2026767" y="968506"/>
                    <a:pt x="2030944" y="969646"/>
                  </a:cubicBezTo>
                  <a:close/>
                  <a:moveTo>
                    <a:pt x="405581" y="966608"/>
                  </a:moveTo>
                  <a:cubicBezTo>
                    <a:pt x="409759" y="967747"/>
                    <a:pt x="414316" y="970785"/>
                    <a:pt x="418873" y="975342"/>
                  </a:cubicBezTo>
                  <a:cubicBezTo>
                    <a:pt x="427987" y="984456"/>
                    <a:pt x="418873" y="996609"/>
                    <a:pt x="412797" y="999647"/>
                  </a:cubicBezTo>
                  <a:cubicBezTo>
                    <a:pt x="406721" y="1002685"/>
                    <a:pt x="394568" y="1005723"/>
                    <a:pt x="388492" y="993571"/>
                  </a:cubicBezTo>
                  <a:cubicBezTo>
                    <a:pt x="382416" y="978380"/>
                    <a:pt x="385454" y="972304"/>
                    <a:pt x="394568" y="969266"/>
                  </a:cubicBezTo>
                  <a:cubicBezTo>
                    <a:pt x="397606" y="966228"/>
                    <a:pt x="401404" y="965468"/>
                    <a:pt x="405581" y="966608"/>
                  </a:cubicBezTo>
                  <a:close/>
                  <a:moveTo>
                    <a:pt x="2225380" y="957494"/>
                  </a:moveTo>
                  <a:cubicBezTo>
                    <a:pt x="2229557" y="958633"/>
                    <a:pt x="2234114" y="961671"/>
                    <a:pt x="2238671" y="966228"/>
                  </a:cubicBezTo>
                  <a:cubicBezTo>
                    <a:pt x="2247785" y="975342"/>
                    <a:pt x="2241709" y="984457"/>
                    <a:pt x="2232595" y="990533"/>
                  </a:cubicBezTo>
                  <a:cubicBezTo>
                    <a:pt x="2226519" y="993571"/>
                    <a:pt x="2214366" y="996609"/>
                    <a:pt x="2208290" y="984457"/>
                  </a:cubicBezTo>
                  <a:cubicBezTo>
                    <a:pt x="2202214" y="969266"/>
                    <a:pt x="2202214" y="963190"/>
                    <a:pt x="2214366" y="960152"/>
                  </a:cubicBezTo>
                  <a:cubicBezTo>
                    <a:pt x="2217405" y="957114"/>
                    <a:pt x="2221202" y="956354"/>
                    <a:pt x="2225380" y="957494"/>
                  </a:cubicBezTo>
                  <a:close/>
                  <a:moveTo>
                    <a:pt x="1927649" y="954456"/>
                  </a:moveTo>
                  <a:cubicBezTo>
                    <a:pt x="1931827" y="955595"/>
                    <a:pt x="1936384" y="958633"/>
                    <a:pt x="1940941" y="963190"/>
                  </a:cubicBezTo>
                  <a:cubicBezTo>
                    <a:pt x="1950055" y="972304"/>
                    <a:pt x="1940941" y="984457"/>
                    <a:pt x="1934865" y="987495"/>
                  </a:cubicBezTo>
                  <a:cubicBezTo>
                    <a:pt x="1928788" y="990533"/>
                    <a:pt x="1916636" y="993571"/>
                    <a:pt x="1910560" y="981419"/>
                  </a:cubicBezTo>
                  <a:cubicBezTo>
                    <a:pt x="1904484" y="969266"/>
                    <a:pt x="1907522" y="963190"/>
                    <a:pt x="1916636" y="957114"/>
                  </a:cubicBezTo>
                  <a:cubicBezTo>
                    <a:pt x="1919674" y="954076"/>
                    <a:pt x="1923472" y="953316"/>
                    <a:pt x="1927649" y="954456"/>
                  </a:cubicBezTo>
                  <a:close/>
                  <a:moveTo>
                    <a:pt x="244564" y="954456"/>
                  </a:moveTo>
                  <a:cubicBezTo>
                    <a:pt x="248742" y="955595"/>
                    <a:pt x="253299" y="958633"/>
                    <a:pt x="257856" y="963190"/>
                  </a:cubicBezTo>
                  <a:cubicBezTo>
                    <a:pt x="266970" y="972304"/>
                    <a:pt x="257856" y="984457"/>
                    <a:pt x="251780" y="987495"/>
                  </a:cubicBezTo>
                  <a:cubicBezTo>
                    <a:pt x="245703" y="990533"/>
                    <a:pt x="233551" y="993571"/>
                    <a:pt x="227475" y="981419"/>
                  </a:cubicBezTo>
                  <a:cubicBezTo>
                    <a:pt x="221399" y="969266"/>
                    <a:pt x="224437" y="963190"/>
                    <a:pt x="233551" y="957114"/>
                  </a:cubicBezTo>
                  <a:cubicBezTo>
                    <a:pt x="236589" y="954076"/>
                    <a:pt x="240387" y="953316"/>
                    <a:pt x="244564" y="954456"/>
                  </a:cubicBezTo>
                  <a:close/>
                  <a:moveTo>
                    <a:pt x="2431968" y="951418"/>
                  </a:moveTo>
                  <a:cubicBezTo>
                    <a:pt x="2436146" y="952557"/>
                    <a:pt x="2440703" y="955595"/>
                    <a:pt x="2445260" y="960152"/>
                  </a:cubicBezTo>
                  <a:cubicBezTo>
                    <a:pt x="2454374" y="969266"/>
                    <a:pt x="2448298" y="978381"/>
                    <a:pt x="2439184" y="984457"/>
                  </a:cubicBezTo>
                  <a:cubicBezTo>
                    <a:pt x="2433108" y="987495"/>
                    <a:pt x="2420955" y="990533"/>
                    <a:pt x="2414879" y="978381"/>
                  </a:cubicBezTo>
                  <a:cubicBezTo>
                    <a:pt x="2408803" y="963190"/>
                    <a:pt x="2411841" y="957114"/>
                    <a:pt x="2420955" y="954076"/>
                  </a:cubicBezTo>
                  <a:cubicBezTo>
                    <a:pt x="2423993" y="951038"/>
                    <a:pt x="2427791" y="950278"/>
                    <a:pt x="2431968" y="951418"/>
                  </a:cubicBezTo>
                  <a:close/>
                  <a:moveTo>
                    <a:pt x="1553968" y="948380"/>
                  </a:moveTo>
                  <a:cubicBezTo>
                    <a:pt x="1558145" y="949519"/>
                    <a:pt x="1562702" y="952557"/>
                    <a:pt x="1567259" y="957114"/>
                  </a:cubicBezTo>
                  <a:cubicBezTo>
                    <a:pt x="1576374" y="966228"/>
                    <a:pt x="1570298" y="975343"/>
                    <a:pt x="1561183" y="981419"/>
                  </a:cubicBezTo>
                  <a:cubicBezTo>
                    <a:pt x="1555107" y="984457"/>
                    <a:pt x="1542955" y="987495"/>
                    <a:pt x="1536879" y="975343"/>
                  </a:cubicBezTo>
                  <a:cubicBezTo>
                    <a:pt x="1530803" y="963190"/>
                    <a:pt x="1536879" y="957114"/>
                    <a:pt x="1542955" y="951038"/>
                  </a:cubicBezTo>
                  <a:cubicBezTo>
                    <a:pt x="1545993" y="948000"/>
                    <a:pt x="1549791" y="947240"/>
                    <a:pt x="1553968" y="948380"/>
                  </a:cubicBezTo>
                  <a:close/>
                  <a:moveTo>
                    <a:pt x="1222819" y="933189"/>
                  </a:moveTo>
                  <a:cubicBezTo>
                    <a:pt x="1226997" y="934328"/>
                    <a:pt x="1231554" y="937366"/>
                    <a:pt x="1236111" y="941923"/>
                  </a:cubicBezTo>
                  <a:cubicBezTo>
                    <a:pt x="1245225" y="951037"/>
                    <a:pt x="1239149" y="960152"/>
                    <a:pt x="1230035" y="966228"/>
                  </a:cubicBezTo>
                  <a:cubicBezTo>
                    <a:pt x="1223959" y="969266"/>
                    <a:pt x="1211806" y="972304"/>
                    <a:pt x="1205730" y="960152"/>
                  </a:cubicBezTo>
                  <a:cubicBezTo>
                    <a:pt x="1199654" y="947999"/>
                    <a:pt x="1202692" y="938885"/>
                    <a:pt x="1211806" y="935847"/>
                  </a:cubicBezTo>
                  <a:cubicBezTo>
                    <a:pt x="1214844" y="932809"/>
                    <a:pt x="1218642" y="932049"/>
                    <a:pt x="1222819" y="933189"/>
                  </a:cubicBezTo>
                  <a:close/>
                  <a:moveTo>
                    <a:pt x="1031421" y="930151"/>
                  </a:moveTo>
                  <a:cubicBezTo>
                    <a:pt x="1035599" y="931290"/>
                    <a:pt x="1040156" y="934328"/>
                    <a:pt x="1044713" y="938885"/>
                  </a:cubicBezTo>
                  <a:cubicBezTo>
                    <a:pt x="1053827" y="947999"/>
                    <a:pt x="1047751" y="957114"/>
                    <a:pt x="1038637" y="963190"/>
                  </a:cubicBezTo>
                  <a:cubicBezTo>
                    <a:pt x="1032561" y="966228"/>
                    <a:pt x="1020408" y="969266"/>
                    <a:pt x="1014332" y="957114"/>
                  </a:cubicBezTo>
                  <a:cubicBezTo>
                    <a:pt x="1008256" y="941923"/>
                    <a:pt x="1011294" y="935847"/>
                    <a:pt x="1020408" y="932809"/>
                  </a:cubicBezTo>
                  <a:cubicBezTo>
                    <a:pt x="1023446" y="929771"/>
                    <a:pt x="1027244" y="929011"/>
                    <a:pt x="1031421" y="930151"/>
                  </a:cubicBezTo>
                  <a:close/>
                  <a:moveTo>
                    <a:pt x="931165" y="930151"/>
                  </a:moveTo>
                  <a:cubicBezTo>
                    <a:pt x="935343" y="931290"/>
                    <a:pt x="939900" y="934328"/>
                    <a:pt x="944457" y="938885"/>
                  </a:cubicBezTo>
                  <a:cubicBezTo>
                    <a:pt x="953571" y="947999"/>
                    <a:pt x="947495" y="957114"/>
                    <a:pt x="938381" y="963190"/>
                  </a:cubicBezTo>
                  <a:cubicBezTo>
                    <a:pt x="932305" y="966228"/>
                    <a:pt x="920152" y="969266"/>
                    <a:pt x="914076" y="957114"/>
                  </a:cubicBezTo>
                  <a:cubicBezTo>
                    <a:pt x="908000" y="944961"/>
                    <a:pt x="911038" y="935847"/>
                    <a:pt x="920152" y="932809"/>
                  </a:cubicBezTo>
                  <a:cubicBezTo>
                    <a:pt x="923190" y="929771"/>
                    <a:pt x="926988" y="929011"/>
                    <a:pt x="931165" y="930151"/>
                  </a:cubicBezTo>
                  <a:close/>
                  <a:moveTo>
                    <a:pt x="123041" y="930151"/>
                  </a:moveTo>
                  <a:cubicBezTo>
                    <a:pt x="127219" y="931290"/>
                    <a:pt x="131776" y="934328"/>
                    <a:pt x="136333" y="938885"/>
                  </a:cubicBezTo>
                  <a:cubicBezTo>
                    <a:pt x="145447" y="947999"/>
                    <a:pt x="139371" y="957114"/>
                    <a:pt x="130257" y="963190"/>
                  </a:cubicBezTo>
                  <a:cubicBezTo>
                    <a:pt x="124181" y="966228"/>
                    <a:pt x="112028" y="969266"/>
                    <a:pt x="105952" y="957114"/>
                  </a:cubicBezTo>
                  <a:cubicBezTo>
                    <a:pt x="99876" y="944961"/>
                    <a:pt x="99876" y="935847"/>
                    <a:pt x="112028" y="932809"/>
                  </a:cubicBezTo>
                  <a:cubicBezTo>
                    <a:pt x="115066" y="929771"/>
                    <a:pt x="118864" y="929011"/>
                    <a:pt x="123041" y="930151"/>
                  </a:cubicBezTo>
                  <a:close/>
                  <a:moveTo>
                    <a:pt x="524065" y="917999"/>
                  </a:moveTo>
                  <a:cubicBezTo>
                    <a:pt x="528243" y="919138"/>
                    <a:pt x="532800" y="922176"/>
                    <a:pt x="537357" y="926733"/>
                  </a:cubicBezTo>
                  <a:cubicBezTo>
                    <a:pt x="546471" y="935847"/>
                    <a:pt x="540395" y="944962"/>
                    <a:pt x="531281" y="951038"/>
                  </a:cubicBezTo>
                  <a:cubicBezTo>
                    <a:pt x="525204" y="954076"/>
                    <a:pt x="513052" y="957114"/>
                    <a:pt x="506976" y="944962"/>
                  </a:cubicBezTo>
                  <a:cubicBezTo>
                    <a:pt x="500900" y="932809"/>
                    <a:pt x="500900" y="926733"/>
                    <a:pt x="513052" y="920657"/>
                  </a:cubicBezTo>
                  <a:cubicBezTo>
                    <a:pt x="516090" y="917619"/>
                    <a:pt x="519888" y="916859"/>
                    <a:pt x="524065" y="917999"/>
                  </a:cubicBezTo>
                  <a:close/>
                  <a:moveTo>
                    <a:pt x="824833" y="911923"/>
                  </a:moveTo>
                  <a:cubicBezTo>
                    <a:pt x="829011" y="913062"/>
                    <a:pt x="833568" y="916100"/>
                    <a:pt x="838125" y="920657"/>
                  </a:cubicBezTo>
                  <a:cubicBezTo>
                    <a:pt x="847239" y="929771"/>
                    <a:pt x="841163" y="938886"/>
                    <a:pt x="832049" y="944962"/>
                  </a:cubicBezTo>
                  <a:cubicBezTo>
                    <a:pt x="825973" y="948000"/>
                    <a:pt x="813820" y="951038"/>
                    <a:pt x="807744" y="938886"/>
                  </a:cubicBezTo>
                  <a:cubicBezTo>
                    <a:pt x="801668" y="926733"/>
                    <a:pt x="801668" y="920657"/>
                    <a:pt x="813820" y="914581"/>
                  </a:cubicBezTo>
                  <a:cubicBezTo>
                    <a:pt x="816858" y="911543"/>
                    <a:pt x="820656" y="910783"/>
                    <a:pt x="824833" y="911923"/>
                  </a:cubicBezTo>
                  <a:close/>
                  <a:moveTo>
                    <a:pt x="2137276" y="905847"/>
                  </a:moveTo>
                  <a:cubicBezTo>
                    <a:pt x="2141453" y="906986"/>
                    <a:pt x="2146010" y="910024"/>
                    <a:pt x="2150567" y="914581"/>
                  </a:cubicBezTo>
                  <a:cubicBezTo>
                    <a:pt x="2159682" y="923695"/>
                    <a:pt x="2153605" y="932810"/>
                    <a:pt x="2144491" y="938886"/>
                  </a:cubicBezTo>
                  <a:cubicBezTo>
                    <a:pt x="2138415" y="941924"/>
                    <a:pt x="2126263" y="944962"/>
                    <a:pt x="2120187" y="932810"/>
                  </a:cubicBezTo>
                  <a:cubicBezTo>
                    <a:pt x="2114111" y="917619"/>
                    <a:pt x="2120187" y="914581"/>
                    <a:pt x="2126263" y="908505"/>
                  </a:cubicBezTo>
                  <a:cubicBezTo>
                    <a:pt x="2129301" y="905467"/>
                    <a:pt x="2133099" y="904707"/>
                    <a:pt x="2137276" y="905847"/>
                  </a:cubicBezTo>
                  <a:close/>
                  <a:moveTo>
                    <a:pt x="630397" y="905847"/>
                  </a:moveTo>
                  <a:cubicBezTo>
                    <a:pt x="634575" y="906986"/>
                    <a:pt x="639132" y="910024"/>
                    <a:pt x="643689" y="914581"/>
                  </a:cubicBezTo>
                  <a:cubicBezTo>
                    <a:pt x="652803" y="923695"/>
                    <a:pt x="646727" y="932810"/>
                    <a:pt x="637613" y="938886"/>
                  </a:cubicBezTo>
                  <a:cubicBezTo>
                    <a:pt x="631537" y="941924"/>
                    <a:pt x="619384" y="944962"/>
                    <a:pt x="613308" y="932810"/>
                  </a:cubicBezTo>
                  <a:cubicBezTo>
                    <a:pt x="607232" y="917619"/>
                    <a:pt x="610270" y="911543"/>
                    <a:pt x="619384" y="908505"/>
                  </a:cubicBezTo>
                  <a:cubicBezTo>
                    <a:pt x="622422" y="905467"/>
                    <a:pt x="626220" y="904707"/>
                    <a:pt x="630397" y="905847"/>
                  </a:cubicBezTo>
                  <a:close/>
                  <a:moveTo>
                    <a:pt x="1332189" y="896733"/>
                  </a:moveTo>
                  <a:cubicBezTo>
                    <a:pt x="1336367" y="897872"/>
                    <a:pt x="1340924" y="900910"/>
                    <a:pt x="1345481" y="905467"/>
                  </a:cubicBezTo>
                  <a:cubicBezTo>
                    <a:pt x="1354595" y="914581"/>
                    <a:pt x="1348519" y="923696"/>
                    <a:pt x="1339405" y="929772"/>
                  </a:cubicBezTo>
                  <a:cubicBezTo>
                    <a:pt x="1333328" y="932810"/>
                    <a:pt x="1321176" y="935848"/>
                    <a:pt x="1315100" y="923696"/>
                  </a:cubicBezTo>
                  <a:cubicBezTo>
                    <a:pt x="1309024" y="911543"/>
                    <a:pt x="1312062" y="902429"/>
                    <a:pt x="1321176" y="899391"/>
                  </a:cubicBezTo>
                  <a:cubicBezTo>
                    <a:pt x="1324214" y="896353"/>
                    <a:pt x="1328012" y="895593"/>
                    <a:pt x="1332189" y="896733"/>
                  </a:cubicBezTo>
                  <a:close/>
                  <a:moveTo>
                    <a:pt x="724577" y="890656"/>
                  </a:moveTo>
                  <a:cubicBezTo>
                    <a:pt x="728755" y="891795"/>
                    <a:pt x="733312" y="894833"/>
                    <a:pt x="737869" y="899390"/>
                  </a:cubicBezTo>
                  <a:cubicBezTo>
                    <a:pt x="746983" y="908504"/>
                    <a:pt x="740907" y="917619"/>
                    <a:pt x="731793" y="923695"/>
                  </a:cubicBezTo>
                  <a:cubicBezTo>
                    <a:pt x="725716" y="926733"/>
                    <a:pt x="713564" y="929771"/>
                    <a:pt x="707488" y="917619"/>
                  </a:cubicBezTo>
                  <a:cubicBezTo>
                    <a:pt x="701412" y="902428"/>
                    <a:pt x="704450" y="896352"/>
                    <a:pt x="713564" y="893314"/>
                  </a:cubicBezTo>
                  <a:cubicBezTo>
                    <a:pt x="716602" y="890276"/>
                    <a:pt x="720400" y="889516"/>
                    <a:pt x="724577" y="890656"/>
                  </a:cubicBezTo>
                  <a:close/>
                  <a:moveTo>
                    <a:pt x="1435484" y="884580"/>
                  </a:moveTo>
                  <a:cubicBezTo>
                    <a:pt x="1439662" y="885719"/>
                    <a:pt x="1444219" y="888757"/>
                    <a:pt x="1448776" y="893314"/>
                  </a:cubicBezTo>
                  <a:cubicBezTo>
                    <a:pt x="1457890" y="902428"/>
                    <a:pt x="1451814" y="911543"/>
                    <a:pt x="1442700" y="917619"/>
                  </a:cubicBezTo>
                  <a:cubicBezTo>
                    <a:pt x="1436624" y="920657"/>
                    <a:pt x="1424471" y="923695"/>
                    <a:pt x="1418395" y="911543"/>
                  </a:cubicBezTo>
                  <a:cubicBezTo>
                    <a:pt x="1412319" y="899390"/>
                    <a:pt x="1415357" y="890276"/>
                    <a:pt x="1424471" y="887238"/>
                  </a:cubicBezTo>
                  <a:cubicBezTo>
                    <a:pt x="1427509" y="884200"/>
                    <a:pt x="1431307" y="883440"/>
                    <a:pt x="1435484" y="884580"/>
                  </a:cubicBezTo>
                  <a:close/>
                  <a:moveTo>
                    <a:pt x="1131677" y="884580"/>
                  </a:moveTo>
                  <a:cubicBezTo>
                    <a:pt x="1135855" y="885719"/>
                    <a:pt x="1140412" y="888757"/>
                    <a:pt x="1144969" y="893314"/>
                  </a:cubicBezTo>
                  <a:cubicBezTo>
                    <a:pt x="1154083" y="902428"/>
                    <a:pt x="1144969" y="914581"/>
                    <a:pt x="1138893" y="917619"/>
                  </a:cubicBezTo>
                  <a:cubicBezTo>
                    <a:pt x="1132817" y="920657"/>
                    <a:pt x="1120664" y="923695"/>
                    <a:pt x="1114588" y="911543"/>
                  </a:cubicBezTo>
                  <a:cubicBezTo>
                    <a:pt x="1108512" y="896352"/>
                    <a:pt x="1111550" y="890276"/>
                    <a:pt x="1120664" y="887238"/>
                  </a:cubicBezTo>
                  <a:cubicBezTo>
                    <a:pt x="1123702" y="884200"/>
                    <a:pt x="1127500" y="883440"/>
                    <a:pt x="1131677" y="884580"/>
                  </a:cubicBezTo>
                  <a:close/>
                  <a:moveTo>
                    <a:pt x="1757518" y="881542"/>
                  </a:moveTo>
                  <a:cubicBezTo>
                    <a:pt x="1761695" y="882681"/>
                    <a:pt x="1766253" y="885719"/>
                    <a:pt x="1770810" y="890276"/>
                  </a:cubicBezTo>
                  <a:cubicBezTo>
                    <a:pt x="1779924" y="899390"/>
                    <a:pt x="1773848" y="908505"/>
                    <a:pt x="1764734" y="914581"/>
                  </a:cubicBezTo>
                  <a:cubicBezTo>
                    <a:pt x="1758657" y="917619"/>
                    <a:pt x="1746505" y="920657"/>
                    <a:pt x="1740429" y="908505"/>
                  </a:cubicBezTo>
                  <a:cubicBezTo>
                    <a:pt x="1734353" y="896352"/>
                    <a:pt x="1734353" y="890276"/>
                    <a:pt x="1746505" y="884200"/>
                  </a:cubicBezTo>
                  <a:cubicBezTo>
                    <a:pt x="1749543" y="881162"/>
                    <a:pt x="1753341" y="880402"/>
                    <a:pt x="1757518" y="881542"/>
                  </a:cubicBezTo>
                  <a:close/>
                  <a:moveTo>
                    <a:pt x="1654224" y="881542"/>
                  </a:moveTo>
                  <a:cubicBezTo>
                    <a:pt x="1658402" y="882681"/>
                    <a:pt x="1662959" y="885719"/>
                    <a:pt x="1667516" y="890276"/>
                  </a:cubicBezTo>
                  <a:cubicBezTo>
                    <a:pt x="1676630" y="899390"/>
                    <a:pt x="1670554" y="908505"/>
                    <a:pt x="1661440" y="914581"/>
                  </a:cubicBezTo>
                  <a:cubicBezTo>
                    <a:pt x="1655364" y="917619"/>
                    <a:pt x="1643211" y="920657"/>
                    <a:pt x="1637135" y="908505"/>
                  </a:cubicBezTo>
                  <a:cubicBezTo>
                    <a:pt x="1631059" y="896352"/>
                    <a:pt x="1634097" y="890276"/>
                    <a:pt x="1643211" y="884200"/>
                  </a:cubicBezTo>
                  <a:cubicBezTo>
                    <a:pt x="1646249" y="881162"/>
                    <a:pt x="1650047" y="880402"/>
                    <a:pt x="1654224" y="881542"/>
                  </a:cubicBezTo>
                  <a:close/>
                  <a:moveTo>
                    <a:pt x="2346903" y="878504"/>
                  </a:moveTo>
                  <a:cubicBezTo>
                    <a:pt x="2351080" y="879643"/>
                    <a:pt x="2355637" y="882681"/>
                    <a:pt x="2360194" y="887238"/>
                  </a:cubicBezTo>
                  <a:cubicBezTo>
                    <a:pt x="2369308" y="896352"/>
                    <a:pt x="2363232" y="905467"/>
                    <a:pt x="2354118" y="911543"/>
                  </a:cubicBezTo>
                  <a:cubicBezTo>
                    <a:pt x="2348042" y="914581"/>
                    <a:pt x="2335889" y="917619"/>
                    <a:pt x="2329813" y="905467"/>
                  </a:cubicBezTo>
                  <a:cubicBezTo>
                    <a:pt x="2323737" y="893314"/>
                    <a:pt x="2326775" y="887238"/>
                    <a:pt x="2335889" y="881162"/>
                  </a:cubicBezTo>
                  <a:cubicBezTo>
                    <a:pt x="2338928" y="878124"/>
                    <a:pt x="2342725" y="877364"/>
                    <a:pt x="2346903" y="878504"/>
                  </a:cubicBezTo>
                  <a:close/>
                  <a:moveTo>
                    <a:pt x="320515" y="872428"/>
                  </a:moveTo>
                  <a:cubicBezTo>
                    <a:pt x="324693" y="873567"/>
                    <a:pt x="329250" y="876605"/>
                    <a:pt x="333807" y="881162"/>
                  </a:cubicBezTo>
                  <a:cubicBezTo>
                    <a:pt x="342921" y="890276"/>
                    <a:pt x="336845" y="899391"/>
                    <a:pt x="327731" y="905467"/>
                  </a:cubicBezTo>
                  <a:cubicBezTo>
                    <a:pt x="321654" y="908505"/>
                    <a:pt x="309502" y="911543"/>
                    <a:pt x="303426" y="899391"/>
                  </a:cubicBezTo>
                  <a:cubicBezTo>
                    <a:pt x="297350" y="887238"/>
                    <a:pt x="300388" y="881162"/>
                    <a:pt x="309502" y="875086"/>
                  </a:cubicBezTo>
                  <a:cubicBezTo>
                    <a:pt x="312540" y="872048"/>
                    <a:pt x="316338" y="871288"/>
                    <a:pt x="320515" y="872428"/>
                  </a:cubicBezTo>
                  <a:close/>
                  <a:moveTo>
                    <a:pt x="1876003" y="866352"/>
                  </a:moveTo>
                  <a:cubicBezTo>
                    <a:pt x="1880180" y="867491"/>
                    <a:pt x="1884737" y="870529"/>
                    <a:pt x="1889294" y="875086"/>
                  </a:cubicBezTo>
                  <a:cubicBezTo>
                    <a:pt x="1898408" y="884200"/>
                    <a:pt x="1889294" y="896353"/>
                    <a:pt x="1883218" y="899391"/>
                  </a:cubicBezTo>
                  <a:cubicBezTo>
                    <a:pt x="1877142" y="902429"/>
                    <a:pt x="1864989" y="905467"/>
                    <a:pt x="1858913" y="893315"/>
                  </a:cubicBezTo>
                  <a:cubicBezTo>
                    <a:pt x="1852837" y="878124"/>
                    <a:pt x="1855875" y="872048"/>
                    <a:pt x="1864989" y="869010"/>
                  </a:cubicBezTo>
                  <a:cubicBezTo>
                    <a:pt x="1868028" y="865972"/>
                    <a:pt x="1871825" y="865212"/>
                    <a:pt x="1876003" y="866352"/>
                  </a:cubicBezTo>
                  <a:close/>
                  <a:moveTo>
                    <a:pt x="2000563" y="857238"/>
                  </a:moveTo>
                  <a:cubicBezTo>
                    <a:pt x="2004740" y="858377"/>
                    <a:pt x="2009298" y="861415"/>
                    <a:pt x="2013855" y="865972"/>
                  </a:cubicBezTo>
                  <a:cubicBezTo>
                    <a:pt x="2022969" y="875086"/>
                    <a:pt x="2013855" y="887239"/>
                    <a:pt x="2007779" y="890277"/>
                  </a:cubicBezTo>
                  <a:cubicBezTo>
                    <a:pt x="2001702" y="893315"/>
                    <a:pt x="1989550" y="896353"/>
                    <a:pt x="1983474" y="884201"/>
                  </a:cubicBezTo>
                  <a:cubicBezTo>
                    <a:pt x="1977398" y="872048"/>
                    <a:pt x="1980436" y="865972"/>
                    <a:pt x="1989550" y="859896"/>
                  </a:cubicBezTo>
                  <a:cubicBezTo>
                    <a:pt x="1992588" y="856858"/>
                    <a:pt x="1996386" y="856098"/>
                    <a:pt x="2000563" y="857238"/>
                  </a:cubicBezTo>
                  <a:close/>
                  <a:moveTo>
                    <a:pt x="420771" y="857238"/>
                  </a:moveTo>
                  <a:cubicBezTo>
                    <a:pt x="424948" y="858377"/>
                    <a:pt x="429505" y="861415"/>
                    <a:pt x="434062" y="865972"/>
                  </a:cubicBezTo>
                  <a:cubicBezTo>
                    <a:pt x="443177" y="875086"/>
                    <a:pt x="437101" y="884201"/>
                    <a:pt x="427986" y="890277"/>
                  </a:cubicBezTo>
                  <a:cubicBezTo>
                    <a:pt x="421910" y="893315"/>
                    <a:pt x="409758" y="896353"/>
                    <a:pt x="403682" y="884201"/>
                  </a:cubicBezTo>
                  <a:cubicBezTo>
                    <a:pt x="397606" y="872048"/>
                    <a:pt x="403682" y="865972"/>
                    <a:pt x="409758" y="859896"/>
                  </a:cubicBezTo>
                  <a:cubicBezTo>
                    <a:pt x="412796" y="856858"/>
                    <a:pt x="416594" y="856098"/>
                    <a:pt x="420771" y="857238"/>
                  </a:cubicBezTo>
                  <a:close/>
                  <a:moveTo>
                    <a:pt x="2237532" y="848124"/>
                  </a:moveTo>
                  <a:cubicBezTo>
                    <a:pt x="2241710" y="849263"/>
                    <a:pt x="2246267" y="852301"/>
                    <a:pt x="2250824" y="856858"/>
                  </a:cubicBezTo>
                  <a:cubicBezTo>
                    <a:pt x="2259938" y="865972"/>
                    <a:pt x="2250824" y="878125"/>
                    <a:pt x="2244748" y="881163"/>
                  </a:cubicBezTo>
                  <a:cubicBezTo>
                    <a:pt x="2238672" y="884201"/>
                    <a:pt x="2226519" y="887239"/>
                    <a:pt x="2220443" y="875087"/>
                  </a:cubicBezTo>
                  <a:cubicBezTo>
                    <a:pt x="2214367" y="859896"/>
                    <a:pt x="2217405" y="853820"/>
                    <a:pt x="2226519" y="850782"/>
                  </a:cubicBezTo>
                  <a:cubicBezTo>
                    <a:pt x="2229557" y="847744"/>
                    <a:pt x="2233355" y="846984"/>
                    <a:pt x="2237532" y="848124"/>
                  </a:cubicBezTo>
                  <a:close/>
                  <a:moveTo>
                    <a:pt x="211145" y="848124"/>
                  </a:moveTo>
                  <a:cubicBezTo>
                    <a:pt x="215322" y="849263"/>
                    <a:pt x="219879" y="852301"/>
                    <a:pt x="224436" y="856858"/>
                  </a:cubicBezTo>
                  <a:cubicBezTo>
                    <a:pt x="233551" y="865972"/>
                    <a:pt x="227475" y="875087"/>
                    <a:pt x="218360" y="881163"/>
                  </a:cubicBezTo>
                  <a:cubicBezTo>
                    <a:pt x="212284" y="884201"/>
                    <a:pt x="200132" y="887239"/>
                    <a:pt x="194056" y="875087"/>
                  </a:cubicBezTo>
                  <a:cubicBezTo>
                    <a:pt x="187980" y="859896"/>
                    <a:pt x="194056" y="856858"/>
                    <a:pt x="200132" y="850782"/>
                  </a:cubicBezTo>
                  <a:cubicBezTo>
                    <a:pt x="203170" y="847744"/>
                    <a:pt x="206967" y="846984"/>
                    <a:pt x="211145" y="848124"/>
                  </a:cubicBezTo>
                  <a:close/>
                  <a:moveTo>
                    <a:pt x="1511435" y="839009"/>
                  </a:moveTo>
                  <a:cubicBezTo>
                    <a:pt x="1515613" y="840148"/>
                    <a:pt x="1520170" y="843186"/>
                    <a:pt x="1524727" y="847743"/>
                  </a:cubicBezTo>
                  <a:cubicBezTo>
                    <a:pt x="1533841" y="856857"/>
                    <a:pt x="1527765" y="865972"/>
                    <a:pt x="1518651" y="872048"/>
                  </a:cubicBezTo>
                  <a:cubicBezTo>
                    <a:pt x="1512575" y="875086"/>
                    <a:pt x="1500422" y="878124"/>
                    <a:pt x="1494346" y="865972"/>
                  </a:cubicBezTo>
                  <a:cubicBezTo>
                    <a:pt x="1488270" y="850781"/>
                    <a:pt x="1491308" y="844705"/>
                    <a:pt x="1500422" y="841667"/>
                  </a:cubicBezTo>
                  <a:cubicBezTo>
                    <a:pt x="1503460" y="838629"/>
                    <a:pt x="1507258" y="837869"/>
                    <a:pt x="1511435" y="839009"/>
                  </a:cubicBezTo>
                  <a:close/>
                  <a:moveTo>
                    <a:pt x="1253200" y="826857"/>
                  </a:moveTo>
                  <a:cubicBezTo>
                    <a:pt x="1257378" y="827996"/>
                    <a:pt x="1261935" y="831034"/>
                    <a:pt x="1266492" y="835591"/>
                  </a:cubicBezTo>
                  <a:cubicBezTo>
                    <a:pt x="1275606" y="844705"/>
                    <a:pt x="1269530" y="853820"/>
                    <a:pt x="1260416" y="859896"/>
                  </a:cubicBezTo>
                  <a:cubicBezTo>
                    <a:pt x="1254340" y="862934"/>
                    <a:pt x="1242187" y="865972"/>
                    <a:pt x="1236111" y="853820"/>
                  </a:cubicBezTo>
                  <a:cubicBezTo>
                    <a:pt x="1230035" y="841667"/>
                    <a:pt x="1233073" y="832553"/>
                    <a:pt x="1242187" y="829515"/>
                  </a:cubicBezTo>
                  <a:cubicBezTo>
                    <a:pt x="1245225" y="826477"/>
                    <a:pt x="1249023" y="825717"/>
                    <a:pt x="1253200" y="826857"/>
                  </a:cubicBezTo>
                  <a:close/>
                  <a:moveTo>
                    <a:pt x="2428930" y="814705"/>
                  </a:moveTo>
                  <a:cubicBezTo>
                    <a:pt x="2433107" y="815844"/>
                    <a:pt x="2437664" y="818882"/>
                    <a:pt x="2442221" y="823439"/>
                  </a:cubicBezTo>
                  <a:cubicBezTo>
                    <a:pt x="2451336" y="832553"/>
                    <a:pt x="2445259" y="841668"/>
                    <a:pt x="2436145" y="847744"/>
                  </a:cubicBezTo>
                  <a:cubicBezTo>
                    <a:pt x="2430069" y="850782"/>
                    <a:pt x="2417917" y="853820"/>
                    <a:pt x="2411841" y="841668"/>
                  </a:cubicBezTo>
                  <a:cubicBezTo>
                    <a:pt x="2405765" y="829515"/>
                    <a:pt x="2411841" y="823439"/>
                    <a:pt x="2417917" y="817363"/>
                  </a:cubicBezTo>
                  <a:cubicBezTo>
                    <a:pt x="2420955" y="814325"/>
                    <a:pt x="2424753" y="813565"/>
                    <a:pt x="2428930" y="814705"/>
                  </a:cubicBezTo>
                  <a:close/>
                  <a:moveTo>
                    <a:pt x="991927" y="814705"/>
                  </a:moveTo>
                  <a:cubicBezTo>
                    <a:pt x="996104" y="815844"/>
                    <a:pt x="1000661" y="818882"/>
                    <a:pt x="1005218" y="823439"/>
                  </a:cubicBezTo>
                  <a:cubicBezTo>
                    <a:pt x="1014333" y="832553"/>
                    <a:pt x="1005218" y="844706"/>
                    <a:pt x="999142" y="847744"/>
                  </a:cubicBezTo>
                  <a:cubicBezTo>
                    <a:pt x="993066" y="850782"/>
                    <a:pt x="980914" y="853820"/>
                    <a:pt x="974838" y="841668"/>
                  </a:cubicBezTo>
                  <a:cubicBezTo>
                    <a:pt x="968762" y="829515"/>
                    <a:pt x="974838" y="823439"/>
                    <a:pt x="980914" y="817363"/>
                  </a:cubicBezTo>
                  <a:cubicBezTo>
                    <a:pt x="983952" y="814325"/>
                    <a:pt x="987750" y="813565"/>
                    <a:pt x="991927" y="814705"/>
                  </a:cubicBezTo>
                  <a:close/>
                  <a:moveTo>
                    <a:pt x="894709" y="814705"/>
                  </a:moveTo>
                  <a:cubicBezTo>
                    <a:pt x="898887" y="815844"/>
                    <a:pt x="903444" y="818882"/>
                    <a:pt x="908001" y="823439"/>
                  </a:cubicBezTo>
                  <a:cubicBezTo>
                    <a:pt x="917115" y="832553"/>
                    <a:pt x="911039" y="841668"/>
                    <a:pt x="901925" y="847744"/>
                  </a:cubicBezTo>
                  <a:cubicBezTo>
                    <a:pt x="895849" y="850782"/>
                    <a:pt x="883696" y="853820"/>
                    <a:pt x="877620" y="841668"/>
                  </a:cubicBezTo>
                  <a:cubicBezTo>
                    <a:pt x="871544" y="829515"/>
                    <a:pt x="874582" y="823439"/>
                    <a:pt x="883696" y="817363"/>
                  </a:cubicBezTo>
                  <a:cubicBezTo>
                    <a:pt x="886734" y="814325"/>
                    <a:pt x="890532" y="813565"/>
                    <a:pt x="894709" y="814705"/>
                  </a:cubicBezTo>
                  <a:close/>
                  <a:moveTo>
                    <a:pt x="2088668" y="805591"/>
                  </a:moveTo>
                  <a:cubicBezTo>
                    <a:pt x="2092845" y="806730"/>
                    <a:pt x="2097402" y="809768"/>
                    <a:pt x="2101959" y="814325"/>
                  </a:cubicBezTo>
                  <a:cubicBezTo>
                    <a:pt x="2111073" y="823439"/>
                    <a:pt x="2104997" y="832554"/>
                    <a:pt x="2095883" y="838630"/>
                  </a:cubicBezTo>
                  <a:cubicBezTo>
                    <a:pt x="2089807" y="841668"/>
                    <a:pt x="2077654" y="844706"/>
                    <a:pt x="2071578" y="832554"/>
                  </a:cubicBezTo>
                  <a:cubicBezTo>
                    <a:pt x="2065502" y="817363"/>
                    <a:pt x="2068540" y="811287"/>
                    <a:pt x="2077654" y="808249"/>
                  </a:cubicBezTo>
                  <a:cubicBezTo>
                    <a:pt x="2080693" y="805211"/>
                    <a:pt x="2084490" y="804451"/>
                    <a:pt x="2088668" y="805591"/>
                  </a:cubicBezTo>
                  <a:close/>
                  <a:moveTo>
                    <a:pt x="575712" y="802553"/>
                  </a:moveTo>
                  <a:cubicBezTo>
                    <a:pt x="579890" y="803692"/>
                    <a:pt x="584447" y="806730"/>
                    <a:pt x="589004" y="811287"/>
                  </a:cubicBezTo>
                  <a:cubicBezTo>
                    <a:pt x="598118" y="820401"/>
                    <a:pt x="589004" y="832554"/>
                    <a:pt x="582928" y="835592"/>
                  </a:cubicBezTo>
                  <a:cubicBezTo>
                    <a:pt x="576852" y="838630"/>
                    <a:pt x="564699" y="841668"/>
                    <a:pt x="558623" y="829516"/>
                  </a:cubicBezTo>
                  <a:cubicBezTo>
                    <a:pt x="552547" y="817363"/>
                    <a:pt x="555585" y="811287"/>
                    <a:pt x="564699" y="805211"/>
                  </a:cubicBezTo>
                  <a:cubicBezTo>
                    <a:pt x="567737" y="802173"/>
                    <a:pt x="571535" y="801413"/>
                    <a:pt x="575712" y="802553"/>
                  </a:cubicBezTo>
                  <a:close/>
                  <a:moveTo>
                    <a:pt x="1602577" y="796477"/>
                  </a:moveTo>
                  <a:cubicBezTo>
                    <a:pt x="1606755" y="797616"/>
                    <a:pt x="1611312" y="800654"/>
                    <a:pt x="1615869" y="805211"/>
                  </a:cubicBezTo>
                  <a:cubicBezTo>
                    <a:pt x="1624983" y="814325"/>
                    <a:pt x="1615869" y="826478"/>
                    <a:pt x="1609793" y="829516"/>
                  </a:cubicBezTo>
                  <a:cubicBezTo>
                    <a:pt x="1603717" y="832554"/>
                    <a:pt x="1591564" y="835592"/>
                    <a:pt x="1585488" y="823440"/>
                  </a:cubicBezTo>
                  <a:cubicBezTo>
                    <a:pt x="1579412" y="811287"/>
                    <a:pt x="1582450" y="805211"/>
                    <a:pt x="1591564" y="799135"/>
                  </a:cubicBezTo>
                  <a:cubicBezTo>
                    <a:pt x="1594602" y="796097"/>
                    <a:pt x="1598400" y="795337"/>
                    <a:pt x="1602577" y="796477"/>
                  </a:cubicBezTo>
                  <a:close/>
                  <a:moveTo>
                    <a:pt x="1104335" y="793438"/>
                  </a:moveTo>
                  <a:cubicBezTo>
                    <a:pt x="1108513" y="794577"/>
                    <a:pt x="1113070" y="797615"/>
                    <a:pt x="1117627" y="802172"/>
                  </a:cubicBezTo>
                  <a:cubicBezTo>
                    <a:pt x="1126741" y="811286"/>
                    <a:pt x="1117627" y="823439"/>
                    <a:pt x="1111551" y="826477"/>
                  </a:cubicBezTo>
                  <a:cubicBezTo>
                    <a:pt x="1105474" y="829515"/>
                    <a:pt x="1093322" y="832553"/>
                    <a:pt x="1087246" y="820401"/>
                  </a:cubicBezTo>
                  <a:cubicBezTo>
                    <a:pt x="1081170" y="805210"/>
                    <a:pt x="1084208" y="799134"/>
                    <a:pt x="1093322" y="796096"/>
                  </a:cubicBezTo>
                  <a:cubicBezTo>
                    <a:pt x="1096360" y="793058"/>
                    <a:pt x="1100158" y="792298"/>
                    <a:pt x="1104335" y="793438"/>
                  </a:cubicBezTo>
                  <a:close/>
                  <a:moveTo>
                    <a:pt x="791415" y="793438"/>
                  </a:moveTo>
                  <a:cubicBezTo>
                    <a:pt x="795593" y="794577"/>
                    <a:pt x="800150" y="797615"/>
                    <a:pt x="804707" y="802172"/>
                  </a:cubicBezTo>
                  <a:cubicBezTo>
                    <a:pt x="813821" y="811286"/>
                    <a:pt x="807745" y="820401"/>
                    <a:pt x="798631" y="826477"/>
                  </a:cubicBezTo>
                  <a:cubicBezTo>
                    <a:pt x="792555" y="829515"/>
                    <a:pt x="780402" y="832553"/>
                    <a:pt x="774326" y="820401"/>
                  </a:cubicBezTo>
                  <a:cubicBezTo>
                    <a:pt x="768250" y="805210"/>
                    <a:pt x="771288" y="799134"/>
                    <a:pt x="780402" y="796096"/>
                  </a:cubicBezTo>
                  <a:cubicBezTo>
                    <a:pt x="783440" y="793058"/>
                    <a:pt x="787238" y="792298"/>
                    <a:pt x="791415" y="793438"/>
                  </a:cubicBezTo>
                  <a:close/>
                  <a:moveTo>
                    <a:pt x="1371684" y="784324"/>
                  </a:moveTo>
                  <a:cubicBezTo>
                    <a:pt x="1375862" y="785463"/>
                    <a:pt x="1380419" y="788501"/>
                    <a:pt x="1384976" y="793058"/>
                  </a:cubicBezTo>
                  <a:cubicBezTo>
                    <a:pt x="1394090" y="802172"/>
                    <a:pt x="1384976" y="814325"/>
                    <a:pt x="1378900" y="817363"/>
                  </a:cubicBezTo>
                  <a:cubicBezTo>
                    <a:pt x="1372824" y="820401"/>
                    <a:pt x="1360671" y="823439"/>
                    <a:pt x="1354595" y="811287"/>
                  </a:cubicBezTo>
                  <a:cubicBezTo>
                    <a:pt x="1348519" y="796096"/>
                    <a:pt x="1351557" y="790020"/>
                    <a:pt x="1360671" y="786982"/>
                  </a:cubicBezTo>
                  <a:cubicBezTo>
                    <a:pt x="1363709" y="783944"/>
                    <a:pt x="1367507" y="783184"/>
                    <a:pt x="1371684" y="784324"/>
                  </a:cubicBezTo>
                  <a:close/>
                  <a:moveTo>
                    <a:pt x="472418" y="781286"/>
                  </a:moveTo>
                  <a:cubicBezTo>
                    <a:pt x="476596" y="782425"/>
                    <a:pt x="481153" y="785463"/>
                    <a:pt x="485710" y="790020"/>
                  </a:cubicBezTo>
                  <a:cubicBezTo>
                    <a:pt x="494824" y="799134"/>
                    <a:pt x="488748" y="808249"/>
                    <a:pt x="479634" y="814325"/>
                  </a:cubicBezTo>
                  <a:cubicBezTo>
                    <a:pt x="473557" y="817363"/>
                    <a:pt x="461405" y="820401"/>
                    <a:pt x="455329" y="808249"/>
                  </a:cubicBezTo>
                  <a:cubicBezTo>
                    <a:pt x="449253" y="796096"/>
                    <a:pt x="452291" y="790020"/>
                    <a:pt x="461405" y="783944"/>
                  </a:cubicBezTo>
                  <a:cubicBezTo>
                    <a:pt x="464443" y="780906"/>
                    <a:pt x="468241" y="780146"/>
                    <a:pt x="472418" y="781286"/>
                  </a:cubicBezTo>
                  <a:close/>
                  <a:moveTo>
                    <a:pt x="1803089" y="778248"/>
                  </a:moveTo>
                  <a:cubicBezTo>
                    <a:pt x="1807266" y="779387"/>
                    <a:pt x="1811824" y="782425"/>
                    <a:pt x="1816381" y="786982"/>
                  </a:cubicBezTo>
                  <a:cubicBezTo>
                    <a:pt x="1825495" y="796096"/>
                    <a:pt x="1816381" y="808249"/>
                    <a:pt x="1810305" y="811287"/>
                  </a:cubicBezTo>
                  <a:cubicBezTo>
                    <a:pt x="1804228" y="814325"/>
                    <a:pt x="1792076" y="817363"/>
                    <a:pt x="1786000" y="805211"/>
                  </a:cubicBezTo>
                  <a:cubicBezTo>
                    <a:pt x="1779924" y="793058"/>
                    <a:pt x="1779924" y="786982"/>
                    <a:pt x="1792076" y="780906"/>
                  </a:cubicBezTo>
                  <a:cubicBezTo>
                    <a:pt x="1795114" y="777868"/>
                    <a:pt x="1798912" y="777108"/>
                    <a:pt x="1803089" y="778248"/>
                  </a:cubicBezTo>
                  <a:close/>
                  <a:moveTo>
                    <a:pt x="675968" y="772172"/>
                  </a:moveTo>
                  <a:cubicBezTo>
                    <a:pt x="680146" y="773311"/>
                    <a:pt x="684703" y="776349"/>
                    <a:pt x="689260" y="780906"/>
                  </a:cubicBezTo>
                  <a:cubicBezTo>
                    <a:pt x="698374" y="790020"/>
                    <a:pt x="689260" y="802173"/>
                    <a:pt x="683184" y="805211"/>
                  </a:cubicBezTo>
                  <a:cubicBezTo>
                    <a:pt x="677107" y="808249"/>
                    <a:pt x="664955" y="811287"/>
                    <a:pt x="658879" y="799135"/>
                  </a:cubicBezTo>
                  <a:cubicBezTo>
                    <a:pt x="652803" y="786982"/>
                    <a:pt x="652803" y="780906"/>
                    <a:pt x="664955" y="774830"/>
                  </a:cubicBezTo>
                  <a:cubicBezTo>
                    <a:pt x="667993" y="771792"/>
                    <a:pt x="671791" y="771032"/>
                    <a:pt x="675968" y="772172"/>
                  </a:cubicBezTo>
                  <a:close/>
                  <a:moveTo>
                    <a:pt x="302287" y="769134"/>
                  </a:moveTo>
                  <a:cubicBezTo>
                    <a:pt x="306465" y="770273"/>
                    <a:pt x="311022" y="773311"/>
                    <a:pt x="315579" y="777868"/>
                  </a:cubicBezTo>
                  <a:cubicBezTo>
                    <a:pt x="324693" y="786982"/>
                    <a:pt x="318617" y="796097"/>
                    <a:pt x="309503" y="802173"/>
                  </a:cubicBezTo>
                  <a:cubicBezTo>
                    <a:pt x="303427" y="805211"/>
                    <a:pt x="291274" y="808249"/>
                    <a:pt x="285198" y="796097"/>
                  </a:cubicBezTo>
                  <a:cubicBezTo>
                    <a:pt x="279122" y="780906"/>
                    <a:pt x="282160" y="774830"/>
                    <a:pt x="291274" y="771792"/>
                  </a:cubicBezTo>
                  <a:cubicBezTo>
                    <a:pt x="294312" y="768754"/>
                    <a:pt x="298110" y="767994"/>
                    <a:pt x="302287" y="769134"/>
                  </a:cubicBezTo>
                  <a:close/>
                  <a:moveTo>
                    <a:pt x="2313484" y="766096"/>
                  </a:moveTo>
                  <a:cubicBezTo>
                    <a:pt x="2317661" y="767235"/>
                    <a:pt x="2322218" y="770273"/>
                    <a:pt x="2326775" y="774830"/>
                  </a:cubicBezTo>
                  <a:cubicBezTo>
                    <a:pt x="2335890" y="783944"/>
                    <a:pt x="2329814" y="793059"/>
                    <a:pt x="2320699" y="799135"/>
                  </a:cubicBezTo>
                  <a:cubicBezTo>
                    <a:pt x="2314623" y="802173"/>
                    <a:pt x="2302471" y="805211"/>
                    <a:pt x="2296395" y="793059"/>
                  </a:cubicBezTo>
                  <a:cubicBezTo>
                    <a:pt x="2290319" y="780906"/>
                    <a:pt x="2296395" y="774830"/>
                    <a:pt x="2302471" y="768754"/>
                  </a:cubicBezTo>
                  <a:cubicBezTo>
                    <a:pt x="2305509" y="765716"/>
                    <a:pt x="2309307" y="764956"/>
                    <a:pt x="2313484" y="766096"/>
                  </a:cubicBezTo>
                  <a:close/>
                  <a:moveTo>
                    <a:pt x="1921574" y="766096"/>
                  </a:moveTo>
                  <a:cubicBezTo>
                    <a:pt x="1925751" y="767235"/>
                    <a:pt x="1930308" y="770273"/>
                    <a:pt x="1934865" y="774830"/>
                  </a:cubicBezTo>
                  <a:cubicBezTo>
                    <a:pt x="1943980" y="783944"/>
                    <a:pt x="1934865" y="796097"/>
                    <a:pt x="1928789" y="799135"/>
                  </a:cubicBezTo>
                  <a:cubicBezTo>
                    <a:pt x="1922713" y="802173"/>
                    <a:pt x="1910561" y="805211"/>
                    <a:pt x="1904485" y="793059"/>
                  </a:cubicBezTo>
                  <a:cubicBezTo>
                    <a:pt x="1898409" y="780906"/>
                    <a:pt x="1904485" y="774830"/>
                    <a:pt x="1910561" y="768754"/>
                  </a:cubicBezTo>
                  <a:cubicBezTo>
                    <a:pt x="1913599" y="765716"/>
                    <a:pt x="1917397" y="764956"/>
                    <a:pt x="1921574" y="766096"/>
                  </a:cubicBezTo>
                  <a:close/>
                  <a:moveTo>
                    <a:pt x="2176771" y="756982"/>
                  </a:moveTo>
                  <a:cubicBezTo>
                    <a:pt x="2180948" y="758121"/>
                    <a:pt x="2185505" y="761159"/>
                    <a:pt x="2190062" y="765716"/>
                  </a:cubicBezTo>
                  <a:cubicBezTo>
                    <a:pt x="2199177" y="774830"/>
                    <a:pt x="2190062" y="786983"/>
                    <a:pt x="2183986" y="790021"/>
                  </a:cubicBezTo>
                  <a:cubicBezTo>
                    <a:pt x="2177910" y="793059"/>
                    <a:pt x="2165758" y="796097"/>
                    <a:pt x="2159682" y="783945"/>
                  </a:cubicBezTo>
                  <a:cubicBezTo>
                    <a:pt x="2153606" y="771792"/>
                    <a:pt x="2159682" y="765716"/>
                    <a:pt x="2165758" y="759640"/>
                  </a:cubicBezTo>
                  <a:cubicBezTo>
                    <a:pt x="2168796" y="756602"/>
                    <a:pt x="2172594" y="755842"/>
                    <a:pt x="2176771" y="756982"/>
                  </a:cubicBezTo>
                  <a:close/>
                  <a:moveTo>
                    <a:pt x="1702833" y="750906"/>
                  </a:moveTo>
                  <a:cubicBezTo>
                    <a:pt x="1707011" y="752045"/>
                    <a:pt x="1711568" y="755083"/>
                    <a:pt x="1716125" y="759640"/>
                  </a:cubicBezTo>
                  <a:cubicBezTo>
                    <a:pt x="1725239" y="768754"/>
                    <a:pt x="1716125" y="780907"/>
                    <a:pt x="1710049" y="783945"/>
                  </a:cubicBezTo>
                  <a:cubicBezTo>
                    <a:pt x="1703973" y="786983"/>
                    <a:pt x="1691820" y="790021"/>
                    <a:pt x="1685744" y="777869"/>
                  </a:cubicBezTo>
                  <a:cubicBezTo>
                    <a:pt x="1679668" y="765716"/>
                    <a:pt x="1682706" y="759640"/>
                    <a:pt x="1691820" y="753564"/>
                  </a:cubicBezTo>
                  <a:cubicBezTo>
                    <a:pt x="1694858" y="750526"/>
                    <a:pt x="1698656" y="749766"/>
                    <a:pt x="1702833" y="750906"/>
                  </a:cubicBezTo>
                  <a:close/>
                  <a:moveTo>
                    <a:pt x="1210667" y="741791"/>
                  </a:moveTo>
                  <a:cubicBezTo>
                    <a:pt x="1214845" y="742930"/>
                    <a:pt x="1219402" y="745968"/>
                    <a:pt x="1223959" y="750525"/>
                  </a:cubicBezTo>
                  <a:cubicBezTo>
                    <a:pt x="1233073" y="759639"/>
                    <a:pt x="1226997" y="768754"/>
                    <a:pt x="1217883" y="774830"/>
                  </a:cubicBezTo>
                  <a:cubicBezTo>
                    <a:pt x="1211806" y="777868"/>
                    <a:pt x="1199654" y="780906"/>
                    <a:pt x="1193578" y="768754"/>
                  </a:cubicBezTo>
                  <a:cubicBezTo>
                    <a:pt x="1187502" y="753563"/>
                    <a:pt x="1190540" y="747487"/>
                    <a:pt x="1199654" y="744449"/>
                  </a:cubicBezTo>
                  <a:cubicBezTo>
                    <a:pt x="1202692" y="741411"/>
                    <a:pt x="1206490" y="740651"/>
                    <a:pt x="1210667" y="741791"/>
                  </a:cubicBezTo>
                  <a:close/>
                  <a:moveTo>
                    <a:pt x="1450674" y="723563"/>
                  </a:moveTo>
                  <a:cubicBezTo>
                    <a:pt x="1454852" y="724702"/>
                    <a:pt x="1459409" y="727740"/>
                    <a:pt x="1463966" y="732297"/>
                  </a:cubicBezTo>
                  <a:cubicBezTo>
                    <a:pt x="1473080" y="741411"/>
                    <a:pt x="1463966" y="753564"/>
                    <a:pt x="1457890" y="756602"/>
                  </a:cubicBezTo>
                  <a:cubicBezTo>
                    <a:pt x="1451814" y="759640"/>
                    <a:pt x="1439661" y="762678"/>
                    <a:pt x="1433585" y="750526"/>
                  </a:cubicBezTo>
                  <a:cubicBezTo>
                    <a:pt x="1427509" y="738373"/>
                    <a:pt x="1430547" y="732297"/>
                    <a:pt x="1439661" y="726221"/>
                  </a:cubicBezTo>
                  <a:cubicBezTo>
                    <a:pt x="1442699" y="723183"/>
                    <a:pt x="1446497" y="722423"/>
                    <a:pt x="1450674" y="723563"/>
                  </a:cubicBezTo>
                  <a:close/>
                  <a:moveTo>
                    <a:pt x="2021829" y="720525"/>
                  </a:moveTo>
                  <a:cubicBezTo>
                    <a:pt x="2026007" y="721664"/>
                    <a:pt x="2030564" y="724702"/>
                    <a:pt x="2035121" y="729259"/>
                  </a:cubicBezTo>
                  <a:cubicBezTo>
                    <a:pt x="2044235" y="738373"/>
                    <a:pt x="2038159" y="747488"/>
                    <a:pt x="2029045" y="753564"/>
                  </a:cubicBezTo>
                  <a:cubicBezTo>
                    <a:pt x="2022969" y="756602"/>
                    <a:pt x="2010816" y="759640"/>
                    <a:pt x="2004740" y="747488"/>
                  </a:cubicBezTo>
                  <a:cubicBezTo>
                    <a:pt x="1998664" y="735335"/>
                    <a:pt x="2001702" y="726221"/>
                    <a:pt x="2010816" y="723183"/>
                  </a:cubicBezTo>
                  <a:cubicBezTo>
                    <a:pt x="2013854" y="720145"/>
                    <a:pt x="2017652" y="719385"/>
                    <a:pt x="2021829" y="720525"/>
                  </a:cubicBezTo>
                  <a:close/>
                  <a:moveTo>
                    <a:pt x="387352" y="720525"/>
                  </a:moveTo>
                  <a:cubicBezTo>
                    <a:pt x="391530" y="721664"/>
                    <a:pt x="396087" y="724702"/>
                    <a:pt x="400644" y="729259"/>
                  </a:cubicBezTo>
                  <a:cubicBezTo>
                    <a:pt x="409758" y="738373"/>
                    <a:pt x="403682" y="747488"/>
                    <a:pt x="394568" y="753564"/>
                  </a:cubicBezTo>
                  <a:cubicBezTo>
                    <a:pt x="388492" y="756602"/>
                    <a:pt x="376339" y="759640"/>
                    <a:pt x="370263" y="747488"/>
                  </a:cubicBezTo>
                  <a:cubicBezTo>
                    <a:pt x="364187" y="732297"/>
                    <a:pt x="367225" y="726221"/>
                    <a:pt x="376339" y="723183"/>
                  </a:cubicBezTo>
                  <a:cubicBezTo>
                    <a:pt x="379377" y="720145"/>
                    <a:pt x="383175" y="719385"/>
                    <a:pt x="387352" y="720525"/>
                  </a:cubicBezTo>
                  <a:close/>
                  <a:moveTo>
                    <a:pt x="1049650" y="702297"/>
                  </a:moveTo>
                  <a:cubicBezTo>
                    <a:pt x="1053828" y="703436"/>
                    <a:pt x="1058385" y="706474"/>
                    <a:pt x="1062942" y="711031"/>
                  </a:cubicBezTo>
                  <a:cubicBezTo>
                    <a:pt x="1072056" y="720145"/>
                    <a:pt x="1062942" y="732298"/>
                    <a:pt x="1056866" y="735336"/>
                  </a:cubicBezTo>
                  <a:cubicBezTo>
                    <a:pt x="1050790" y="738374"/>
                    <a:pt x="1038637" y="741412"/>
                    <a:pt x="1032561" y="729260"/>
                  </a:cubicBezTo>
                  <a:cubicBezTo>
                    <a:pt x="1026485" y="717107"/>
                    <a:pt x="1029523" y="707993"/>
                    <a:pt x="1038637" y="704955"/>
                  </a:cubicBezTo>
                  <a:cubicBezTo>
                    <a:pt x="1041675" y="701917"/>
                    <a:pt x="1045473" y="701157"/>
                    <a:pt x="1049650" y="702297"/>
                  </a:cubicBezTo>
                  <a:close/>
                  <a:moveTo>
                    <a:pt x="931165" y="702297"/>
                  </a:moveTo>
                  <a:cubicBezTo>
                    <a:pt x="935343" y="703436"/>
                    <a:pt x="939900" y="706474"/>
                    <a:pt x="944457" y="711031"/>
                  </a:cubicBezTo>
                  <a:cubicBezTo>
                    <a:pt x="953571" y="720145"/>
                    <a:pt x="947495" y="729260"/>
                    <a:pt x="938381" y="735336"/>
                  </a:cubicBezTo>
                  <a:cubicBezTo>
                    <a:pt x="932305" y="738374"/>
                    <a:pt x="920152" y="741412"/>
                    <a:pt x="914076" y="729260"/>
                  </a:cubicBezTo>
                  <a:cubicBezTo>
                    <a:pt x="908000" y="717107"/>
                    <a:pt x="911038" y="711031"/>
                    <a:pt x="920152" y="704955"/>
                  </a:cubicBezTo>
                  <a:cubicBezTo>
                    <a:pt x="923190" y="701917"/>
                    <a:pt x="926988" y="701157"/>
                    <a:pt x="931165" y="702297"/>
                  </a:cubicBezTo>
                  <a:close/>
                  <a:moveTo>
                    <a:pt x="1547892" y="699259"/>
                  </a:moveTo>
                  <a:cubicBezTo>
                    <a:pt x="1552070" y="700398"/>
                    <a:pt x="1556627" y="703436"/>
                    <a:pt x="1561184" y="707993"/>
                  </a:cubicBezTo>
                  <a:cubicBezTo>
                    <a:pt x="1570298" y="717107"/>
                    <a:pt x="1561184" y="729260"/>
                    <a:pt x="1555108" y="732298"/>
                  </a:cubicBezTo>
                  <a:cubicBezTo>
                    <a:pt x="1549032" y="735336"/>
                    <a:pt x="1536879" y="738374"/>
                    <a:pt x="1530803" y="726222"/>
                  </a:cubicBezTo>
                  <a:cubicBezTo>
                    <a:pt x="1524727" y="711031"/>
                    <a:pt x="1527765" y="704955"/>
                    <a:pt x="1536879" y="701917"/>
                  </a:cubicBezTo>
                  <a:cubicBezTo>
                    <a:pt x="1539917" y="698879"/>
                    <a:pt x="1543715" y="698119"/>
                    <a:pt x="1547892" y="699259"/>
                  </a:cubicBezTo>
                  <a:close/>
                  <a:moveTo>
                    <a:pt x="1313961" y="699259"/>
                  </a:moveTo>
                  <a:cubicBezTo>
                    <a:pt x="1318139" y="700398"/>
                    <a:pt x="1322696" y="703436"/>
                    <a:pt x="1327253" y="707993"/>
                  </a:cubicBezTo>
                  <a:cubicBezTo>
                    <a:pt x="1336367" y="717107"/>
                    <a:pt x="1330291" y="726222"/>
                    <a:pt x="1321177" y="732298"/>
                  </a:cubicBezTo>
                  <a:cubicBezTo>
                    <a:pt x="1315101" y="735336"/>
                    <a:pt x="1302948" y="738374"/>
                    <a:pt x="1296872" y="726222"/>
                  </a:cubicBezTo>
                  <a:cubicBezTo>
                    <a:pt x="1290796" y="714069"/>
                    <a:pt x="1293834" y="707993"/>
                    <a:pt x="1302948" y="701917"/>
                  </a:cubicBezTo>
                  <a:cubicBezTo>
                    <a:pt x="1305986" y="698879"/>
                    <a:pt x="1309784" y="698119"/>
                    <a:pt x="1313961" y="699259"/>
                  </a:cubicBezTo>
                  <a:close/>
                  <a:moveTo>
                    <a:pt x="2413739" y="696220"/>
                  </a:moveTo>
                  <a:cubicBezTo>
                    <a:pt x="2417917" y="697359"/>
                    <a:pt x="2422474" y="700397"/>
                    <a:pt x="2427031" y="704954"/>
                  </a:cubicBezTo>
                  <a:cubicBezTo>
                    <a:pt x="2436145" y="714068"/>
                    <a:pt x="2430069" y="723183"/>
                    <a:pt x="2420955" y="729259"/>
                  </a:cubicBezTo>
                  <a:cubicBezTo>
                    <a:pt x="2414878" y="732297"/>
                    <a:pt x="2402726" y="735335"/>
                    <a:pt x="2396650" y="723183"/>
                  </a:cubicBezTo>
                  <a:cubicBezTo>
                    <a:pt x="2390574" y="711030"/>
                    <a:pt x="2390574" y="701916"/>
                    <a:pt x="2402726" y="698878"/>
                  </a:cubicBezTo>
                  <a:cubicBezTo>
                    <a:pt x="2405764" y="695840"/>
                    <a:pt x="2409562" y="695080"/>
                    <a:pt x="2413739" y="696220"/>
                  </a:cubicBezTo>
                  <a:close/>
                  <a:moveTo>
                    <a:pt x="551408" y="690144"/>
                  </a:moveTo>
                  <a:cubicBezTo>
                    <a:pt x="555585" y="691283"/>
                    <a:pt x="560142" y="694321"/>
                    <a:pt x="564699" y="698878"/>
                  </a:cubicBezTo>
                  <a:cubicBezTo>
                    <a:pt x="573814" y="707992"/>
                    <a:pt x="567737" y="717107"/>
                    <a:pt x="558623" y="723183"/>
                  </a:cubicBezTo>
                  <a:cubicBezTo>
                    <a:pt x="552547" y="726221"/>
                    <a:pt x="540395" y="729259"/>
                    <a:pt x="534319" y="717107"/>
                  </a:cubicBezTo>
                  <a:cubicBezTo>
                    <a:pt x="528243" y="704954"/>
                    <a:pt x="534319" y="698878"/>
                    <a:pt x="540395" y="692802"/>
                  </a:cubicBezTo>
                  <a:cubicBezTo>
                    <a:pt x="543433" y="689764"/>
                    <a:pt x="547231" y="689004"/>
                    <a:pt x="551408" y="690144"/>
                  </a:cubicBezTo>
                  <a:close/>
                  <a:moveTo>
                    <a:pt x="830909" y="684068"/>
                  </a:moveTo>
                  <a:cubicBezTo>
                    <a:pt x="835087" y="685207"/>
                    <a:pt x="839644" y="688245"/>
                    <a:pt x="844201" y="692802"/>
                  </a:cubicBezTo>
                  <a:cubicBezTo>
                    <a:pt x="853315" y="701916"/>
                    <a:pt x="844201" y="714069"/>
                    <a:pt x="838125" y="717107"/>
                  </a:cubicBezTo>
                  <a:cubicBezTo>
                    <a:pt x="832048" y="720145"/>
                    <a:pt x="819896" y="723183"/>
                    <a:pt x="813820" y="711031"/>
                  </a:cubicBezTo>
                  <a:cubicBezTo>
                    <a:pt x="807744" y="698878"/>
                    <a:pt x="810782" y="692802"/>
                    <a:pt x="819896" y="686726"/>
                  </a:cubicBezTo>
                  <a:cubicBezTo>
                    <a:pt x="822934" y="683688"/>
                    <a:pt x="826732" y="682928"/>
                    <a:pt x="830909" y="684068"/>
                  </a:cubicBezTo>
                  <a:close/>
                  <a:moveTo>
                    <a:pt x="730653" y="677992"/>
                  </a:moveTo>
                  <a:cubicBezTo>
                    <a:pt x="734831" y="679131"/>
                    <a:pt x="739388" y="682169"/>
                    <a:pt x="743945" y="686726"/>
                  </a:cubicBezTo>
                  <a:cubicBezTo>
                    <a:pt x="753059" y="695840"/>
                    <a:pt x="743945" y="707993"/>
                    <a:pt x="737869" y="711031"/>
                  </a:cubicBezTo>
                  <a:cubicBezTo>
                    <a:pt x="731793" y="714069"/>
                    <a:pt x="719640" y="717107"/>
                    <a:pt x="713564" y="704955"/>
                  </a:cubicBezTo>
                  <a:cubicBezTo>
                    <a:pt x="707488" y="692802"/>
                    <a:pt x="710526" y="686726"/>
                    <a:pt x="719640" y="680650"/>
                  </a:cubicBezTo>
                  <a:cubicBezTo>
                    <a:pt x="722678" y="677612"/>
                    <a:pt x="726476" y="676852"/>
                    <a:pt x="730653" y="677992"/>
                  </a:cubicBezTo>
                  <a:close/>
                  <a:moveTo>
                    <a:pt x="2228418" y="671916"/>
                  </a:moveTo>
                  <a:cubicBezTo>
                    <a:pt x="2232595" y="673055"/>
                    <a:pt x="2237153" y="676093"/>
                    <a:pt x="2241710" y="680650"/>
                  </a:cubicBezTo>
                  <a:cubicBezTo>
                    <a:pt x="2250824" y="689764"/>
                    <a:pt x="2244748" y="698879"/>
                    <a:pt x="2235634" y="704955"/>
                  </a:cubicBezTo>
                  <a:cubicBezTo>
                    <a:pt x="2229557" y="707993"/>
                    <a:pt x="2217405" y="711031"/>
                    <a:pt x="2211329" y="698879"/>
                  </a:cubicBezTo>
                  <a:cubicBezTo>
                    <a:pt x="2205253" y="686726"/>
                    <a:pt x="2208291" y="680650"/>
                    <a:pt x="2217405" y="674574"/>
                  </a:cubicBezTo>
                  <a:cubicBezTo>
                    <a:pt x="2220443" y="671536"/>
                    <a:pt x="2224241" y="670776"/>
                    <a:pt x="2228418" y="671916"/>
                  </a:cubicBezTo>
                  <a:close/>
                  <a:moveTo>
                    <a:pt x="1839546" y="671916"/>
                  </a:moveTo>
                  <a:cubicBezTo>
                    <a:pt x="1843724" y="673055"/>
                    <a:pt x="1848281" y="676093"/>
                    <a:pt x="1852838" y="680650"/>
                  </a:cubicBezTo>
                  <a:cubicBezTo>
                    <a:pt x="1861952" y="689764"/>
                    <a:pt x="1855876" y="698879"/>
                    <a:pt x="1846762" y="704955"/>
                  </a:cubicBezTo>
                  <a:cubicBezTo>
                    <a:pt x="1840686" y="707993"/>
                    <a:pt x="1828533" y="711031"/>
                    <a:pt x="1822457" y="698879"/>
                  </a:cubicBezTo>
                  <a:cubicBezTo>
                    <a:pt x="1816381" y="686726"/>
                    <a:pt x="1819419" y="677612"/>
                    <a:pt x="1828533" y="674574"/>
                  </a:cubicBezTo>
                  <a:cubicBezTo>
                    <a:pt x="1831571" y="671536"/>
                    <a:pt x="1835369" y="670776"/>
                    <a:pt x="1839546" y="671916"/>
                  </a:cubicBezTo>
                  <a:close/>
                  <a:moveTo>
                    <a:pt x="2109933" y="656726"/>
                  </a:moveTo>
                  <a:cubicBezTo>
                    <a:pt x="2114111" y="657865"/>
                    <a:pt x="2118668" y="660903"/>
                    <a:pt x="2123225" y="665460"/>
                  </a:cubicBezTo>
                  <a:cubicBezTo>
                    <a:pt x="2132339" y="674574"/>
                    <a:pt x="2126263" y="683689"/>
                    <a:pt x="2117149" y="689765"/>
                  </a:cubicBezTo>
                  <a:cubicBezTo>
                    <a:pt x="2111072" y="692803"/>
                    <a:pt x="2098920" y="695841"/>
                    <a:pt x="2092844" y="683689"/>
                  </a:cubicBezTo>
                  <a:cubicBezTo>
                    <a:pt x="2086768" y="671536"/>
                    <a:pt x="2089806" y="665460"/>
                    <a:pt x="2098920" y="659384"/>
                  </a:cubicBezTo>
                  <a:cubicBezTo>
                    <a:pt x="2101958" y="656346"/>
                    <a:pt x="2105756" y="655586"/>
                    <a:pt x="2109933" y="656726"/>
                  </a:cubicBezTo>
                  <a:close/>
                  <a:moveTo>
                    <a:pt x="1632957" y="656726"/>
                  </a:moveTo>
                  <a:cubicBezTo>
                    <a:pt x="1637135" y="657865"/>
                    <a:pt x="1641692" y="660903"/>
                    <a:pt x="1646249" y="665460"/>
                  </a:cubicBezTo>
                  <a:cubicBezTo>
                    <a:pt x="1655363" y="674574"/>
                    <a:pt x="1649287" y="683689"/>
                    <a:pt x="1640173" y="689765"/>
                  </a:cubicBezTo>
                  <a:cubicBezTo>
                    <a:pt x="1634097" y="692803"/>
                    <a:pt x="1621944" y="695841"/>
                    <a:pt x="1615868" y="683689"/>
                  </a:cubicBezTo>
                  <a:cubicBezTo>
                    <a:pt x="1609792" y="668498"/>
                    <a:pt x="1612830" y="662422"/>
                    <a:pt x="1621944" y="659384"/>
                  </a:cubicBezTo>
                  <a:cubicBezTo>
                    <a:pt x="1624982" y="656346"/>
                    <a:pt x="1628780" y="655586"/>
                    <a:pt x="1632957" y="656726"/>
                  </a:cubicBezTo>
                  <a:close/>
                  <a:moveTo>
                    <a:pt x="1165096" y="656726"/>
                  </a:moveTo>
                  <a:cubicBezTo>
                    <a:pt x="1169273" y="657865"/>
                    <a:pt x="1173830" y="660903"/>
                    <a:pt x="1178387" y="665460"/>
                  </a:cubicBezTo>
                  <a:cubicBezTo>
                    <a:pt x="1187502" y="674574"/>
                    <a:pt x="1178387" y="686727"/>
                    <a:pt x="1172311" y="689765"/>
                  </a:cubicBezTo>
                  <a:cubicBezTo>
                    <a:pt x="1166235" y="692803"/>
                    <a:pt x="1154083" y="695841"/>
                    <a:pt x="1148007" y="683689"/>
                  </a:cubicBezTo>
                  <a:cubicBezTo>
                    <a:pt x="1141931" y="671536"/>
                    <a:pt x="1148007" y="665460"/>
                    <a:pt x="1154083" y="659384"/>
                  </a:cubicBezTo>
                  <a:cubicBezTo>
                    <a:pt x="1157121" y="656346"/>
                    <a:pt x="1160919" y="655586"/>
                    <a:pt x="1165096" y="656726"/>
                  </a:cubicBezTo>
                  <a:close/>
                  <a:moveTo>
                    <a:pt x="1948916" y="653688"/>
                  </a:moveTo>
                  <a:cubicBezTo>
                    <a:pt x="1953094" y="654827"/>
                    <a:pt x="1957651" y="657865"/>
                    <a:pt x="1962208" y="662422"/>
                  </a:cubicBezTo>
                  <a:cubicBezTo>
                    <a:pt x="1971322" y="671536"/>
                    <a:pt x="1965246" y="680651"/>
                    <a:pt x="1956132" y="686727"/>
                  </a:cubicBezTo>
                  <a:cubicBezTo>
                    <a:pt x="1950056" y="689765"/>
                    <a:pt x="1937903" y="692803"/>
                    <a:pt x="1931827" y="680651"/>
                  </a:cubicBezTo>
                  <a:cubicBezTo>
                    <a:pt x="1925751" y="665460"/>
                    <a:pt x="1928789" y="659384"/>
                    <a:pt x="1937903" y="656346"/>
                  </a:cubicBezTo>
                  <a:cubicBezTo>
                    <a:pt x="1940941" y="653308"/>
                    <a:pt x="1944739" y="652548"/>
                    <a:pt x="1948916" y="653688"/>
                  </a:cubicBezTo>
                  <a:close/>
                  <a:moveTo>
                    <a:pt x="2328673" y="647611"/>
                  </a:moveTo>
                  <a:cubicBezTo>
                    <a:pt x="2332851" y="648750"/>
                    <a:pt x="2337408" y="651788"/>
                    <a:pt x="2341965" y="656345"/>
                  </a:cubicBezTo>
                  <a:cubicBezTo>
                    <a:pt x="2351079" y="665459"/>
                    <a:pt x="2345003" y="674574"/>
                    <a:pt x="2335889" y="680650"/>
                  </a:cubicBezTo>
                  <a:cubicBezTo>
                    <a:pt x="2329813" y="683688"/>
                    <a:pt x="2317660" y="686726"/>
                    <a:pt x="2311584" y="674574"/>
                  </a:cubicBezTo>
                  <a:cubicBezTo>
                    <a:pt x="2305508" y="662421"/>
                    <a:pt x="2308546" y="656345"/>
                    <a:pt x="2317660" y="650269"/>
                  </a:cubicBezTo>
                  <a:cubicBezTo>
                    <a:pt x="2320698" y="647231"/>
                    <a:pt x="2324496" y="646471"/>
                    <a:pt x="2328673" y="647611"/>
                  </a:cubicBezTo>
                  <a:close/>
                  <a:moveTo>
                    <a:pt x="639512" y="641535"/>
                  </a:moveTo>
                  <a:cubicBezTo>
                    <a:pt x="643690" y="642674"/>
                    <a:pt x="648247" y="645712"/>
                    <a:pt x="652804" y="650269"/>
                  </a:cubicBezTo>
                  <a:cubicBezTo>
                    <a:pt x="661918" y="659383"/>
                    <a:pt x="655842" y="668498"/>
                    <a:pt x="646728" y="674574"/>
                  </a:cubicBezTo>
                  <a:cubicBezTo>
                    <a:pt x="640651" y="677612"/>
                    <a:pt x="628499" y="680650"/>
                    <a:pt x="622423" y="668498"/>
                  </a:cubicBezTo>
                  <a:cubicBezTo>
                    <a:pt x="616347" y="653307"/>
                    <a:pt x="619385" y="647231"/>
                    <a:pt x="628499" y="644193"/>
                  </a:cubicBezTo>
                  <a:cubicBezTo>
                    <a:pt x="631537" y="641155"/>
                    <a:pt x="635335" y="640395"/>
                    <a:pt x="639512" y="641535"/>
                  </a:cubicBezTo>
                  <a:close/>
                  <a:moveTo>
                    <a:pt x="451152" y="641535"/>
                  </a:moveTo>
                  <a:cubicBezTo>
                    <a:pt x="455330" y="642674"/>
                    <a:pt x="459887" y="645712"/>
                    <a:pt x="464444" y="650269"/>
                  </a:cubicBezTo>
                  <a:cubicBezTo>
                    <a:pt x="473558" y="659383"/>
                    <a:pt x="464444" y="671536"/>
                    <a:pt x="458368" y="674574"/>
                  </a:cubicBezTo>
                  <a:cubicBezTo>
                    <a:pt x="452292" y="677612"/>
                    <a:pt x="440139" y="680650"/>
                    <a:pt x="434063" y="668498"/>
                  </a:cubicBezTo>
                  <a:cubicBezTo>
                    <a:pt x="427987" y="656345"/>
                    <a:pt x="431025" y="647231"/>
                    <a:pt x="440139" y="644193"/>
                  </a:cubicBezTo>
                  <a:cubicBezTo>
                    <a:pt x="443177" y="641155"/>
                    <a:pt x="446975" y="640395"/>
                    <a:pt x="451152" y="641535"/>
                  </a:cubicBezTo>
                  <a:close/>
                  <a:moveTo>
                    <a:pt x="1739291" y="638497"/>
                  </a:moveTo>
                  <a:cubicBezTo>
                    <a:pt x="1743468" y="639636"/>
                    <a:pt x="1748025" y="642674"/>
                    <a:pt x="1752582" y="647231"/>
                  </a:cubicBezTo>
                  <a:cubicBezTo>
                    <a:pt x="1761696" y="656345"/>
                    <a:pt x="1755620" y="665460"/>
                    <a:pt x="1746506" y="671536"/>
                  </a:cubicBezTo>
                  <a:cubicBezTo>
                    <a:pt x="1740430" y="674574"/>
                    <a:pt x="1728277" y="677612"/>
                    <a:pt x="1722201" y="665460"/>
                  </a:cubicBezTo>
                  <a:cubicBezTo>
                    <a:pt x="1716125" y="650269"/>
                    <a:pt x="1719163" y="644193"/>
                    <a:pt x="1728277" y="641155"/>
                  </a:cubicBezTo>
                  <a:cubicBezTo>
                    <a:pt x="1731316" y="638117"/>
                    <a:pt x="1735113" y="637357"/>
                    <a:pt x="1739291" y="638497"/>
                  </a:cubicBezTo>
                  <a:close/>
                  <a:moveTo>
                    <a:pt x="1429407" y="623307"/>
                  </a:moveTo>
                  <a:cubicBezTo>
                    <a:pt x="1433585" y="624446"/>
                    <a:pt x="1438142" y="627484"/>
                    <a:pt x="1442699" y="632041"/>
                  </a:cubicBezTo>
                  <a:cubicBezTo>
                    <a:pt x="1451813" y="641155"/>
                    <a:pt x="1445737" y="650270"/>
                    <a:pt x="1436623" y="656346"/>
                  </a:cubicBezTo>
                  <a:cubicBezTo>
                    <a:pt x="1430547" y="659384"/>
                    <a:pt x="1418394" y="662422"/>
                    <a:pt x="1412318" y="650270"/>
                  </a:cubicBezTo>
                  <a:cubicBezTo>
                    <a:pt x="1406242" y="638117"/>
                    <a:pt x="1409280" y="629003"/>
                    <a:pt x="1418394" y="625965"/>
                  </a:cubicBezTo>
                  <a:cubicBezTo>
                    <a:pt x="1421432" y="622927"/>
                    <a:pt x="1425230" y="622167"/>
                    <a:pt x="1429407" y="623307"/>
                  </a:cubicBezTo>
                  <a:close/>
                  <a:moveTo>
                    <a:pt x="991927" y="614193"/>
                  </a:moveTo>
                  <a:cubicBezTo>
                    <a:pt x="996105" y="615332"/>
                    <a:pt x="1000662" y="618370"/>
                    <a:pt x="1005219" y="622927"/>
                  </a:cubicBezTo>
                  <a:cubicBezTo>
                    <a:pt x="1014333" y="632041"/>
                    <a:pt x="1008257" y="641156"/>
                    <a:pt x="999143" y="647232"/>
                  </a:cubicBezTo>
                  <a:cubicBezTo>
                    <a:pt x="993067" y="650270"/>
                    <a:pt x="980914" y="653308"/>
                    <a:pt x="974838" y="641156"/>
                  </a:cubicBezTo>
                  <a:cubicBezTo>
                    <a:pt x="968762" y="629003"/>
                    <a:pt x="971800" y="619889"/>
                    <a:pt x="980914" y="616851"/>
                  </a:cubicBezTo>
                  <a:cubicBezTo>
                    <a:pt x="983952" y="613813"/>
                    <a:pt x="987750" y="613053"/>
                    <a:pt x="991927" y="614193"/>
                  </a:cubicBezTo>
                  <a:close/>
                  <a:moveTo>
                    <a:pt x="1244086" y="589888"/>
                  </a:moveTo>
                  <a:cubicBezTo>
                    <a:pt x="1248264" y="591027"/>
                    <a:pt x="1252821" y="594065"/>
                    <a:pt x="1257378" y="598622"/>
                  </a:cubicBezTo>
                  <a:cubicBezTo>
                    <a:pt x="1266492" y="607736"/>
                    <a:pt x="1260416" y="616851"/>
                    <a:pt x="1251302" y="622927"/>
                  </a:cubicBezTo>
                  <a:cubicBezTo>
                    <a:pt x="1245226" y="625965"/>
                    <a:pt x="1233073" y="629003"/>
                    <a:pt x="1226997" y="616851"/>
                  </a:cubicBezTo>
                  <a:cubicBezTo>
                    <a:pt x="1220921" y="601660"/>
                    <a:pt x="1223959" y="595584"/>
                    <a:pt x="1233073" y="592546"/>
                  </a:cubicBezTo>
                  <a:cubicBezTo>
                    <a:pt x="1236111" y="589508"/>
                    <a:pt x="1239909" y="588748"/>
                    <a:pt x="1244086" y="589888"/>
                  </a:cubicBezTo>
                  <a:close/>
                  <a:moveTo>
                    <a:pt x="1332189" y="586850"/>
                  </a:moveTo>
                  <a:cubicBezTo>
                    <a:pt x="1336367" y="587989"/>
                    <a:pt x="1340924" y="591027"/>
                    <a:pt x="1345481" y="595584"/>
                  </a:cubicBezTo>
                  <a:cubicBezTo>
                    <a:pt x="1354595" y="604698"/>
                    <a:pt x="1345481" y="616851"/>
                    <a:pt x="1339405" y="619889"/>
                  </a:cubicBezTo>
                  <a:cubicBezTo>
                    <a:pt x="1333328" y="622927"/>
                    <a:pt x="1321176" y="625965"/>
                    <a:pt x="1315100" y="613813"/>
                  </a:cubicBezTo>
                  <a:cubicBezTo>
                    <a:pt x="1309024" y="601660"/>
                    <a:pt x="1312062" y="595584"/>
                    <a:pt x="1321176" y="589508"/>
                  </a:cubicBezTo>
                  <a:cubicBezTo>
                    <a:pt x="1324214" y="586470"/>
                    <a:pt x="1328012" y="585710"/>
                    <a:pt x="1332189" y="586850"/>
                  </a:cubicBezTo>
                  <a:close/>
                  <a:moveTo>
                    <a:pt x="867366" y="583812"/>
                  </a:moveTo>
                  <a:cubicBezTo>
                    <a:pt x="871544" y="584951"/>
                    <a:pt x="876101" y="587989"/>
                    <a:pt x="880658" y="592546"/>
                  </a:cubicBezTo>
                  <a:cubicBezTo>
                    <a:pt x="889772" y="601660"/>
                    <a:pt x="880658" y="613813"/>
                    <a:pt x="874582" y="616851"/>
                  </a:cubicBezTo>
                  <a:cubicBezTo>
                    <a:pt x="868506" y="619889"/>
                    <a:pt x="856353" y="622927"/>
                    <a:pt x="850277" y="610775"/>
                  </a:cubicBezTo>
                  <a:cubicBezTo>
                    <a:pt x="844201" y="595584"/>
                    <a:pt x="847239" y="589508"/>
                    <a:pt x="856353" y="586470"/>
                  </a:cubicBezTo>
                  <a:cubicBezTo>
                    <a:pt x="859391" y="583432"/>
                    <a:pt x="863189" y="582672"/>
                    <a:pt x="867366" y="583812"/>
                  </a:cubicBezTo>
                  <a:close/>
                  <a:moveTo>
                    <a:pt x="2222342" y="576217"/>
                  </a:moveTo>
                  <a:cubicBezTo>
                    <a:pt x="2226519" y="577356"/>
                    <a:pt x="2231076" y="580394"/>
                    <a:pt x="2235633" y="586470"/>
                  </a:cubicBezTo>
                  <a:cubicBezTo>
                    <a:pt x="2244748" y="595584"/>
                    <a:pt x="2238672" y="604698"/>
                    <a:pt x="2229557" y="610775"/>
                  </a:cubicBezTo>
                  <a:cubicBezTo>
                    <a:pt x="2223481" y="613813"/>
                    <a:pt x="2211329" y="616851"/>
                    <a:pt x="2205253" y="604698"/>
                  </a:cubicBezTo>
                  <a:cubicBezTo>
                    <a:pt x="2199177" y="589508"/>
                    <a:pt x="2205253" y="580394"/>
                    <a:pt x="2211329" y="577356"/>
                  </a:cubicBezTo>
                  <a:cubicBezTo>
                    <a:pt x="2214367" y="575837"/>
                    <a:pt x="2218165" y="575077"/>
                    <a:pt x="2222342" y="576217"/>
                  </a:cubicBezTo>
                  <a:close/>
                  <a:moveTo>
                    <a:pt x="1092183" y="571660"/>
                  </a:moveTo>
                  <a:cubicBezTo>
                    <a:pt x="1096361" y="572799"/>
                    <a:pt x="1100918" y="575837"/>
                    <a:pt x="1105475" y="580394"/>
                  </a:cubicBezTo>
                  <a:cubicBezTo>
                    <a:pt x="1114589" y="589508"/>
                    <a:pt x="1108513" y="598623"/>
                    <a:pt x="1099399" y="604699"/>
                  </a:cubicBezTo>
                  <a:cubicBezTo>
                    <a:pt x="1093322" y="607737"/>
                    <a:pt x="1081170" y="610775"/>
                    <a:pt x="1075094" y="598623"/>
                  </a:cubicBezTo>
                  <a:cubicBezTo>
                    <a:pt x="1069018" y="586470"/>
                    <a:pt x="1069018" y="580394"/>
                    <a:pt x="1081170" y="574318"/>
                  </a:cubicBezTo>
                  <a:cubicBezTo>
                    <a:pt x="1084208" y="571280"/>
                    <a:pt x="1088006" y="570520"/>
                    <a:pt x="1092183" y="571660"/>
                  </a:cubicBezTo>
                  <a:close/>
                  <a:moveTo>
                    <a:pt x="2000563" y="568622"/>
                  </a:moveTo>
                  <a:cubicBezTo>
                    <a:pt x="2004740" y="569761"/>
                    <a:pt x="2009298" y="572799"/>
                    <a:pt x="2013855" y="577356"/>
                  </a:cubicBezTo>
                  <a:cubicBezTo>
                    <a:pt x="2022969" y="586470"/>
                    <a:pt x="2016893" y="595585"/>
                    <a:pt x="2007779" y="601661"/>
                  </a:cubicBezTo>
                  <a:cubicBezTo>
                    <a:pt x="2001702" y="604699"/>
                    <a:pt x="1989550" y="607737"/>
                    <a:pt x="1983474" y="595585"/>
                  </a:cubicBezTo>
                  <a:cubicBezTo>
                    <a:pt x="1977398" y="583432"/>
                    <a:pt x="1980436" y="577356"/>
                    <a:pt x="1989550" y="571280"/>
                  </a:cubicBezTo>
                  <a:cubicBezTo>
                    <a:pt x="1992588" y="568242"/>
                    <a:pt x="1996386" y="567482"/>
                    <a:pt x="2000563" y="568622"/>
                  </a:cubicBezTo>
                  <a:close/>
                  <a:moveTo>
                    <a:pt x="745844" y="568622"/>
                  </a:moveTo>
                  <a:cubicBezTo>
                    <a:pt x="750022" y="569761"/>
                    <a:pt x="754579" y="572799"/>
                    <a:pt x="759136" y="577356"/>
                  </a:cubicBezTo>
                  <a:cubicBezTo>
                    <a:pt x="768250" y="586470"/>
                    <a:pt x="759136" y="598623"/>
                    <a:pt x="753060" y="601661"/>
                  </a:cubicBezTo>
                  <a:cubicBezTo>
                    <a:pt x="746984" y="604699"/>
                    <a:pt x="734831" y="607737"/>
                    <a:pt x="728755" y="595585"/>
                  </a:cubicBezTo>
                  <a:cubicBezTo>
                    <a:pt x="722679" y="580394"/>
                    <a:pt x="725717" y="574318"/>
                    <a:pt x="734831" y="571280"/>
                  </a:cubicBezTo>
                  <a:cubicBezTo>
                    <a:pt x="737869" y="568242"/>
                    <a:pt x="741667" y="567482"/>
                    <a:pt x="745844" y="568622"/>
                  </a:cubicBezTo>
                  <a:close/>
                  <a:moveTo>
                    <a:pt x="533179" y="568622"/>
                  </a:moveTo>
                  <a:cubicBezTo>
                    <a:pt x="537357" y="569761"/>
                    <a:pt x="541914" y="572799"/>
                    <a:pt x="546471" y="577356"/>
                  </a:cubicBezTo>
                  <a:cubicBezTo>
                    <a:pt x="555585" y="586470"/>
                    <a:pt x="549509" y="595585"/>
                    <a:pt x="540395" y="601661"/>
                  </a:cubicBezTo>
                  <a:cubicBezTo>
                    <a:pt x="534318" y="604699"/>
                    <a:pt x="522166" y="607737"/>
                    <a:pt x="516090" y="595585"/>
                  </a:cubicBezTo>
                  <a:cubicBezTo>
                    <a:pt x="510014" y="580394"/>
                    <a:pt x="513052" y="574318"/>
                    <a:pt x="522166" y="571280"/>
                  </a:cubicBezTo>
                  <a:cubicBezTo>
                    <a:pt x="525204" y="568242"/>
                    <a:pt x="529002" y="567482"/>
                    <a:pt x="533179" y="568622"/>
                  </a:cubicBezTo>
                  <a:close/>
                  <a:moveTo>
                    <a:pt x="1866889" y="565584"/>
                  </a:moveTo>
                  <a:cubicBezTo>
                    <a:pt x="1871066" y="566723"/>
                    <a:pt x="1875623" y="569761"/>
                    <a:pt x="1880180" y="574318"/>
                  </a:cubicBezTo>
                  <a:cubicBezTo>
                    <a:pt x="1889295" y="583432"/>
                    <a:pt x="1883218" y="592547"/>
                    <a:pt x="1874104" y="598623"/>
                  </a:cubicBezTo>
                  <a:cubicBezTo>
                    <a:pt x="1868028" y="601661"/>
                    <a:pt x="1855876" y="604699"/>
                    <a:pt x="1849800" y="592547"/>
                  </a:cubicBezTo>
                  <a:cubicBezTo>
                    <a:pt x="1843724" y="577356"/>
                    <a:pt x="1849800" y="574318"/>
                    <a:pt x="1855876" y="568242"/>
                  </a:cubicBezTo>
                  <a:cubicBezTo>
                    <a:pt x="1858914" y="565204"/>
                    <a:pt x="1862712" y="564444"/>
                    <a:pt x="1866889" y="565584"/>
                  </a:cubicBezTo>
                  <a:close/>
                  <a:moveTo>
                    <a:pt x="1508397" y="565584"/>
                  </a:moveTo>
                  <a:cubicBezTo>
                    <a:pt x="1512575" y="566723"/>
                    <a:pt x="1517132" y="569761"/>
                    <a:pt x="1521689" y="574318"/>
                  </a:cubicBezTo>
                  <a:cubicBezTo>
                    <a:pt x="1530803" y="583432"/>
                    <a:pt x="1524727" y="592547"/>
                    <a:pt x="1515613" y="598623"/>
                  </a:cubicBezTo>
                  <a:cubicBezTo>
                    <a:pt x="1509537" y="601661"/>
                    <a:pt x="1497384" y="604699"/>
                    <a:pt x="1491308" y="592547"/>
                  </a:cubicBezTo>
                  <a:cubicBezTo>
                    <a:pt x="1485232" y="577356"/>
                    <a:pt x="1488270" y="571280"/>
                    <a:pt x="1497384" y="568242"/>
                  </a:cubicBezTo>
                  <a:cubicBezTo>
                    <a:pt x="1500422" y="565204"/>
                    <a:pt x="1504220" y="564444"/>
                    <a:pt x="1508397" y="565584"/>
                  </a:cubicBezTo>
                  <a:close/>
                  <a:moveTo>
                    <a:pt x="2365130" y="556470"/>
                  </a:moveTo>
                  <a:cubicBezTo>
                    <a:pt x="2369307" y="557609"/>
                    <a:pt x="2373865" y="560647"/>
                    <a:pt x="2378422" y="565204"/>
                  </a:cubicBezTo>
                  <a:cubicBezTo>
                    <a:pt x="2387536" y="574318"/>
                    <a:pt x="2381460" y="583433"/>
                    <a:pt x="2372346" y="589509"/>
                  </a:cubicBezTo>
                  <a:cubicBezTo>
                    <a:pt x="2366269" y="592547"/>
                    <a:pt x="2354117" y="595585"/>
                    <a:pt x="2348041" y="583433"/>
                  </a:cubicBezTo>
                  <a:cubicBezTo>
                    <a:pt x="2341965" y="568242"/>
                    <a:pt x="2345003" y="562166"/>
                    <a:pt x="2354117" y="559128"/>
                  </a:cubicBezTo>
                  <a:cubicBezTo>
                    <a:pt x="2357155" y="556090"/>
                    <a:pt x="2360953" y="555330"/>
                    <a:pt x="2365130" y="556470"/>
                  </a:cubicBezTo>
                  <a:close/>
                  <a:moveTo>
                    <a:pt x="1620805" y="550394"/>
                  </a:moveTo>
                  <a:cubicBezTo>
                    <a:pt x="1624983" y="551533"/>
                    <a:pt x="1629540" y="554571"/>
                    <a:pt x="1634097" y="559128"/>
                  </a:cubicBezTo>
                  <a:cubicBezTo>
                    <a:pt x="1643211" y="568242"/>
                    <a:pt x="1637135" y="577357"/>
                    <a:pt x="1628021" y="583433"/>
                  </a:cubicBezTo>
                  <a:cubicBezTo>
                    <a:pt x="1621944" y="586471"/>
                    <a:pt x="1609792" y="589509"/>
                    <a:pt x="1603716" y="577357"/>
                  </a:cubicBezTo>
                  <a:cubicBezTo>
                    <a:pt x="1597640" y="562166"/>
                    <a:pt x="1597640" y="556090"/>
                    <a:pt x="1609792" y="553052"/>
                  </a:cubicBezTo>
                  <a:cubicBezTo>
                    <a:pt x="1612830" y="550014"/>
                    <a:pt x="1616628" y="549254"/>
                    <a:pt x="1620805" y="550394"/>
                  </a:cubicBezTo>
                  <a:close/>
                  <a:moveTo>
                    <a:pt x="2097781" y="544317"/>
                  </a:moveTo>
                  <a:cubicBezTo>
                    <a:pt x="2101959" y="545456"/>
                    <a:pt x="2106516" y="548494"/>
                    <a:pt x="2111073" y="553051"/>
                  </a:cubicBezTo>
                  <a:cubicBezTo>
                    <a:pt x="2120187" y="562165"/>
                    <a:pt x="2114111" y="571280"/>
                    <a:pt x="2104997" y="577356"/>
                  </a:cubicBezTo>
                  <a:cubicBezTo>
                    <a:pt x="2098921" y="580394"/>
                    <a:pt x="2086768" y="583432"/>
                    <a:pt x="2080692" y="571280"/>
                  </a:cubicBezTo>
                  <a:cubicBezTo>
                    <a:pt x="2074616" y="559127"/>
                    <a:pt x="2074616" y="553051"/>
                    <a:pt x="2086768" y="546975"/>
                  </a:cubicBezTo>
                  <a:cubicBezTo>
                    <a:pt x="2089806" y="543937"/>
                    <a:pt x="2093604" y="543177"/>
                    <a:pt x="2097781" y="544317"/>
                  </a:cubicBezTo>
                  <a:close/>
                  <a:moveTo>
                    <a:pt x="1745366" y="538241"/>
                  </a:moveTo>
                  <a:cubicBezTo>
                    <a:pt x="1749544" y="539380"/>
                    <a:pt x="1754101" y="542418"/>
                    <a:pt x="1758658" y="546975"/>
                  </a:cubicBezTo>
                  <a:cubicBezTo>
                    <a:pt x="1767772" y="556089"/>
                    <a:pt x="1761696" y="565204"/>
                    <a:pt x="1752582" y="571280"/>
                  </a:cubicBezTo>
                  <a:cubicBezTo>
                    <a:pt x="1746505" y="574318"/>
                    <a:pt x="1734353" y="577356"/>
                    <a:pt x="1728277" y="565204"/>
                  </a:cubicBezTo>
                  <a:cubicBezTo>
                    <a:pt x="1722201" y="553051"/>
                    <a:pt x="1725239" y="546975"/>
                    <a:pt x="1734353" y="540899"/>
                  </a:cubicBezTo>
                  <a:cubicBezTo>
                    <a:pt x="1737391" y="537861"/>
                    <a:pt x="1741189" y="537101"/>
                    <a:pt x="1745366" y="538241"/>
                  </a:cubicBezTo>
                  <a:close/>
                  <a:moveTo>
                    <a:pt x="624322" y="529127"/>
                  </a:moveTo>
                  <a:cubicBezTo>
                    <a:pt x="628499" y="530266"/>
                    <a:pt x="633056" y="533304"/>
                    <a:pt x="637613" y="537861"/>
                  </a:cubicBezTo>
                  <a:cubicBezTo>
                    <a:pt x="646728" y="546975"/>
                    <a:pt x="640651" y="556090"/>
                    <a:pt x="631537" y="562166"/>
                  </a:cubicBezTo>
                  <a:cubicBezTo>
                    <a:pt x="625461" y="565204"/>
                    <a:pt x="613309" y="568242"/>
                    <a:pt x="607233" y="556090"/>
                  </a:cubicBezTo>
                  <a:cubicBezTo>
                    <a:pt x="601157" y="540899"/>
                    <a:pt x="607233" y="537861"/>
                    <a:pt x="613309" y="531785"/>
                  </a:cubicBezTo>
                  <a:cubicBezTo>
                    <a:pt x="616347" y="528747"/>
                    <a:pt x="620145" y="527987"/>
                    <a:pt x="624322" y="529127"/>
                  </a:cubicBezTo>
                  <a:close/>
                  <a:moveTo>
                    <a:pt x="958508" y="523051"/>
                  </a:moveTo>
                  <a:cubicBezTo>
                    <a:pt x="962686" y="524190"/>
                    <a:pt x="967243" y="527228"/>
                    <a:pt x="971800" y="531785"/>
                  </a:cubicBezTo>
                  <a:cubicBezTo>
                    <a:pt x="980914" y="540899"/>
                    <a:pt x="974838" y="550014"/>
                    <a:pt x="965724" y="556090"/>
                  </a:cubicBezTo>
                  <a:cubicBezTo>
                    <a:pt x="959648" y="559128"/>
                    <a:pt x="947495" y="562166"/>
                    <a:pt x="941419" y="550014"/>
                  </a:cubicBezTo>
                  <a:cubicBezTo>
                    <a:pt x="935343" y="534823"/>
                    <a:pt x="938381" y="528747"/>
                    <a:pt x="947495" y="525709"/>
                  </a:cubicBezTo>
                  <a:cubicBezTo>
                    <a:pt x="950533" y="522671"/>
                    <a:pt x="954331" y="521911"/>
                    <a:pt x="958508" y="523051"/>
                  </a:cubicBezTo>
                  <a:close/>
                  <a:moveTo>
                    <a:pt x="1177248" y="507861"/>
                  </a:moveTo>
                  <a:cubicBezTo>
                    <a:pt x="1181426" y="509000"/>
                    <a:pt x="1185983" y="512038"/>
                    <a:pt x="1190540" y="516595"/>
                  </a:cubicBezTo>
                  <a:cubicBezTo>
                    <a:pt x="1199654" y="525709"/>
                    <a:pt x="1190540" y="537862"/>
                    <a:pt x="1184464" y="540900"/>
                  </a:cubicBezTo>
                  <a:cubicBezTo>
                    <a:pt x="1178388" y="543938"/>
                    <a:pt x="1166235" y="546976"/>
                    <a:pt x="1160159" y="534824"/>
                  </a:cubicBezTo>
                  <a:cubicBezTo>
                    <a:pt x="1154083" y="522671"/>
                    <a:pt x="1157121" y="516595"/>
                    <a:pt x="1166235" y="510519"/>
                  </a:cubicBezTo>
                  <a:cubicBezTo>
                    <a:pt x="1169273" y="507481"/>
                    <a:pt x="1173071" y="506721"/>
                    <a:pt x="1177248" y="507861"/>
                  </a:cubicBezTo>
                  <a:close/>
                  <a:moveTo>
                    <a:pt x="1399027" y="504823"/>
                  </a:moveTo>
                  <a:cubicBezTo>
                    <a:pt x="1403205" y="505962"/>
                    <a:pt x="1407762" y="509000"/>
                    <a:pt x="1412319" y="513557"/>
                  </a:cubicBezTo>
                  <a:cubicBezTo>
                    <a:pt x="1421433" y="522671"/>
                    <a:pt x="1412319" y="534824"/>
                    <a:pt x="1406243" y="537862"/>
                  </a:cubicBezTo>
                  <a:cubicBezTo>
                    <a:pt x="1400167" y="540900"/>
                    <a:pt x="1388014" y="543938"/>
                    <a:pt x="1381938" y="531786"/>
                  </a:cubicBezTo>
                  <a:cubicBezTo>
                    <a:pt x="1375862" y="516595"/>
                    <a:pt x="1378900" y="510519"/>
                    <a:pt x="1388014" y="507481"/>
                  </a:cubicBezTo>
                  <a:cubicBezTo>
                    <a:pt x="1391052" y="504443"/>
                    <a:pt x="1394850" y="503683"/>
                    <a:pt x="1399027" y="504823"/>
                  </a:cubicBezTo>
                  <a:close/>
                  <a:moveTo>
                    <a:pt x="2194999" y="492670"/>
                  </a:moveTo>
                  <a:cubicBezTo>
                    <a:pt x="2199176" y="493809"/>
                    <a:pt x="2203734" y="496847"/>
                    <a:pt x="2208291" y="501404"/>
                  </a:cubicBezTo>
                  <a:cubicBezTo>
                    <a:pt x="2217405" y="510518"/>
                    <a:pt x="2208291" y="522671"/>
                    <a:pt x="2202214" y="525709"/>
                  </a:cubicBezTo>
                  <a:cubicBezTo>
                    <a:pt x="2196138" y="528747"/>
                    <a:pt x="2183986" y="531785"/>
                    <a:pt x="2177910" y="519633"/>
                  </a:cubicBezTo>
                  <a:cubicBezTo>
                    <a:pt x="2174872" y="504442"/>
                    <a:pt x="2174872" y="498366"/>
                    <a:pt x="2183986" y="495328"/>
                  </a:cubicBezTo>
                  <a:cubicBezTo>
                    <a:pt x="2187024" y="492290"/>
                    <a:pt x="2190822" y="491530"/>
                    <a:pt x="2194999" y="492670"/>
                  </a:cubicBezTo>
                  <a:close/>
                  <a:moveTo>
                    <a:pt x="1912459" y="480518"/>
                  </a:moveTo>
                  <a:cubicBezTo>
                    <a:pt x="1916637" y="481657"/>
                    <a:pt x="1921194" y="484695"/>
                    <a:pt x="1925751" y="489252"/>
                  </a:cubicBezTo>
                  <a:cubicBezTo>
                    <a:pt x="1934865" y="498366"/>
                    <a:pt x="1925751" y="510519"/>
                    <a:pt x="1919675" y="513557"/>
                  </a:cubicBezTo>
                  <a:cubicBezTo>
                    <a:pt x="1913598" y="516595"/>
                    <a:pt x="1901446" y="519633"/>
                    <a:pt x="1895370" y="507481"/>
                  </a:cubicBezTo>
                  <a:cubicBezTo>
                    <a:pt x="1889294" y="495328"/>
                    <a:pt x="1892332" y="486214"/>
                    <a:pt x="1901446" y="483176"/>
                  </a:cubicBezTo>
                  <a:cubicBezTo>
                    <a:pt x="1904484" y="480138"/>
                    <a:pt x="1908282" y="479378"/>
                    <a:pt x="1912459" y="480518"/>
                  </a:cubicBezTo>
                  <a:close/>
                  <a:moveTo>
                    <a:pt x="803567" y="480518"/>
                  </a:moveTo>
                  <a:cubicBezTo>
                    <a:pt x="807745" y="481657"/>
                    <a:pt x="812302" y="484695"/>
                    <a:pt x="816859" y="489252"/>
                  </a:cubicBezTo>
                  <a:cubicBezTo>
                    <a:pt x="825973" y="498366"/>
                    <a:pt x="816859" y="510519"/>
                    <a:pt x="810783" y="513557"/>
                  </a:cubicBezTo>
                  <a:cubicBezTo>
                    <a:pt x="804706" y="516595"/>
                    <a:pt x="792554" y="519633"/>
                    <a:pt x="786478" y="507481"/>
                  </a:cubicBezTo>
                  <a:cubicBezTo>
                    <a:pt x="780402" y="495328"/>
                    <a:pt x="780402" y="489252"/>
                    <a:pt x="792554" y="483176"/>
                  </a:cubicBezTo>
                  <a:cubicBezTo>
                    <a:pt x="795592" y="480138"/>
                    <a:pt x="799390" y="479378"/>
                    <a:pt x="803567" y="480518"/>
                  </a:cubicBezTo>
                  <a:close/>
                  <a:moveTo>
                    <a:pt x="1550930" y="471404"/>
                  </a:moveTo>
                  <a:cubicBezTo>
                    <a:pt x="1555108" y="472543"/>
                    <a:pt x="1559665" y="475581"/>
                    <a:pt x="1564222" y="480138"/>
                  </a:cubicBezTo>
                  <a:cubicBezTo>
                    <a:pt x="1573336" y="489252"/>
                    <a:pt x="1564222" y="501405"/>
                    <a:pt x="1558146" y="504443"/>
                  </a:cubicBezTo>
                  <a:cubicBezTo>
                    <a:pt x="1552070" y="507481"/>
                    <a:pt x="1539917" y="510519"/>
                    <a:pt x="1533841" y="498367"/>
                  </a:cubicBezTo>
                  <a:cubicBezTo>
                    <a:pt x="1527765" y="486214"/>
                    <a:pt x="1530803" y="480138"/>
                    <a:pt x="1539917" y="474062"/>
                  </a:cubicBezTo>
                  <a:cubicBezTo>
                    <a:pt x="1542955" y="471024"/>
                    <a:pt x="1546753" y="470264"/>
                    <a:pt x="1550930" y="471404"/>
                  </a:cubicBezTo>
                  <a:close/>
                  <a:moveTo>
                    <a:pt x="2307407" y="465328"/>
                  </a:moveTo>
                  <a:cubicBezTo>
                    <a:pt x="2311584" y="466467"/>
                    <a:pt x="2316141" y="469505"/>
                    <a:pt x="2320698" y="474062"/>
                  </a:cubicBezTo>
                  <a:cubicBezTo>
                    <a:pt x="2329813" y="483176"/>
                    <a:pt x="2323736" y="492291"/>
                    <a:pt x="2314622" y="498367"/>
                  </a:cubicBezTo>
                  <a:cubicBezTo>
                    <a:pt x="2308546" y="501405"/>
                    <a:pt x="2296394" y="504443"/>
                    <a:pt x="2290318" y="492291"/>
                  </a:cubicBezTo>
                  <a:cubicBezTo>
                    <a:pt x="2284242" y="480138"/>
                    <a:pt x="2290318" y="474062"/>
                    <a:pt x="2296394" y="467986"/>
                  </a:cubicBezTo>
                  <a:cubicBezTo>
                    <a:pt x="2299432" y="464948"/>
                    <a:pt x="2303230" y="464188"/>
                    <a:pt x="2307407" y="465328"/>
                  </a:cubicBezTo>
                  <a:close/>
                  <a:moveTo>
                    <a:pt x="1076992" y="462290"/>
                  </a:moveTo>
                  <a:cubicBezTo>
                    <a:pt x="1081170" y="463429"/>
                    <a:pt x="1085727" y="466467"/>
                    <a:pt x="1090284" y="471024"/>
                  </a:cubicBezTo>
                  <a:cubicBezTo>
                    <a:pt x="1099398" y="480138"/>
                    <a:pt x="1093322" y="489253"/>
                    <a:pt x="1084208" y="495329"/>
                  </a:cubicBezTo>
                  <a:cubicBezTo>
                    <a:pt x="1078132" y="498367"/>
                    <a:pt x="1065979" y="501405"/>
                    <a:pt x="1059903" y="489253"/>
                  </a:cubicBezTo>
                  <a:cubicBezTo>
                    <a:pt x="1053827" y="474062"/>
                    <a:pt x="1056865" y="467986"/>
                    <a:pt x="1065979" y="464948"/>
                  </a:cubicBezTo>
                  <a:cubicBezTo>
                    <a:pt x="1069017" y="461910"/>
                    <a:pt x="1072815" y="461150"/>
                    <a:pt x="1076992" y="462290"/>
                  </a:cubicBezTo>
                  <a:close/>
                  <a:moveTo>
                    <a:pt x="2030944" y="456214"/>
                  </a:moveTo>
                  <a:cubicBezTo>
                    <a:pt x="2035121" y="457353"/>
                    <a:pt x="2039679" y="460391"/>
                    <a:pt x="2044236" y="464948"/>
                  </a:cubicBezTo>
                  <a:cubicBezTo>
                    <a:pt x="2053350" y="474062"/>
                    <a:pt x="2044236" y="486215"/>
                    <a:pt x="2038160" y="489253"/>
                  </a:cubicBezTo>
                  <a:cubicBezTo>
                    <a:pt x="2032083" y="492291"/>
                    <a:pt x="2019931" y="495329"/>
                    <a:pt x="2013855" y="483177"/>
                  </a:cubicBezTo>
                  <a:cubicBezTo>
                    <a:pt x="2007779" y="471024"/>
                    <a:pt x="2007779" y="464948"/>
                    <a:pt x="2019931" y="458872"/>
                  </a:cubicBezTo>
                  <a:cubicBezTo>
                    <a:pt x="2022969" y="455834"/>
                    <a:pt x="2026767" y="455074"/>
                    <a:pt x="2030944" y="456214"/>
                  </a:cubicBezTo>
                  <a:close/>
                  <a:moveTo>
                    <a:pt x="1280542" y="453176"/>
                  </a:moveTo>
                  <a:cubicBezTo>
                    <a:pt x="1284720" y="454315"/>
                    <a:pt x="1289277" y="457353"/>
                    <a:pt x="1293834" y="461910"/>
                  </a:cubicBezTo>
                  <a:cubicBezTo>
                    <a:pt x="1302948" y="471024"/>
                    <a:pt x="1296872" y="480139"/>
                    <a:pt x="1287758" y="486215"/>
                  </a:cubicBezTo>
                  <a:cubicBezTo>
                    <a:pt x="1281682" y="489253"/>
                    <a:pt x="1269529" y="492291"/>
                    <a:pt x="1263453" y="480139"/>
                  </a:cubicBezTo>
                  <a:cubicBezTo>
                    <a:pt x="1257377" y="467986"/>
                    <a:pt x="1257377" y="461910"/>
                    <a:pt x="1269529" y="455834"/>
                  </a:cubicBezTo>
                  <a:cubicBezTo>
                    <a:pt x="1272567" y="452796"/>
                    <a:pt x="1276365" y="452036"/>
                    <a:pt x="1280542" y="453176"/>
                  </a:cubicBezTo>
                  <a:close/>
                  <a:moveTo>
                    <a:pt x="679006" y="450138"/>
                  </a:moveTo>
                  <a:cubicBezTo>
                    <a:pt x="683184" y="451277"/>
                    <a:pt x="687741" y="454315"/>
                    <a:pt x="692298" y="458872"/>
                  </a:cubicBezTo>
                  <a:cubicBezTo>
                    <a:pt x="701412" y="467986"/>
                    <a:pt x="695336" y="477101"/>
                    <a:pt x="686222" y="483177"/>
                  </a:cubicBezTo>
                  <a:cubicBezTo>
                    <a:pt x="680146" y="486215"/>
                    <a:pt x="667993" y="489253"/>
                    <a:pt x="661917" y="477101"/>
                  </a:cubicBezTo>
                  <a:cubicBezTo>
                    <a:pt x="655841" y="464948"/>
                    <a:pt x="658879" y="458872"/>
                    <a:pt x="667993" y="452796"/>
                  </a:cubicBezTo>
                  <a:cubicBezTo>
                    <a:pt x="671031" y="449758"/>
                    <a:pt x="674829" y="448998"/>
                    <a:pt x="679006" y="450138"/>
                  </a:cubicBezTo>
                  <a:close/>
                  <a:moveTo>
                    <a:pt x="1815242" y="447099"/>
                  </a:moveTo>
                  <a:cubicBezTo>
                    <a:pt x="1819419" y="448238"/>
                    <a:pt x="1823976" y="451276"/>
                    <a:pt x="1828533" y="455833"/>
                  </a:cubicBezTo>
                  <a:cubicBezTo>
                    <a:pt x="1837647" y="464947"/>
                    <a:pt x="1828533" y="477100"/>
                    <a:pt x="1822457" y="480138"/>
                  </a:cubicBezTo>
                  <a:cubicBezTo>
                    <a:pt x="1816381" y="483176"/>
                    <a:pt x="1804228" y="486214"/>
                    <a:pt x="1798152" y="474062"/>
                  </a:cubicBezTo>
                  <a:cubicBezTo>
                    <a:pt x="1792076" y="458871"/>
                    <a:pt x="1795114" y="452795"/>
                    <a:pt x="1804228" y="449757"/>
                  </a:cubicBezTo>
                  <a:cubicBezTo>
                    <a:pt x="1807267" y="446719"/>
                    <a:pt x="1811064" y="445959"/>
                    <a:pt x="1815242" y="447099"/>
                  </a:cubicBezTo>
                  <a:close/>
                  <a:moveTo>
                    <a:pt x="1699795" y="444061"/>
                  </a:moveTo>
                  <a:cubicBezTo>
                    <a:pt x="1703973" y="445200"/>
                    <a:pt x="1708530" y="448238"/>
                    <a:pt x="1713087" y="452795"/>
                  </a:cubicBezTo>
                  <a:cubicBezTo>
                    <a:pt x="1722201" y="461909"/>
                    <a:pt x="1716125" y="471024"/>
                    <a:pt x="1707011" y="477100"/>
                  </a:cubicBezTo>
                  <a:cubicBezTo>
                    <a:pt x="1700934" y="480138"/>
                    <a:pt x="1688782" y="483176"/>
                    <a:pt x="1682706" y="471024"/>
                  </a:cubicBezTo>
                  <a:cubicBezTo>
                    <a:pt x="1676630" y="458871"/>
                    <a:pt x="1679668" y="449757"/>
                    <a:pt x="1688782" y="446719"/>
                  </a:cubicBezTo>
                  <a:cubicBezTo>
                    <a:pt x="1691820" y="443681"/>
                    <a:pt x="1695618" y="442921"/>
                    <a:pt x="1699795" y="444061"/>
                  </a:cubicBezTo>
                  <a:close/>
                  <a:moveTo>
                    <a:pt x="888633" y="434947"/>
                  </a:moveTo>
                  <a:cubicBezTo>
                    <a:pt x="892811" y="436086"/>
                    <a:pt x="897368" y="439124"/>
                    <a:pt x="901925" y="443681"/>
                  </a:cubicBezTo>
                  <a:cubicBezTo>
                    <a:pt x="911039" y="452795"/>
                    <a:pt x="901925" y="464948"/>
                    <a:pt x="895849" y="467986"/>
                  </a:cubicBezTo>
                  <a:cubicBezTo>
                    <a:pt x="889773" y="471024"/>
                    <a:pt x="877620" y="474062"/>
                    <a:pt x="871544" y="461910"/>
                  </a:cubicBezTo>
                  <a:cubicBezTo>
                    <a:pt x="865468" y="446719"/>
                    <a:pt x="868506" y="440643"/>
                    <a:pt x="877620" y="437605"/>
                  </a:cubicBezTo>
                  <a:cubicBezTo>
                    <a:pt x="880658" y="434567"/>
                    <a:pt x="884456" y="433807"/>
                    <a:pt x="888633" y="434947"/>
                  </a:cubicBezTo>
                  <a:close/>
                  <a:moveTo>
                    <a:pt x="2158542" y="407605"/>
                  </a:moveTo>
                  <a:cubicBezTo>
                    <a:pt x="2162719" y="408744"/>
                    <a:pt x="2167276" y="411782"/>
                    <a:pt x="2171833" y="416339"/>
                  </a:cubicBezTo>
                  <a:cubicBezTo>
                    <a:pt x="2180948" y="425453"/>
                    <a:pt x="2174872" y="434568"/>
                    <a:pt x="2165757" y="440644"/>
                  </a:cubicBezTo>
                  <a:cubicBezTo>
                    <a:pt x="2159681" y="443682"/>
                    <a:pt x="2147529" y="446720"/>
                    <a:pt x="2141453" y="434568"/>
                  </a:cubicBezTo>
                  <a:cubicBezTo>
                    <a:pt x="2135377" y="422415"/>
                    <a:pt x="2141453" y="416339"/>
                    <a:pt x="2147529" y="410263"/>
                  </a:cubicBezTo>
                  <a:cubicBezTo>
                    <a:pt x="2150567" y="407225"/>
                    <a:pt x="2154365" y="406465"/>
                    <a:pt x="2158542" y="407605"/>
                  </a:cubicBezTo>
                  <a:close/>
                  <a:moveTo>
                    <a:pt x="1484092" y="407605"/>
                  </a:moveTo>
                  <a:cubicBezTo>
                    <a:pt x="1488270" y="408744"/>
                    <a:pt x="1492827" y="411782"/>
                    <a:pt x="1497384" y="416339"/>
                  </a:cubicBezTo>
                  <a:cubicBezTo>
                    <a:pt x="1506498" y="425453"/>
                    <a:pt x="1500422" y="434568"/>
                    <a:pt x="1491308" y="440644"/>
                  </a:cubicBezTo>
                  <a:cubicBezTo>
                    <a:pt x="1485231" y="443682"/>
                    <a:pt x="1473079" y="446720"/>
                    <a:pt x="1467003" y="434568"/>
                  </a:cubicBezTo>
                  <a:cubicBezTo>
                    <a:pt x="1460927" y="422415"/>
                    <a:pt x="1463965" y="413301"/>
                    <a:pt x="1473079" y="410263"/>
                  </a:cubicBezTo>
                  <a:cubicBezTo>
                    <a:pt x="1476117" y="407225"/>
                    <a:pt x="1479915" y="406465"/>
                    <a:pt x="1484092" y="407605"/>
                  </a:cubicBezTo>
                  <a:close/>
                  <a:moveTo>
                    <a:pt x="1365608" y="404567"/>
                  </a:moveTo>
                  <a:cubicBezTo>
                    <a:pt x="1369786" y="405706"/>
                    <a:pt x="1374343" y="408744"/>
                    <a:pt x="1378900" y="413301"/>
                  </a:cubicBezTo>
                  <a:cubicBezTo>
                    <a:pt x="1388014" y="422415"/>
                    <a:pt x="1381938" y="431530"/>
                    <a:pt x="1372824" y="437606"/>
                  </a:cubicBezTo>
                  <a:cubicBezTo>
                    <a:pt x="1366748" y="440644"/>
                    <a:pt x="1354595" y="443682"/>
                    <a:pt x="1348519" y="431530"/>
                  </a:cubicBezTo>
                  <a:cubicBezTo>
                    <a:pt x="1342443" y="419377"/>
                    <a:pt x="1345481" y="410263"/>
                    <a:pt x="1354595" y="407225"/>
                  </a:cubicBezTo>
                  <a:cubicBezTo>
                    <a:pt x="1357633" y="404187"/>
                    <a:pt x="1361431" y="403427"/>
                    <a:pt x="1365608" y="404567"/>
                  </a:cubicBezTo>
                  <a:close/>
                  <a:moveTo>
                    <a:pt x="988889" y="404567"/>
                  </a:moveTo>
                  <a:cubicBezTo>
                    <a:pt x="993066" y="405706"/>
                    <a:pt x="997623" y="408744"/>
                    <a:pt x="1002180" y="413301"/>
                  </a:cubicBezTo>
                  <a:cubicBezTo>
                    <a:pt x="1011295" y="422415"/>
                    <a:pt x="1005218" y="431530"/>
                    <a:pt x="996104" y="437606"/>
                  </a:cubicBezTo>
                  <a:cubicBezTo>
                    <a:pt x="990028" y="440644"/>
                    <a:pt x="977876" y="443682"/>
                    <a:pt x="971800" y="431530"/>
                  </a:cubicBezTo>
                  <a:cubicBezTo>
                    <a:pt x="965724" y="419377"/>
                    <a:pt x="971800" y="413301"/>
                    <a:pt x="977876" y="407225"/>
                  </a:cubicBezTo>
                  <a:cubicBezTo>
                    <a:pt x="980914" y="404187"/>
                    <a:pt x="984712" y="403427"/>
                    <a:pt x="988889" y="404567"/>
                  </a:cubicBezTo>
                  <a:close/>
                  <a:moveTo>
                    <a:pt x="1182565" y="394312"/>
                  </a:moveTo>
                  <a:cubicBezTo>
                    <a:pt x="1186742" y="395072"/>
                    <a:pt x="1190540" y="398110"/>
                    <a:pt x="1193578" y="404186"/>
                  </a:cubicBezTo>
                  <a:cubicBezTo>
                    <a:pt x="1202692" y="413300"/>
                    <a:pt x="1196616" y="422415"/>
                    <a:pt x="1187502" y="428491"/>
                  </a:cubicBezTo>
                  <a:cubicBezTo>
                    <a:pt x="1181425" y="431529"/>
                    <a:pt x="1169273" y="434567"/>
                    <a:pt x="1163197" y="422415"/>
                  </a:cubicBezTo>
                  <a:cubicBezTo>
                    <a:pt x="1157121" y="410262"/>
                    <a:pt x="1160159" y="404186"/>
                    <a:pt x="1169273" y="398110"/>
                  </a:cubicBezTo>
                  <a:cubicBezTo>
                    <a:pt x="1173830" y="395072"/>
                    <a:pt x="1178387" y="393553"/>
                    <a:pt x="1182565" y="394312"/>
                  </a:cubicBezTo>
                  <a:close/>
                  <a:moveTo>
                    <a:pt x="1620805" y="389376"/>
                  </a:moveTo>
                  <a:cubicBezTo>
                    <a:pt x="1624983" y="390515"/>
                    <a:pt x="1629540" y="393553"/>
                    <a:pt x="1634097" y="398110"/>
                  </a:cubicBezTo>
                  <a:cubicBezTo>
                    <a:pt x="1643211" y="407224"/>
                    <a:pt x="1637135" y="416339"/>
                    <a:pt x="1628021" y="422415"/>
                  </a:cubicBezTo>
                  <a:cubicBezTo>
                    <a:pt x="1621944" y="425453"/>
                    <a:pt x="1609792" y="428491"/>
                    <a:pt x="1603716" y="416339"/>
                  </a:cubicBezTo>
                  <a:cubicBezTo>
                    <a:pt x="1597640" y="401148"/>
                    <a:pt x="1600678" y="395072"/>
                    <a:pt x="1609792" y="392034"/>
                  </a:cubicBezTo>
                  <a:cubicBezTo>
                    <a:pt x="1612830" y="388996"/>
                    <a:pt x="1616628" y="388236"/>
                    <a:pt x="1620805" y="389376"/>
                  </a:cubicBezTo>
                  <a:close/>
                  <a:moveTo>
                    <a:pt x="1961068" y="380262"/>
                  </a:moveTo>
                  <a:cubicBezTo>
                    <a:pt x="1965246" y="381401"/>
                    <a:pt x="1969803" y="384439"/>
                    <a:pt x="1974360" y="388996"/>
                  </a:cubicBezTo>
                  <a:cubicBezTo>
                    <a:pt x="1983474" y="398110"/>
                    <a:pt x="1974360" y="410263"/>
                    <a:pt x="1968284" y="413301"/>
                  </a:cubicBezTo>
                  <a:cubicBezTo>
                    <a:pt x="1962208" y="416339"/>
                    <a:pt x="1950055" y="419377"/>
                    <a:pt x="1943979" y="407225"/>
                  </a:cubicBezTo>
                  <a:cubicBezTo>
                    <a:pt x="1937903" y="395072"/>
                    <a:pt x="1940941" y="388996"/>
                    <a:pt x="1950055" y="382920"/>
                  </a:cubicBezTo>
                  <a:cubicBezTo>
                    <a:pt x="1953093" y="379882"/>
                    <a:pt x="1956891" y="379122"/>
                    <a:pt x="1961068" y="380262"/>
                  </a:cubicBezTo>
                  <a:close/>
                  <a:moveTo>
                    <a:pt x="770148" y="380262"/>
                  </a:moveTo>
                  <a:cubicBezTo>
                    <a:pt x="774326" y="381401"/>
                    <a:pt x="778883" y="384439"/>
                    <a:pt x="783440" y="388996"/>
                  </a:cubicBezTo>
                  <a:cubicBezTo>
                    <a:pt x="792554" y="398110"/>
                    <a:pt x="786478" y="407225"/>
                    <a:pt x="777364" y="413301"/>
                  </a:cubicBezTo>
                  <a:cubicBezTo>
                    <a:pt x="771287" y="416339"/>
                    <a:pt x="759135" y="419377"/>
                    <a:pt x="753059" y="407225"/>
                  </a:cubicBezTo>
                  <a:cubicBezTo>
                    <a:pt x="746983" y="395072"/>
                    <a:pt x="746983" y="385958"/>
                    <a:pt x="759135" y="382920"/>
                  </a:cubicBezTo>
                  <a:cubicBezTo>
                    <a:pt x="762173" y="379882"/>
                    <a:pt x="765971" y="379122"/>
                    <a:pt x="770148" y="380262"/>
                  </a:cubicBezTo>
                  <a:close/>
                  <a:moveTo>
                    <a:pt x="2240571" y="352920"/>
                  </a:moveTo>
                  <a:cubicBezTo>
                    <a:pt x="2244748" y="354059"/>
                    <a:pt x="2249305" y="357097"/>
                    <a:pt x="2253862" y="361654"/>
                  </a:cubicBezTo>
                  <a:cubicBezTo>
                    <a:pt x="2262976" y="370768"/>
                    <a:pt x="2256900" y="379883"/>
                    <a:pt x="2247786" y="385959"/>
                  </a:cubicBezTo>
                  <a:cubicBezTo>
                    <a:pt x="2241710" y="388997"/>
                    <a:pt x="2229557" y="392035"/>
                    <a:pt x="2223481" y="379883"/>
                  </a:cubicBezTo>
                  <a:cubicBezTo>
                    <a:pt x="2217405" y="367730"/>
                    <a:pt x="2220443" y="361654"/>
                    <a:pt x="2229557" y="355578"/>
                  </a:cubicBezTo>
                  <a:cubicBezTo>
                    <a:pt x="2232596" y="352540"/>
                    <a:pt x="2236393" y="351780"/>
                    <a:pt x="2240571" y="352920"/>
                  </a:cubicBezTo>
                  <a:close/>
                  <a:moveTo>
                    <a:pt x="2082590" y="352920"/>
                  </a:moveTo>
                  <a:cubicBezTo>
                    <a:pt x="2086768" y="354059"/>
                    <a:pt x="2091325" y="357097"/>
                    <a:pt x="2095882" y="361654"/>
                  </a:cubicBezTo>
                  <a:cubicBezTo>
                    <a:pt x="2104996" y="370768"/>
                    <a:pt x="2095882" y="382921"/>
                    <a:pt x="2089806" y="385959"/>
                  </a:cubicBezTo>
                  <a:cubicBezTo>
                    <a:pt x="2083730" y="388997"/>
                    <a:pt x="2071577" y="392035"/>
                    <a:pt x="2065501" y="379883"/>
                  </a:cubicBezTo>
                  <a:cubicBezTo>
                    <a:pt x="2059425" y="367730"/>
                    <a:pt x="2062463" y="361654"/>
                    <a:pt x="2071577" y="355578"/>
                  </a:cubicBezTo>
                  <a:cubicBezTo>
                    <a:pt x="2074615" y="352540"/>
                    <a:pt x="2078413" y="351780"/>
                    <a:pt x="2082590" y="352920"/>
                  </a:cubicBezTo>
                  <a:close/>
                  <a:moveTo>
                    <a:pt x="1080030" y="337729"/>
                  </a:moveTo>
                  <a:cubicBezTo>
                    <a:pt x="1084208" y="338868"/>
                    <a:pt x="1088765" y="341906"/>
                    <a:pt x="1093322" y="346463"/>
                  </a:cubicBezTo>
                  <a:cubicBezTo>
                    <a:pt x="1102436" y="355577"/>
                    <a:pt x="1093322" y="367730"/>
                    <a:pt x="1087246" y="370768"/>
                  </a:cubicBezTo>
                  <a:cubicBezTo>
                    <a:pt x="1081170" y="373806"/>
                    <a:pt x="1069017" y="376844"/>
                    <a:pt x="1062941" y="364692"/>
                  </a:cubicBezTo>
                  <a:cubicBezTo>
                    <a:pt x="1056865" y="352539"/>
                    <a:pt x="1059903" y="346463"/>
                    <a:pt x="1069017" y="340387"/>
                  </a:cubicBezTo>
                  <a:cubicBezTo>
                    <a:pt x="1072055" y="337349"/>
                    <a:pt x="1075853" y="336589"/>
                    <a:pt x="1080030" y="337729"/>
                  </a:cubicBezTo>
                  <a:close/>
                  <a:moveTo>
                    <a:pt x="1787899" y="331653"/>
                  </a:moveTo>
                  <a:cubicBezTo>
                    <a:pt x="1792076" y="332792"/>
                    <a:pt x="1796634" y="335830"/>
                    <a:pt x="1801191" y="340387"/>
                  </a:cubicBezTo>
                  <a:cubicBezTo>
                    <a:pt x="1810305" y="349501"/>
                    <a:pt x="1801191" y="361654"/>
                    <a:pt x="1795115" y="364692"/>
                  </a:cubicBezTo>
                  <a:cubicBezTo>
                    <a:pt x="1789038" y="367730"/>
                    <a:pt x="1776886" y="370768"/>
                    <a:pt x="1770810" y="358616"/>
                  </a:cubicBezTo>
                  <a:cubicBezTo>
                    <a:pt x="1764734" y="346463"/>
                    <a:pt x="1767772" y="340387"/>
                    <a:pt x="1776886" y="334311"/>
                  </a:cubicBezTo>
                  <a:cubicBezTo>
                    <a:pt x="1779924" y="331273"/>
                    <a:pt x="1783722" y="330513"/>
                    <a:pt x="1787899" y="331653"/>
                  </a:cubicBezTo>
                  <a:close/>
                  <a:moveTo>
                    <a:pt x="1879040" y="328615"/>
                  </a:moveTo>
                  <a:cubicBezTo>
                    <a:pt x="1883217" y="329754"/>
                    <a:pt x="1887775" y="332792"/>
                    <a:pt x="1892332" y="337349"/>
                  </a:cubicBezTo>
                  <a:cubicBezTo>
                    <a:pt x="1901446" y="346463"/>
                    <a:pt x="1895370" y="355578"/>
                    <a:pt x="1886256" y="361654"/>
                  </a:cubicBezTo>
                  <a:cubicBezTo>
                    <a:pt x="1880179" y="364692"/>
                    <a:pt x="1868027" y="367730"/>
                    <a:pt x="1861951" y="355578"/>
                  </a:cubicBezTo>
                  <a:cubicBezTo>
                    <a:pt x="1855875" y="343425"/>
                    <a:pt x="1858913" y="334311"/>
                    <a:pt x="1868027" y="331273"/>
                  </a:cubicBezTo>
                  <a:cubicBezTo>
                    <a:pt x="1871065" y="328235"/>
                    <a:pt x="1874863" y="327475"/>
                    <a:pt x="1879040" y="328615"/>
                  </a:cubicBezTo>
                  <a:close/>
                  <a:moveTo>
                    <a:pt x="1265352" y="325577"/>
                  </a:moveTo>
                  <a:cubicBezTo>
                    <a:pt x="1269530" y="326716"/>
                    <a:pt x="1274087" y="329754"/>
                    <a:pt x="1278644" y="334311"/>
                  </a:cubicBezTo>
                  <a:cubicBezTo>
                    <a:pt x="1287758" y="343425"/>
                    <a:pt x="1278644" y="355578"/>
                    <a:pt x="1272568" y="358616"/>
                  </a:cubicBezTo>
                  <a:cubicBezTo>
                    <a:pt x="1266492" y="361654"/>
                    <a:pt x="1254339" y="364692"/>
                    <a:pt x="1248263" y="352540"/>
                  </a:cubicBezTo>
                  <a:cubicBezTo>
                    <a:pt x="1242187" y="337349"/>
                    <a:pt x="1245225" y="331273"/>
                    <a:pt x="1254339" y="328235"/>
                  </a:cubicBezTo>
                  <a:cubicBezTo>
                    <a:pt x="1257377" y="325197"/>
                    <a:pt x="1261175" y="324437"/>
                    <a:pt x="1265352" y="325577"/>
                  </a:cubicBezTo>
                  <a:close/>
                  <a:moveTo>
                    <a:pt x="864328" y="319501"/>
                  </a:moveTo>
                  <a:cubicBezTo>
                    <a:pt x="868506" y="320640"/>
                    <a:pt x="873063" y="323678"/>
                    <a:pt x="877620" y="328235"/>
                  </a:cubicBezTo>
                  <a:cubicBezTo>
                    <a:pt x="886734" y="337349"/>
                    <a:pt x="877620" y="349502"/>
                    <a:pt x="871544" y="352540"/>
                  </a:cubicBezTo>
                  <a:cubicBezTo>
                    <a:pt x="865468" y="355578"/>
                    <a:pt x="853315" y="358616"/>
                    <a:pt x="847239" y="346464"/>
                  </a:cubicBezTo>
                  <a:cubicBezTo>
                    <a:pt x="841163" y="334311"/>
                    <a:pt x="844201" y="325197"/>
                    <a:pt x="853315" y="322159"/>
                  </a:cubicBezTo>
                  <a:cubicBezTo>
                    <a:pt x="856353" y="319121"/>
                    <a:pt x="860151" y="318361"/>
                    <a:pt x="864328" y="319501"/>
                  </a:cubicBezTo>
                  <a:close/>
                  <a:moveTo>
                    <a:pt x="1459788" y="316463"/>
                  </a:moveTo>
                  <a:cubicBezTo>
                    <a:pt x="1463966" y="317602"/>
                    <a:pt x="1468523" y="320640"/>
                    <a:pt x="1473080" y="325197"/>
                  </a:cubicBezTo>
                  <a:cubicBezTo>
                    <a:pt x="1482194" y="334311"/>
                    <a:pt x="1476118" y="343426"/>
                    <a:pt x="1467004" y="349502"/>
                  </a:cubicBezTo>
                  <a:cubicBezTo>
                    <a:pt x="1460928" y="352540"/>
                    <a:pt x="1448775" y="355578"/>
                    <a:pt x="1442699" y="343426"/>
                  </a:cubicBezTo>
                  <a:cubicBezTo>
                    <a:pt x="1436623" y="328235"/>
                    <a:pt x="1439661" y="322159"/>
                    <a:pt x="1448775" y="319121"/>
                  </a:cubicBezTo>
                  <a:cubicBezTo>
                    <a:pt x="1451813" y="316083"/>
                    <a:pt x="1455611" y="315323"/>
                    <a:pt x="1459788" y="316463"/>
                  </a:cubicBezTo>
                  <a:close/>
                  <a:moveTo>
                    <a:pt x="1702833" y="310387"/>
                  </a:moveTo>
                  <a:cubicBezTo>
                    <a:pt x="1707011" y="311526"/>
                    <a:pt x="1711568" y="314564"/>
                    <a:pt x="1716125" y="319121"/>
                  </a:cubicBezTo>
                  <a:cubicBezTo>
                    <a:pt x="1725239" y="328235"/>
                    <a:pt x="1716125" y="340388"/>
                    <a:pt x="1710049" y="343426"/>
                  </a:cubicBezTo>
                  <a:cubicBezTo>
                    <a:pt x="1703973" y="346464"/>
                    <a:pt x="1691820" y="349502"/>
                    <a:pt x="1685744" y="337350"/>
                  </a:cubicBezTo>
                  <a:cubicBezTo>
                    <a:pt x="1679668" y="322159"/>
                    <a:pt x="1682706" y="316083"/>
                    <a:pt x="1691820" y="313045"/>
                  </a:cubicBezTo>
                  <a:cubicBezTo>
                    <a:pt x="1694858" y="310007"/>
                    <a:pt x="1698656" y="309247"/>
                    <a:pt x="1702833" y="310387"/>
                  </a:cubicBezTo>
                  <a:close/>
                  <a:moveTo>
                    <a:pt x="1577893" y="297095"/>
                  </a:moveTo>
                  <a:cubicBezTo>
                    <a:pt x="1582450" y="297855"/>
                    <a:pt x="1587008" y="300893"/>
                    <a:pt x="1591565" y="306969"/>
                  </a:cubicBezTo>
                  <a:cubicBezTo>
                    <a:pt x="1600679" y="316083"/>
                    <a:pt x="1594603" y="325198"/>
                    <a:pt x="1585489" y="331274"/>
                  </a:cubicBezTo>
                  <a:cubicBezTo>
                    <a:pt x="1579412" y="334312"/>
                    <a:pt x="1567260" y="337350"/>
                    <a:pt x="1561184" y="325198"/>
                  </a:cubicBezTo>
                  <a:cubicBezTo>
                    <a:pt x="1555108" y="313045"/>
                    <a:pt x="1558146" y="303931"/>
                    <a:pt x="1564222" y="300893"/>
                  </a:cubicBezTo>
                  <a:cubicBezTo>
                    <a:pt x="1568779" y="297855"/>
                    <a:pt x="1573336" y="296336"/>
                    <a:pt x="1577893" y="297095"/>
                  </a:cubicBezTo>
                  <a:close/>
                  <a:moveTo>
                    <a:pt x="955470" y="295196"/>
                  </a:moveTo>
                  <a:cubicBezTo>
                    <a:pt x="959648" y="296335"/>
                    <a:pt x="964205" y="299373"/>
                    <a:pt x="968762" y="303930"/>
                  </a:cubicBezTo>
                  <a:cubicBezTo>
                    <a:pt x="977876" y="313044"/>
                    <a:pt x="971800" y="322159"/>
                    <a:pt x="962686" y="328235"/>
                  </a:cubicBezTo>
                  <a:cubicBezTo>
                    <a:pt x="956610" y="331273"/>
                    <a:pt x="944457" y="334311"/>
                    <a:pt x="938381" y="322159"/>
                  </a:cubicBezTo>
                  <a:cubicBezTo>
                    <a:pt x="932305" y="310006"/>
                    <a:pt x="935343" y="303930"/>
                    <a:pt x="944457" y="297854"/>
                  </a:cubicBezTo>
                  <a:cubicBezTo>
                    <a:pt x="947495" y="294816"/>
                    <a:pt x="951293" y="294056"/>
                    <a:pt x="955470" y="295196"/>
                  </a:cubicBezTo>
                  <a:close/>
                  <a:moveTo>
                    <a:pt x="1365608" y="283044"/>
                  </a:moveTo>
                  <a:cubicBezTo>
                    <a:pt x="1369786" y="284183"/>
                    <a:pt x="1374343" y="287221"/>
                    <a:pt x="1378900" y="291778"/>
                  </a:cubicBezTo>
                  <a:cubicBezTo>
                    <a:pt x="1388014" y="300892"/>
                    <a:pt x="1381938" y="310007"/>
                    <a:pt x="1372824" y="316083"/>
                  </a:cubicBezTo>
                  <a:cubicBezTo>
                    <a:pt x="1366748" y="319121"/>
                    <a:pt x="1354595" y="322159"/>
                    <a:pt x="1348519" y="310007"/>
                  </a:cubicBezTo>
                  <a:cubicBezTo>
                    <a:pt x="1342443" y="297854"/>
                    <a:pt x="1345481" y="291778"/>
                    <a:pt x="1354595" y="285702"/>
                  </a:cubicBezTo>
                  <a:cubicBezTo>
                    <a:pt x="1357633" y="282664"/>
                    <a:pt x="1361431" y="281904"/>
                    <a:pt x="1365608" y="283044"/>
                  </a:cubicBezTo>
                  <a:close/>
                  <a:moveTo>
                    <a:pt x="1979296" y="267854"/>
                  </a:moveTo>
                  <a:cubicBezTo>
                    <a:pt x="1983474" y="268993"/>
                    <a:pt x="1988031" y="272031"/>
                    <a:pt x="1992588" y="276588"/>
                  </a:cubicBezTo>
                  <a:cubicBezTo>
                    <a:pt x="2001702" y="285702"/>
                    <a:pt x="1995626" y="294817"/>
                    <a:pt x="1986512" y="300893"/>
                  </a:cubicBezTo>
                  <a:cubicBezTo>
                    <a:pt x="1980436" y="303931"/>
                    <a:pt x="1968283" y="306969"/>
                    <a:pt x="1962207" y="294817"/>
                  </a:cubicBezTo>
                  <a:cubicBezTo>
                    <a:pt x="1956131" y="279626"/>
                    <a:pt x="1959169" y="273550"/>
                    <a:pt x="1968283" y="270512"/>
                  </a:cubicBezTo>
                  <a:cubicBezTo>
                    <a:pt x="1971321" y="267474"/>
                    <a:pt x="1975119" y="266714"/>
                    <a:pt x="1979296" y="267854"/>
                  </a:cubicBezTo>
                  <a:close/>
                  <a:moveTo>
                    <a:pt x="1173830" y="266714"/>
                  </a:moveTo>
                  <a:cubicBezTo>
                    <a:pt x="1178387" y="267474"/>
                    <a:pt x="1182945" y="270512"/>
                    <a:pt x="1187502" y="276588"/>
                  </a:cubicBezTo>
                  <a:cubicBezTo>
                    <a:pt x="1196616" y="285702"/>
                    <a:pt x="1190540" y="294817"/>
                    <a:pt x="1181425" y="300893"/>
                  </a:cubicBezTo>
                  <a:cubicBezTo>
                    <a:pt x="1175349" y="303931"/>
                    <a:pt x="1163197" y="306969"/>
                    <a:pt x="1157121" y="294817"/>
                  </a:cubicBezTo>
                  <a:cubicBezTo>
                    <a:pt x="1151045" y="282664"/>
                    <a:pt x="1154083" y="273550"/>
                    <a:pt x="1160159" y="270512"/>
                  </a:cubicBezTo>
                  <a:cubicBezTo>
                    <a:pt x="1164716" y="267474"/>
                    <a:pt x="1169273" y="265955"/>
                    <a:pt x="1173830" y="266714"/>
                  </a:cubicBezTo>
                  <a:close/>
                  <a:moveTo>
                    <a:pt x="2167656" y="246587"/>
                  </a:moveTo>
                  <a:cubicBezTo>
                    <a:pt x="2171833" y="247726"/>
                    <a:pt x="2176391" y="250764"/>
                    <a:pt x="2180948" y="255321"/>
                  </a:cubicBezTo>
                  <a:cubicBezTo>
                    <a:pt x="2190062" y="264435"/>
                    <a:pt x="2183986" y="273550"/>
                    <a:pt x="2174872" y="279626"/>
                  </a:cubicBezTo>
                  <a:cubicBezTo>
                    <a:pt x="2168795" y="282664"/>
                    <a:pt x="2156643" y="285702"/>
                    <a:pt x="2150567" y="273550"/>
                  </a:cubicBezTo>
                  <a:cubicBezTo>
                    <a:pt x="2144491" y="258359"/>
                    <a:pt x="2147529" y="252283"/>
                    <a:pt x="2156643" y="249245"/>
                  </a:cubicBezTo>
                  <a:cubicBezTo>
                    <a:pt x="2159681" y="246207"/>
                    <a:pt x="2163479" y="245447"/>
                    <a:pt x="2167656" y="246587"/>
                  </a:cubicBezTo>
                  <a:close/>
                  <a:moveTo>
                    <a:pt x="2073477" y="240511"/>
                  </a:moveTo>
                  <a:cubicBezTo>
                    <a:pt x="2077654" y="241650"/>
                    <a:pt x="2082211" y="244688"/>
                    <a:pt x="2086768" y="249245"/>
                  </a:cubicBezTo>
                  <a:cubicBezTo>
                    <a:pt x="2095882" y="258359"/>
                    <a:pt x="2089806" y="267474"/>
                    <a:pt x="2080692" y="273550"/>
                  </a:cubicBezTo>
                  <a:cubicBezTo>
                    <a:pt x="2074616" y="276588"/>
                    <a:pt x="2062463" y="279626"/>
                    <a:pt x="2056387" y="267474"/>
                  </a:cubicBezTo>
                  <a:cubicBezTo>
                    <a:pt x="2050311" y="252283"/>
                    <a:pt x="2053349" y="246207"/>
                    <a:pt x="2062463" y="243169"/>
                  </a:cubicBezTo>
                  <a:cubicBezTo>
                    <a:pt x="2065502" y="240131"/>
                    <a:pt x="2069299" y="239371"/>
                    <a:pt x="2073477" y="240511"/>
                  </a:cubicBezTo>
                  <a:close/>
                  <a:moveTo>
                    <a:pt x="1505359" y="222283"/>
                  </a:moveTo>
                  <a:cubicBezTo>
                    <a:pt x="1509537" y="223422"/>
                    <a:pt x="1514094" y="226460"/>
                    <a:pt x="1518651" y="231017"/>
                  </a:cubicBezTo>
                  <a:cubicBezTo>
                    <a:pt x="1527765" y="240131"/>
                    <a:pt x="1521689" y="249246"/>
                    <a:pt x="1512575" y="255322"/>
                  </a:cubicBezTo>
                  <a:cubicBezTo>
                    <a:pt x="1506499" y="258360"/>
                    <a:pt x="1494346" y="261398"/>
                    <a:pt x="1488270" y="249246"/>
                  </a:cubicBezTo>
                  <a:cubicBezTo>
                    <a:pt x="1482194" y="234055"/>
                    <a:pt x="1485232" y="227979"/>
                    <a:pt x="1494346" y="224941"/>
                  </a:cubicBezTo>
                  <a:cubicBezTo>
                    <a:pt x="1497384" y="221903"/>
                    <a:pt x="1501182" y="221143"/>
                    <a:pt x="1505359" y="222283"/>
                  </a:cubicBezTo>
                  <a:close/>
                  <a:moveTo>
                    <a:pt x="1007117" y="222283"/>
                  </a:moveTo>
                  <a:cubicBezTo>
                    <a:pt x="1011295" y="223422"/>
                    <a:pt x="1015852" y="226460"/>
                    <a:pt x="1020409" y="231017"/>
                  </a:cubicBezTo>
                  <a:cubicBezTo>
                    <a:pt x="1029523" y="240131"/>
                    <a:pt x="1020409" y="252284"/>
                    <a:pt x="1014333" y="255322"/>
                  </a:cubicBezTo>
                  <a:cubicBezTo>
                    <a:pt x="1008257" y="258360"/>
                    <a:pt x="996104" y="261398"/>
                    <a:pt x="990028" y="249246"/>
                  </a:cubicBezTo>
                  <a:cubicBezTo>
                    <a:pt x="983952" y="237093"/>
                    <a:pt x="986990" y="231017"/>
                    <a:pt x="996104" y="224941"/>
                  </a:cubicBezTo>
                  <a:cubicBezTo>
                    <a:pt x="999142" y="221903"/>
                    <a:pt x="1002940" y="221143"/>
                    <a:pt x="1007117" y="222283"/>
                  </a:cubicBezTo>
                  <a:close/>
                  <a:moveTo>
                    <a:pt x="1298771" y="210131"/>
                  </a:moveTo>
                  <a:cubicBezTo>
                    <a:pt x="1302948" y="211270"/>
                    <a:pt x="1307506" y="214308"/>
                    <a:pt x="1312063" y="218865"/>
                  </a:cubicBezTo>
                  <a:cubicBezTo>
                    <a:pt x="1321177" y="227979"/>
                    <a:pt x="1312063" y="240132"/>
                    <a:pt x="1305987" y="243170"/>
                  </a:cubicBezTo>
                  <a:cubicBezTo>
                    <a:pt x="1299910" y="246208"/>
                    <a:pt x="1287758" y="249246"/>
                    <a:pt x="1281682" y="237094"/>
                  </a:cubicBezTo>
                  <a:cubicBezTo>
                    <a:pt x="1275606" y="224941"/>
                    <a:pt x="1275606" y="215827"/>
                    <a:pt x="1287758" y="212789"/>
                  </a:cubicBezTo>
                  <a:cubicBezTo>
                    <a:pt x="1290796" y="209751"/>
                    <a:pt x="1294594" y="208991"/>
                    <a:pt x="1298771" y="210131"/>
                  </a:cubicBezTo>
                  <a:close/>
                  <a:moveTo>
                    <a:pt x="1881700" y="207472"/>
                  </a:moveTo>
                  <a:cubicBezTo>
                    <a:pt x="1886257" y="208991"/>
                    <a:pt x="1890814" y="212789"/>
                    <a:pt x="1895371" y="218865"/>
                  </a:cubicBezTo>
                  <a:cubicBezTo>
                    <a:pt x="1904485" y="227979"/>
                    <a:pt x="1898409" y="237094"/>
                    <a:pt x="1889295" y="243170"/>
                  </a:cubicBezTo>
                  <a:cubicBezTo>
                    <a:pt x="1883218" y="246208"/>
                    <a:pt x="1871066" y="249246"/>
                    <a:pt x="1864990" y="237094"/>
                  </a:cubicBezTo>
                  <a:cubicBezTo>
                    <a:pt x="1858914" y="221903"/>
                    <a:pt x="1861952" y="215827"/>
                    <a:pt x="1868028" y="209751"/>
                  </a:cubicBezTo>
                  <a:cubicBezTo>
                    <a:pt x="1872585" y="206713"/>
                    <a:pt x="1877142" y="205953"/>
                    <a:pt x="1881700" y="207472"/>
                  </a:cubicBezTo>
                  <a:close/>
                  <a:moveTo>
                    <a:pt x="1657262" y="207093"/>
                  </a:moveTo>
                  <a:cubicBezTo>
                    <a:pt x="1661440" y="208232"/>
                    <a:pt x="1665997" y="211270"/>
                    <a:pt x="1670554" y="215827"/>
                  </a:cubicBezTo>
                  <a:cubicBezTo>
                    <a:pt x="1679668" y="224941"/>
                    <a:pt x="1673592" y="234056"/>
                    <a:pt x="1664478" y="240132"/>
                  </a:cubicBezTo>
                  <a:cubicBezTo>
                    <a:pt x="1655363" y="246208"/>
                    <a:pt x="1643211" y="249246"/>
                    <a:pt x="1637135" y="234056"/>
                  </a:cubicBezTo>
                  <a:cubicBezTo>
                    <a:pt x="1631059" y="221903"/>
                    <a:pt x="1634097" y="215827"/>
                    <a:pt x="1646249" y="209751"/>
                  </a:cubicBezTo>
                  <a:cubicBezTo>
                    <a:pt x="1649287" y="206713"/>
                    <a:pt x="1653085" y="205953"/>
                    <a:pt x="1657262" y="207093"/>
                  </a:cubicBezTo>
                  <a:close/>
                  <a:moveTo>
                    <a:pt x="1769671" y="201017"/>
                  </a:moveTo>
                  <a:cubicBezTo>
                    <a:pt x="1773848" y="202156"/>
                    <a:pt x="1778405" y="205194"/>
                    <a:pt x="1782962" y="209751"/>
                  </a:cubicBezTo>
                  <a:cubicBezTo>
                    <a:pt x="1792076" y="218865"/>
                    <a:pt x="1786000" y="227980"/>
                    <a:pt x="1776886" y="234056"/>
                  </a:cubicBezTo>
                  <a:cubicBezTo>
                    <a:pt x="1770810" y="240132"/>
                    <a:pt x="1758657" y="240132"/>
                    <a:pt x="1752581" y="227980"/>
                  </a:cubicBezTo>
                  <a:cubicBezTo>
                    <a:pt x="1746505" y="215827"/>
                    <a:pt x="1749543" y="209751"/>
                    <a:pt x="1758657" y="203675"/>
                  </a:cubicBezTo>
                  <a:cubicBezTo>
                    <a:pt x="1761696" y="200637"/>
                    <a:pt x="1765493" y="199877"/>
                    <a:pt x="1769671" y="201017"/>
                  </a:cubicBezTo>
                  <a:close/>
                  <a:moveTo>
                    <a:pt x="1089145" y="197978"/>
                  </a:moveTo>
                  <a:cubicBezTo>
                    <a:pt x="1093323" y="199117"/>
                    <a:pt x="1097880" y="202155"/>
                    <a:pt x="1102437" y="206712"/>
                  </a:cubicBezTo>
                  <a:cubicBezTo>
                    <a:pt x="1111551" y="215826"/>
                    <a:pt x="1105475" y="224941"/>
                    <a:pt x="1096361" y="231017"/>
                  </a:cubicBezTo>
                  <a:cubicBezTo>
                    <a:pt x="1090284" y="234055"/>
                    <a:pt x="1078132" y="237093"/>
                    <a:pt x="1072056" y="224941"/>
                  </a:cubicBezTo>
                  <a:cubicBezTo>
                    <a:pt x="1065980" y="212788"/>
                    <a:pt x="1069018" y="203674"/>
                    <a:pt x="1078132" y="200636"/>
                  </a:cubicBezTo>
                  <a:cubicBezTo>
                    <a:pt x="1081170" y="197598"/>
                    <a:pt x="1084968" y="196838"/>
                    <a:pt x="1089145" y="197978"/>
                  </a:cubicBezTo>
                  <a:close/>
                  <a:moveTo>
                    <a:pt x="1395989" y="161522"/>
                  </a:moveTo>
                  <a:cubicBezTo>
                    <a:pt x="1400167" y="162661"/>
                    <a:pt x="1404724" y="165699"/>
                    <a:pt x="1409281" y="170256"/>
                  </a:cubicBezTo>
                  <a:cubicBezTo>
                    <a:pt x="1418395" y="179370"/>
                    <a:pt x="1412319" y="188485"/>
                    <a:pt x="1403205" y="194561"/>
                  </a:cubicBezTo>
                  <a:cubicBezTo>
                    <a:pt x="1397129" y="197599"/>
                    <a:pt x="1384976" y="200637"/>
                    <a:pt x="1378900" y="188485"/>
                  </a:cubicBezTo>
                  <a:cubicBezTo>
                    <a:pt x="1372824" y="176332"/>
                    <a:pt x="1375862" y="170256"/>
                    <a:pt x="1384976" y="164180"/>
                  </a:cubicBezTo>
                  <a:cubicBezTo>
                    <a:pt x="1388014" y="161142"/>
                    <a:pt x="1391812" y="160382"/>
                    <a:pt x="1395989" y="161522"/>
                  </a:cubicBezTo>
                  <a:close/>
                  <a:moveTo>
                    <a:pt x="1967145" y="140255"/>
                  </a:moveTo>
                  <a:cubicBezTo>
                    <a:pt x="1971322" y="141394"/>
                    <a:pt x="1975879" y="144432"/>
                    <a:pt x="1980436" y="148989"/>
                  </a:cubicBezTo>
                  <a:cubicBezTo>
                    <a:pt x="1989550" y="158103"/>
                    <a:pt x="1983474" y="167218"/>
                    <a:pt x="1974360" y="173294"/>
                  </a:cubicBezTo>
                  <a:cubicBezTo>
                    <a:pt x="1968284" y="179370"/>
                    <a:pt x="1956131" y="182408"/>
                    <a:pt x="1950055" y="170256"/>
                  </a:cubicBezTo>
                  <a:cubicBezTo>
                    <a:pt x="1943979" y="155065"/>
                    <a:pt x="1947017" y="148989"/>
                    <a:pt x="1956131" y="142913"/>
                  </a:cubicBezTo>
                  <a:cubicBezTo>
                    <a:pt x="1959170" y="139875"/>
                    <a:pt x="1962967" y="139115"/>
                    <a:pt x="1967145" y="140255"/>
                  </a:cubicBezTo>
                  <a:close/>
                  <a:moveTo>
                    <a:pt x="1234971" y="131141"/>
                  </a:moveTo>
                  <a:cubicBezTo>
                    <a:pt x="1239149" y="132280"/>
                    <a:pt x="1243706" y="135318"/>
                    <a:pt x="1248263" y="139875"/>
                  </a:cubicBezTo>
                  <a:cubicBezTo>
                    <a:pt x="1257377" y="148989"/>
                    <a:pt x="1251301" y="158104"/>
                    <a:pt x="1242187" y="164180"/>
                  </a:cubicBezTo>
                  <a:cubicBezTo>
                    <a:pt x="1236111" y="167218"/>
                    <a:pt x="1223958" y="170256"/>
                    <a:pt x="1217882" y="158104"/>
                  </a:cubicBezTo>
                  <a:cubicBezTo>
                    <a:pt x="1211806" y="142913"/>
                    <a:pt x="1214844" y="136837"/>
                    <a:pt x="1223958" y="133799"/>
                  </a:cubicBezTo>
                  <a:cubicBezTo>
                    <a:pt x="1226996" y="130761"/>
                    <a:pt x="1230794" y="130001"/>
                    <a:pt x="1234971" y="131141"/>
                  </a:cubicBezTo>
                  <a:close/>
                  <a:moveTo>
                    <a:pt x="1149906" y="131141"/>
                  </a:moveTo>
                  <a:cubicBezTo>
                    <a:pt x="1154084" y="132280"/>
                    <a:pt x="1158641" y="135318"/>
                    <a:pt x="1163198" y="139875"/>
                  </a:cubicBezTo>
                  <a:cubicBezTo>
                    <a:pt x="1172312" y="148989"/>
                    <a:pt x="1166236" y="158104"/>
                    <a:pt x="1157122" y="164180"/>
                  </a:cubicBezTo>
                  <a:cubicBezTo>
                    <a:pt x="1151045" y="167218"/>
                    <a:pt x="1138893" y="170256"/>
                    <a:pt x="1132817" y="158104"/>
                  </a:cubicBezTo>
                  <a:cubicBezTo>
                    <a:pt x="1126741" y="145951"/>
                    <a:pt x="1129779" y="139875"/>
                    <a:pt x="1138893" y="133799"/>
                  </a:cubicBezTo>
                  <a:cubicBezTo>
                    <a:pt x="1141931" y="130761"/>
                    <a:pt x="1145729" y="130001"/>
                    <a:pt x="1149906" y="131141"/>
                  </a:cubicBezTo>
                  <a:close/>
                  <a:moveTo>
                    <a:pt x="2064362" y="128103"/>
                  </a:moveTo>
                  <a:cubicBezTo>
                    <a:pt x="2068540" y="129242"/>
                    <a:pt x="2073097" y="132280"/>
                    <a:pt x="2077654" y="136837"/>
                  </a:cubicBezTo>
                  <a:cubicBezTo>
                    <a:pt x="2086768" y="145951"/>
                    <a:pt x="2080692" y="155066"/>
                    <a:pt x="2071578" y="161142"/>
                  </a:cubicBezTo>
                  <a:cubicBezTo>
                    <a:pt x="2065501" y="164180"/>
                    <a:pt x="2053349" y="167218"/>
                    <a:pt x="2047273" y="155066"/>
                  </a:cubicBezTo>
                  <a:cubicBezTo>
                    <a:pt x="2041197" y="139875"/>
                    <a:pt x="2044235" y="133799"/>
                    <a:pt x="2053349" y="130761"/>
                  </a:cubicBezTo>
                  <a:cubicBezTo>
                    <a:pt x="2056387" y="127723"/>
                    <a:pt x="2060185" y="126963"/>
                    <a:pt x="2064362" y="128103"/>
                  </a:cubicBezTo>
                  <a:close/>
                  <a:moveTo>
                    <a:pt x="1496245" y="120887"/>
                  </a:moveTo>
                  <a:cubicBezTo>
                    <a:pt x="1500423" y="121647"/>
                    <a:pt x="1504980" y="124685"/>
                    <a:pt x="1509537" y="130761"/>
                  </a:cubicBezTo>
                  <a:cubicBezTo>
                    <a:pt x="1518651" y="139875"/>
                    <a:pt x="1512575" y="148990"/>
                    <a:pt x="1503461" y="155066"/>
                  </a:cubicBezTo>
                  <a:cubicBezTo>
                    <a:pt x="1497385" y="158104"/>
                    <a:pt x="1485232" y="161142"/>
                    <a:pt x="1479156" y="148990"/>
                  </a:cubicBezTo>
                  <a:cubicBezTo>
                    <a:pt x="1473080" y="136837"/>
                    <a:pt x="1476118" y="130761"/>
                    <a:pt x="1485232" y="124685"/>
                  </a:cubicBezTo>
                  <a:cubicBezTo>
                    <a:pt x="1488270" y="121647"/>
                    <a:pt x="1492068" y="120128"/>
                    <a:pt x="1496245" y="120887"/>
                  </a:cubicBezTo>
                  <a:close/>
                  <a:moveTo>
                    <a:pt x="1599539" y="112913"/>
                  </a:moveTo>
                  <a:cubicBezTo>
                    <a:pt x="1603716" y="114052"/>
                    <a:pt x="1608274" y="117090"/>
                    <a:pt x="1612831" y="121647"/>
                  </a:cubicBezTo>
                  <a:cubicBezTo>
                    <a:pt x="1621945" y="130761"/>
                    <a:pt x="1615869" y="139876"/>
                    <a:pt x="1606754" y="145952"/>
                  </a:cubicBezTo>
                  <a:cubicBezTo>
                    <a:pt x="1600678" y="148990"/>
                    <a:pt x="1588526" y="152028"/>
                    <a:pt x="1582450" y="139876"/>
                  </a:cubicBezTo>
                  <a:cubicBezTo>
                    <a:pt x="1579412" y="127723"/>
                    <a:pt x="1579412" y="121647"/>
                    <a:pt x="1588526" y="115571"/>
                  </a:cubicBezTo>
                  <a:cubicBezTo>
                    <a:pt x="1591564" y="112533"/>
                    <a:pt x="1595362" y="111773"/>
                    <a:pt x="1599539" y="112913"/>
                  </a:cubicBezTo>
                  <a:close/>
                  <a:moveTo>
                    <a:pt x="1836508" y="109875"/>
                  </a:moveTo>
                  <a:cubicBezTo>
                    <a:pt x="1840686" y="111014"/>
                    <a:pt x="1845243" y="114052"/>
                    <a:pt x="1849800" y="118609"/>
                  </a:cubicBezTo>
                  <a:cubicBezTo>
                    <a:pt x="1858914" y="127723"/>
                    <a:pt x="1852838" y="136838"/>
                    <a:pt x="1843724" y="142914"/>
                  </a:cubicBezTo>
                  <a:cubicBezTo>
                    <a:pt x="1837647" y="145952"/>
                    <a:pt x="1825495" y="148990"/>
                    <a:pt x="1819419" y="136838"/>
                  </a:cubicBezTo>
                  <a:cubicBezTo>
                    <a:pt x="1813343" y="124685"/>
                    <a:pt x="1816381" y="118609"/>
                    <a:pt x="1825495" y="112533"/>
                  </a:cubicBezTo>
                  <a:cubicBezTo>
                    <a:pt x="1828533" y="109495"/>
                    <a:pt x="1832331" y="108735"/>
                    <a:pt x="1836508" y="109875"/>
                  </a:cubicBezTo>
                  <a:close/>
                  <a:moveTo>
                    <a:pt x="1708529" y="106837"/>
                  </a:moveTo>
                  <a:cubicBezTo>
                    <a:pt x="1713086" y="107976"/>
                    <a:pt x="1717644" y="111014"/>
                    <a:pt x="1722201" y="115571"/>
                  </a:cubicBezTo>
                  <a:cubicBezTo>
                    <a:pt x="1731315" y="124685"/>
                    <a:pt x="1725239" y="133800"/>
                    <a:pt x="1716124" y="139876"/>
                  </a:cubicBezTo>
                  <a:cubicBezTo>
                    <a:pt x="1710048" y="142914"/>
                    <a:pt x="1697896" y="145952"/>
                    <a:pt x="1691820" y="133800"/>
                  </a:cubicBezTo>
                  <a:cubicBezTo>
                    <a:pt x="1685744" y="121647"/>
                    <a:pt x="1688782" y="112533"/>
                    <a:pt x="1694858" y="109495"/>
                  </a:cubicBezTo>
                  <a:cubicBezTo>
                    <a:pt x="1699415" y="106457"/>
                    <a:pt x="1703972" y="105697"/>
                    <a:pt x="1708529" y="106837"/>
                  </a:cubicBezTo>
                  <a:close/>
                  <a:moveTo>
                    <a:pt x="1301429" y="60126"/>
                  </a:moveTo>
                  <a:cubicBezTo>
                    <a:pt x="1305986" y="60886"/>
                    <a:pt x="1310544" y="63924"/>
                    <a:pt x="1315101" y="70000"/>
                  </a:cubicBezTo>
                  <a:cubicBezTo>
                    <a:pt x="1324215" y="79114"/>
                    <a:pt x="1318139" y="88229"/>
                    <a:pt x="1309024" y="94305"/>
                  </a:cubicBezTo>
                  <a:cubicBezTo>
                    <a:pt x="1302948" y="97343"/>
                    <a:pt x="1290796" y="100381"/>
                    <a:pt x="1284720" y="88229"/>
                  </a:cubicBezTo>
                  <a:cubicBezTo>
                    <a:pt x="1278644" y="76076"/>
                    <a:pt x="1281682" y="70000"/>
                    <a:pt x="1287758" y="63924"/>
                  </a:cubicBezTo>
                  <a:cubicBezTo>
                    <a:pt x="1292315" y="60886"/>
                    <a:pt x="1296872" y="59367"/>
                    <a:pt x="1301429" y="60126"/>
                  </a:cubicBezTo>
                  <a:close/>
                  <a:moveTo>
                    <a:pt x="1930687" y="49113"/>
                  </a:moveTo>
                  <a:cubicBezTo>
                    <a:pt x="1934865" y="50252"/>
                    <a:pt x="1939422" y="53290"/>
                    <a:pt x="1943979" y="57847"/>
                  </a:cubicBezTo>
                  <a:cubicBezTo>
                    <a:pt x="1953093" y="66961"/>
                    <a:pt x="1943979" y="79114"/>
                    <a:pt x="1937903" y="82152"/>
                  </a:cubicBezTo>
                  <a:cubicBezTo>
                    <a:pt x="1931827" y="85190"/>
                    <a:pt x="1919674" y="88228"/>
                    <a:pt x="1913598" y="76076"/>
                  </a:cubicBezTo>
                  <a:cubicBezTo>
                    <a:pt x="1907522" y="60885"/>
                    <a:pt x="1910560" y="54809"/>
                    <a:pt x="1919674" y="51771"/>
                  </a:cubicBezTo>
                  <a:cubicBezTo>
                    <a:pt x="1922712" y="48733"/>
                    <a:pt x="1926510" y="47973"/>
                    <a:pt x="1930687" y="49113"/>
                  </a:cubicBezTo>
                  <a:close/>
                  <a:moveTo>
                    <a:pt x="1402065" y="43037"/>
                  </a:moveTo>
                  <a:cubicBezTo>
                    <a:pt x="1406243" y="44176"/>
                    <a:pt x="1410800" y="47214"/>
                    <a:pt x="1415357" y="51771"/>
                  </a:cubicBezTo>
                  <a:cubicBezTo>
                    <a:pt x="1424471" y="60885"/>
                    <a:pt x="1418395" y="70000"/>
                    <a:pt x="1409281" y="76076"/>
                  </a:cubicBezTo>
                  <a:cubicBezTo>
                    <a:pt x="1403205" y="79114"/>
                    <a:pt x="1391052" y="82152"/>
                    <a:pt x="1384976" y="70000"/>
                  </a:cubicBezTo>
                  <a:cubicBezTo>
                    <a:pt x="1378900" y="54809"/>
                    <a:pt x="1381938" y="48733"/>
                    <a:pt x="1391052" y="45695"/>
                  </a:cubicBezTo>
                  <a:cubicBezTo>
                    <a:pt x="1394090" y="42657"/>
                    <a:pt x="1397888" y="41897"/>
                    <a:pt x="1402065" y="43037"/>
                  </a:cubicBezTo>
                  <a:close/>
                  <a:moveTo>
                    <a:pt x="1806127" y="15695"/>
                  </a:moveTo>
                  <a:cubicBezTo>
                    <a:pt x="1810305" y="16834"/>
                    <a:pt x="1814862" y="19872"/>
                    <a:pt x="1819419" y="24429"/>
                  </a:cubicBezTo>
                  <a:cubicBezTo>
                    <a:pt x="1828533" y="33543"/>
                    <a:pt x="1819419" y="45696"/>
                    <a:pt x="1813343" y="48734"/>
                  </a:cubicBezTo>
                  <a:cubicBezTo>
                    <a:pt x="1807266" y="51772"/>
                    <a:pt x="1795114" y="54810"/>
                    <a:pt x="1789038" y="42658"/>
                  </a:cubicBezTo>
                  <a:cubicBezTo>
                    <a:pt x="1782962" y="30505"/>
                    <a:pt x="1786000" y="24429"/>
                    <a:pt x="1795114" y="18353"/>
                  </a:cubicBezTo>
                  <a:cubicBezTo>
                    <a:pt x="1798152" y="15315"/>
                    <a:pt x="1801950" y="14555"/>
                    <a:pt x="1806127" y="15695"/>
                  </a:cubicBezTo>
                  <a:close/>
                  <a:moveTo>
                    <a:pt x="1499283" y="9619"/>
                  </a:moveTo>
                  <a:cubicBezTo>
                    <a:pt x="1503461" y="10758"/>
                    <a:pt x="1508018" y="13796"/>
                    <a:pt x="1512575" y="18353"/>
                  </a:cubicBezTo>
                  <a:cubicBezTo>
                    <a:pt x="1521689" y="27467"/>
                    <a:pt x="1512575" y="42658"/>
                    <a:pt x="1506499" y="45696"/>
                  </a:cubicBezTo>
                  <a:cubicBezTo>
                    <a:pt x="1500422" y="48734"/>
                    <a:pt x="1488270" y="51772"/>
                    <a:pt x="1482194" y="39620"/>
                  </a:cubicBezTo>
                  <a:cubicBezTo>
                    <a:pt x="1476118" y="24429"/>
                    <a:pt x="1476118" y="18353"/>
                    <a:pt x="1488270" y="12277"/>
                  </a:cubicBezTo>
                  <a:cubicBezTo>
                    <a:pt x="1491308" y="9239"/>
                    <a:pt x="1495106" y="8479"/>
                    <a:pt x="1499283" y="9619"/>
                  </a:cubicBezTo>
                  <a:close/>
                  <a:moveTo>
                    <a:pt x="1699795" y="3543"/>
                  </a:moveTo>
                  <a:cubicBezTo>
                    <a:pt x="1703973" y="4682"/>
                    <a:pt x="1708530" y="7720"/>
                    <a:pt x="1713087" y="12277"/>
                  </a:cubicBezTo>
                  <a:cubicBezTo>
                    <a:pt x="1722201" y="21391"/>
                    <a:pt x="1716125" y="30506"/>
                    <a:pt x="1707011" y="36582"/>
                  </a:cubicBezTo>
                  <a:cubicBezTo>
                    <a:pt x="1700934" y="39620"/>
                    <a:pt x="1688782" y="42658"/>
                    <a:pt x="1682706" y="30506"/>
                  </a:cubicBezTo>
                  <a:cubicBezTo>
                    <a:pt x="1676630" y="15315"/>
                    <a:pt x="1679668" y="9239"/>
                    <a:pt x="1688782" y="6201"/>
                  </a:cubicBezTo>
                  <a:cubicBezTo>
                    <a:pt x="1691820" y="3163"/>
                    <a:pt x="1695618" y="2403"/>
                    <a:pt x="1699795" y="3543"/>
                  </a:cubicBezTo>
                  <a:close/>
                  <a:moveTo>
                    <a:pt x="1599539" y="504"/>
                  </a:moveTo>
                  <a:cubicBezTo>
                    <a:pt x="1603716" y="1643"/>
                    <a:pt x="1608274" y="4681"/>
                    <a:pt x="1612831" y="9238"/>
                  </a:cubicBezTo>
                  <a:cubicBezTo>
                    <a:pt x="1621945" y="18352"/>
                    <a:pt x="1615869" y="27467"/>
                    <a:pt x="1606754" y="33543"/>
                  </a:cubicBezTo>
                  <a:cubicBezTo>
                    <a:pt x="1600678" y="36581"/>
                    <a:pt x="1588526" y="39619"/>
                    <a:pt x="1582450" y="27467"/>
                  </a:cubicBezTo>
                  <a:cubicBezTo>
                    <a:pt x="1579412" y="12276"/>
                    <a:pt x="1579412" y="6200"/>
                    <a:pt x="1588526" y="3162"/>
                  </a:cubicBezTo>
                  <a:cubicBezTo>
                    <a:pt x="1591564" y="124"/>
                    <a:pt x="1595362" y="-636"/>
                    <a:pt x="1599539" y="50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Freeform: Shape 18">
              <a:extLst>
                <a:ext uri="{FF2B5EF4-FFF2-40B4-BE49-F238E27FC236}">
                  <a16:creationId xmlns:a16="http://schemas.microsoft.com/office/drawing/2014/main" id="{57A70BD2-76FC-4BDD-9E64-3B93D5EF3692}"/>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3474720" y="0"/>
              <a:ext cx="6177282" cy="1778750"/>
            </a:xfrm>
            <a:custGeom>
              <a:avLst/>
              <a:gdLst>
                <a:gd name="connsiteX0" fmla="*/ 4421987 w 6386648"/>
                <a:gd name="connsiteY0" fmla="*/ 1813377 h 1849426"/>
                <a:gd name="connsiteX1" fmla="*/ 4440012 w 6386648"/>
                <a:gd name="connsiteY1" fmla="*/ 1831401 h 1849426"/>
                <a:gd name="connsiteX2" fmla="*/ 4421987 w 6386648"/>
                <a:gd name="connsiteY2" fmla="*/ 1849426 h 1849426"/>
                <a:gd name="connsiteX3" fmla="*/ 4403963 w 6386648"/>
                <a:gd name="connsiteY3" fmla="*/ 1831401 h 1849426"/>
                <a:gd name="connsiteX4" fmla="*/ 4421987 w 6386648"/>
                <a:gd name="connsiteY4" fmla="*/ 1813377 h 1849426"/>
                <a:gd name="connsiteX5" fmla="*/ 4235735 w 6386648"/>
                <a:gd name="connsiteY5" fmla="*/ 1807369 h 1849426"/>
                <a:gd name="connsiteX6" fmla="*/ 4253760 w 6386648"/>
                <a:gd name="connsiteY6" fmla="*/ 1825393 h 1849426"/>
                <a:gd name="connsiteX7" fmla="*/ 4235735 w 6386648"/>
                <a:gd name="connsiteY7" fmla="*/ 1843418 h 1849426"/>
                <a:gd name="connsiteX8" fmla="*/ 4217711 w 6386648"/>
                <a:gd name="connsiteY8" fmla="*/ 1825393 h 1849426"/>
                <a:gd name="connsiteX9" fmla="*/ 4235735 w 6386648"/>
                <a:gd name="connsiteY9" fmla="*/ 1807369 h 1849426"/>
                <a:gd name="connsiteX10" fmla="*/ 4566182 w 6386648"/>
                <a:gd name="connsiteY10" fmla="*/ 1795353 h 1849426"/>
                <a:gd name="connsiteX11" fmla="*/ 4584207 w 6386648"/>
                <a:gd name="connsiteY11" fmla="*/ 1813377 h 1849426"/>
                <a:gd name="connsiteX12" fmla="*/ 4566182 w 6386648"/>
                <a:gd name="connsiteY12" fmla="*/ 1831402 h 1849426"/>
                <a:gd name="connsiteX13" fmla="*/ 4548158 w 6386648"/>
                <a:gd name="connsiteY13" fmla="*/ 1813377 h 1849426"/>
                <a:gd name="connsiteX14" fmla="*/ 4566182 w 6386648"/>
                <a:gd name="connsiteY14" fmla="*/ 1795353 h 1849426"/>
                <a:gd name="connsiteX15" fmla="*/ 4698361 w 6386648"/>
                <a:gd name="connsiteY15" fmla="*/ 1777329 h 1849426"/>
                <a:gd name="connsiteX16" fmla="*/ 4716386 w 6386648"/>
                <a:gd name="connsiteY16" fmla="*/ 1795353 h 1849426"/>
                <a:gd name="connsiteX17" fmla="*/ 4698361 w 6386648"/>
                <a:gd name="connsiteY17" fmla="*/ 1813378 h 1849426"/>
                <a:gd name="connsiteX18" fmla="*/ 4680336 w 6386648"/>
                <a:gd name="connsiteY18" fmla="*/ 1795353 h 1849426"/>
                <a:gd name="connsiteX19" fmla="*/ 4698361 w 6386648"/>
                <a:gd name="connsiteY19" fmla="*/ 1777329 h 1849426"/>
                <a:gd name="connsiteX20" fmla="*/ 4085531 w 6386648"/>
                <a:gd name="connsiteY20" fmla="*/ 1759304 h 1849426"/>
                <a:gd name="connsiteX21" fmla="*/ 4103556 w 6386648"/>
                <a:gd name="connsiteY21" fmla="*/ 1777329 h 1849426"/>
                <a:gd name="connsiteX22" fmla="*/ 4085531 w 6386648"/>
                <a:gd name="connsiteY22" fmla="*/ 1795353 h 1849426"/>
                <a:gd name="connsiteX23" fmla="*/ 4067507 w 6386648"/>
                <a:gd name="connsiteY23" fmla="*/ 1777329 h 1849426"/>
                <a:gd name="connsiteX24" fmla="*/ 4085531 w 6386648"/>
                <a:gd name="connsiteY24" fmla="*/ 1759304 h 1849426"/>
                <a:gd name="connsiteX25" fmla="*/ 4301824 w 6386648"/>
                <a:gd name="connsiteY25" fmla="*/ 1723255 h 1849426"/>
                <a:gd name="connsiteX26" fmla="*/ 4319849 w 6386648"/>
                <a:gd name="connsiteY26" fmla="*/ 1741279 h 1849426"/>
                <a:gd name="connsiteX27" fmla="*/ 4301824 w 6386648"/>
                <a:gd name="connsiteY27" fmla="*/ 1759304 h 1849426"/>
                <a:gd name="connsiteX28" fmla="*/ 4283800 w 6386648"/>
                <a:gd name="connsiteY28" fmla="*/ 1741279 h 1849426"/>
                <a:gd name="connsiteX29" fmla="*/ 4301824 w 6386648"/>
                <a:gd name="connsiteY29" fmla="*/ 1723255 h 1849426"/>
                <a:gd name="connsiteX30" fmla="*/ 4440011 w 6386648"/>
                <a:gd name="connsiteY30" fmla="*/ 1717247 h 1849426"/>
                <a:gd name="connsiteX31" fmla="*/ 4458036 w 6386648"/>
                <a:gd name="connsiteY31" fmla="*/ 1735271 h 1849426"/>
                <a:gd name="connsiteX32" fmla="*/ 4440011 w 6386648"/>
                <a:gd name="connsiteY32" fmla="*/ 1753296 h 1849426"/>
                <a:gd name="connsiteX33" fmla="*/ 4421987 w 6386648"/>
                <a:gd name="connsiteY33" fmla="*/ 1735271 h 1849426"/>
                <a:gd name="connsiteX34" fmla="*/ 4440011 w 6386648"/>
                <a:gd name="connsiteY34" fmla="*/ 1717247 h 1849426"/>
                <a:gd name="connsiteX35" fmla="*/ 3965369 w 6386648"/>
                <a:gd name="connsiteY35" fmla="*/ 1711239 h 1849426"/>
                <a:gd name="connsiteX36" fmla="*/ 3983394 w 6386648"/>
                <a:gd name="connsiteY36" fmla="*/ 1729263 h 1849426"/>
                <a:gd name="connsiteX37" fmla="*/ 3965369 w 6386648"/>
                <a:gd name="connsiteY37" fmla="*/ 1747288 h 1849426"/>
                <a:gd name="connsiteX38" fmla="*/ 3947345 w 6386648"/>
                <a:gd name="connsiteY38" fmla="*/ 1729263 h 1849426"/>
                <a:gd name="connsiteX39" fmla="*/ 3965369 w 6386648"/>
                <a:gd name="connsiteY39" fmla="*/ 1711239 h 1849426"/>
                <a:gd name="connsiteX40" fmla="*/ 4836548 w 6386648"/>
                <a:gd name="connsiteY40" fmla="*/ 1705231 h 1849426"/>
                <a:gd name="connsiteX41" fmla="*/ 4854573 w 6386648"/>
                <a:gd name="connsiteY41" fmla="*/ 1723255 h 1849426"/>
                <a:gd name="connsiteX42" fmla="*/ 4836548 w 6386648"/>
                <a:gd name="connsiteY42" fmla="*/ 1741280 h 1849426"/>
                <a:gd name="connsiteX43" fmla="*/ 4818524 w 6386648"/>
                <a:gd name="connsiteY43" fmla="*/ 1723255 h 1849426"/>
                <a:gd name="connsiteX44" fmla="*/ 4836548 w 6386648"/>
                <a:gd name="connsiteY44" fmla="*/ 1705231 h 1849426"/>
                <a:gd name="connsiteX45" fmla="*/ 4175653 w 6386648"/>
                <a:gd name="connsiteY45" fmla="*/ 1681198 h 1849426"/>
                <a:gd name="connsiteX46" fmla="*/ 4193678 w 6386648"/>
                <a:gd name="connsiteY46" fmla="*/ 1699222 h 1849426"/>
                <a:gd name="connsiteX47" fmla="*/ 4175653 w 6386648"/>
                <a:gd name="connsiteY47" fmla="*/ 1717247 h 1849426"/>
                <a:gd name="connsiteX48" fmla="*/ 4157629 w 6386648"/>
                <a:gd name="connsiteY48" fmla="*/ 1699222 h 1849426"/>
                <a:gd name="connsiteX49" fmla="*/ 4175653 w 6386648"/>
                <a:gd name="connsiteY49" fmla="*/ 1681198 h 1849426"/>
                <a:gd name="connsiteX50" fmla="*/ 4602231 w 6386648"/>
                <a:gd name="connsiteY50" fmla="*/ 1675190 h 1849426"/>
                <a:gd name="connsiteX51" fmla="*/ 4620256 w 6386648"/>
                <a:gd name="connsiteY51" fmla="*/ 1693214 h 1849426"/>
                <a:gd name="connsiteX52" fmla="*/ 4602231 w 6386648"/>
                <a:gd name="connsiteY52" fmla="*/ 1711239 h 1849426"/>
                <a:gd name="connsiteX53" fmla="*/ 4584207 w 6386648"/>
                <a:gd name="connsiteY53" fmla="*/ 1693214 h 1849426"/>
                <a:gd name="connsiteX54" fmla="*/ 4602231 w 6386648"/>
                <a:gd name="connsiteY54" fmla="*/ 1675190 h 1849426"/>
                <a:gd name="connsiteX55" fmla="*/ 4734410 w 6386648"/>
                <a:gd name="connsiteY55" fmla="*/ 1663174 h 1849426"/>
                <a:gd name="connsiteX56" fmla="*/ 4752435 w 6386648"/>
                <a:gd name="connsiteY56" fmla="*/ 1681198 h 1849426"/>
                <a:gd name="connsiteX57" fmla="*/ 4734410 w 6386648"/>
                <a:gd name="connsiteY57" fmla="*/ 1699223 h 1849426"/>
                <a:gd name="connsiteX58" fmla="*/ 4716386 w 6386648"/>
                <a:gd name="connsiteY58" fmla="*/ 1681198 h 1849426"/>
                <a:gd name="connsiteX59" fmla="*/ 4734410 w 6386648"/>
                <a:gd name="connsiteY59" fmla="*/ 1663174 h 1849426"/>
                <a:gd name="connsiteX60" fmla="*/ 3851214 w 6386648"/>
                <a:gd name="connsiteY60" fmla="*/ 1663174 h 1849426"/>
                <a:gd name="connsiteX61" fmla="*/ 3869239 w 6386648"/>
                <a:gd name="connsiteY61" fmla="*/ 1681198 h 1849426"/>
                <a:gd name="connsiteX62" fmla="*/ 3851214 w 6386648"/>
                <a:gd name="connsiteY62" fmla="*/ 1699223 h 1849426"/>
                <a:gd name="connsiteX63" fmla="*/ 3833190 w 6386648"/>
                <a:gd name="connsiteY63" fmla="*/ 1681198 h 1849426"/>
                <a:gd name="connsiteX64" fmla="*/ 3851214 w 6386648"/>
                <a:gd name="connsiteY64" fmla="*/ 1663174 h 1849426"/>
                <a:gd name="connsiteX65" fmla="*/ 4061499 w 6386648"/>
                <a:gd name="connsiteY65" fmla="*/ 1627125 h 1849426"/>
                <a:gd name="connsiteX66" fmla="*/ 4079524 w 6386648"/>
                <a:gd name="connsiteY66" fmla="*/ 1645149 h 1849426"/>
                <a:gd name="connsiteX67" fmla="*/ 4061499 w 6386648"/>
                <a:gd name="connsiteY67" fmla="*/ 1663174 h 1849426"/>
                <a:gd name="connsiteX68" fmla="*/ 4043475 w 6386648"/>
                <a:gd name="connsiteY68" fmla="*/ 1645149 h 1849426"/>
                <a:gd name="connsiteX69" fmla="*/ 4061499 w 6386648"/>
                <a:gd name="connsiteY69" fmla="*/ 1627125 h 1849426"/>
                <a:gd name="connsiteX70" fmla="*/ 4482068 w 6386648"/>
                <a:gd name="connsiteY70" fmla="*/ 1621117 h 1849426"/>
                <a:gd name="connsiteX71" fmla="*/ 4500093 w 6386648"/>
                <a:gd name="connsiteY71" fmla="*/ 1639141 h 1849426"/>
                <a:gd name="connsiteX72" fmla="*/ 4482068 w 6386648"/>
                <a:gd name="connsiteY72" fmla="*/ 1657166 h 1849426"/>
                <a:gd name="connsiteX73" fmla="*/ 4464044 w 6386648"/>
                <a:gd name="connsiteY73" fmla="*/ 1639141 h 1849426"/>
                <a:gd name="connsiteX74" fmla="*/ 4482068 w 6386648"/>
                <a:gd name="connsiteY74" fmla="*/ 1621117 h 1849426"/>
                <a:gd name="connsiteX75" fmla="*/ 4926670 w 6386648"/>
                <a:gd name="connsiteY75" fmla="*/ 1615109 h 1849426"/>
                <a:gd name="connsiteX76" fmla="*/ 4944695 w 6386648"/>
                <a:gd name="connsiteY76" fmla="*/ 1633133 h 1849426"/>
                <a:gd name="connsiteX77" fmla="*/ 4926670 w 6386648"/>
                <a:gd name="connsiteY77" fmla="*/ 1651158 h 1849426"/>
                <a:gd name="connsiteX78" fmla="*/ 4908646 w 6386648"/>
                <a:gd name="connsiteY78" fmla="*/ 1633133 h 1849426"/>
                <a:gd name="connsiteX79" fmla="*/ 4926670 w 6386648"/>
                <a:gd name="connsiteY79" fmla="*/ 1615109 h 1849426"/>
                <a:gd name="connsiteX80" fmla="*/ 3719035 w 6386648"/>
                <a:gd name="connsiteY80" fmla="*/ 1615109 h 1849426"/>
                <a:gd name="connsiteX81" fmla="*/ 3737060 w 6386648"/>
                <a:gd name="connsiteY81" fmla="*/ 1633133 h 1849426"/>
                <a:gd name="connsiteX82" fmla="*/ 3719035 w 6386648"/>
                <a:gd name="connsiteY82" fmla="*/ 1651158 h 1849426"/>
                <a:gd name="connsiteX83" fmla="*/ 3701011 w 6386648"/>
                <a:gd name="connsiteY83" fmla="*/ 1633133 h 1849426"/>
                <a:gd name="connsiteX84" fmla="*/ 3719035 w 6386648"/>
                <a:gd name="connsiteY84" fmla="*/ 1615109 h 1849426"/>
                <a:gd name="connsiteX85" fmla="*/ 4343881 w 6386648"/>
                <a:gd name="connsiteY85" fmla="*/ 1603093 h 1849426"/>
                <a:gd name="connsiteX86" fmla="*/ 4361906 w 6386648"/>
                <a:gd name="connsiteY86" fmla="*/ 1621117 h 1849426"/>
                <a:gd name="connsiteX87" fmla="*/ 4343881 w 6386648"/>
                <a:gd name="connsiteY87" fmla="*/ 1639142 h 1849426"/>
                <a:gd name="connsiteX88" fmla="*/ 4325857 w 6386648"/>
                <a:gd name="connsiteY88" fmla="*/ 1621117 h 1849426"/>
                <a:gd name="connsiteX89" fmla="*/ 4343881 w 6386648"/>
                <a:gd name="connsiteY89" fmla="*/ 1603093 h 1849426"/>
                <a:gd name="connsiteX90" fmla="*/ 4235735 w 6386648"/>
                <a:gd name="connsiteY90" fmla="*/ 1579060 h 1849426"/>
                <a:gd name="connsiteX91" fmla="*/ 4253760 w 6386648"/>
                <a:gd name="connsiteY91" fmla="*/ 1597085 h 1849426"/>
                <a:gd name="connsiteX92" fmla="*/ 4235735 w 6386648"/>
                <a:gd name="connsiteY92" fmla="*/ 1615109 h 1849426"/>
                <a:gd name="connsiteX93" fmla="*/ 4217711 w 6386648"/>
                <a:gd name="connsiteY93" fmla="*/ 1597085 h 1849426"/>
                <a:gd name="connsiteX94" fmla="*/ 4235735 w 6386648"/>
                <a:gd name="connsiteY94" fmla="*/ 1579060 h 1849426"/>
                <a:gd name="connsiteX95" fmla="*/ 3941336 w 6386648"/>
                <a:gd name="connsiteY95" fmla="*/ 1573052 h 1849426"/>
                <a:gd name="connsiteX96" fmla="*/ 3959361 w 6386648"/>
                <a:gd name="connsiteY96" fmla="*/ 1591076 h 1849426"/>
                <a:gd name="connsiteX97" fmla="*/ 3941336 w 6386648"/>
                <a:gd name="connsiteY97" fmla="*/ 1609101 h 1849426"/>
                <a:gd name="connsiteX98" fmla="*/ 3923312 w 6386648"/>
                <a:gd name="connsiteY98" fmla="*/ 1591076 h 1849426"/>
                <a:gd name="connsiteX99" fmla="*/ 3941336 w 6386648"/>
                <a:gd name="connsiteY99" fmla="*/ 1573052 h 1849426"/>
                <a:gd name="connsiteX100" fmla="*/ 1057431 w 6386648"/>
                <a:gd name="connsiteY100" fmla="*/ 1567044 h 1849426"/>
                <a:gd name="connsiteX101" fmla="*/ 1075456 w 6386648"/>
                <a:gd name="connsiteY101" fmla="*/ 1585068 h 1849426"/>
                <a:gd name="connsiteX102" fmla="*/ 1057431 w 6386648"/>
                <a:gd name="connsiteY102" fmla="*/ 1603093 h 1849426"/>
                <a:gd name="connsiteX103" fmla="*/ 1039407 w 6386648"/>
                <a:gd name="connsiteY103" fmla="*/ 1585068 h 1849426"/>
                <a:gd name="connsiteX104" fmla="*/ 1057431 w 6386648"/>
                <a:gd name="connsiteY104" fmla="*/ 1567044 h 1849426"/>
                <a:gd name="connsiteX105" fmla="*/ 1201626 w 6386648"/>
                <a:gd name="connsiteY105" fmla="*/ 1561036 h 1849426"/>
                <a:gd name="connsiteX106" fmla="*/ 1219651 w 6386648"/>
                <a:gd name="connsiteY106" fmla="*/ 1579060 h 1849426"/>
                <a:gd name="connsiteX107" fmla="*/ 1201626 w 6386648"/>
                <a:gd name="connsiteY107" fmla="*/ 1597085 h 1849426"/>
                <a:gd name="connsiteX108" fmla="*/ 1183602 w 6386648"/>
                <a:gd name="connsiteY108" fmla="*/ 1579060 h 1849426"/>
                <a:gd name="connsiteX109" fmla="*/ 1201626 w 6386648"/>
                <a:gd name="connsiteY109" fmla="*/ 1561036 h 1849426"/>
                <a:gd name="connsiteX110" fmla="*/ 4716385 w 6386648"/>
                <a:gd name="connsiteY110" fmla="*/ 1555028 h 1849426"/>
                <a:gd name="connsiteX111" fmla="*/ 4734410 w 6386648"/>
                <a:gd name="connsiteY111" fmla="*/ 1573052 h 1849426"/>
                <a:gd name="connsiteX112" fmla="*/ 4716385 w 6386648"/>
                <a:gd name="connsiteY112" fmla="*/ 1591077 h 1849426"/>
                <a:gd name="connsiteX113" fmla="*/ 4698361 w 6386648"/>
                <a:gd name="connsiteY113" fmla="*/ 1573052 h 1849426"/>
                <a:gd name="connsiteX114" fmla="*/ 4716385 w 6386648"/>
                <a:gd name="connsiteY114" fmla="*/ 1555028 h 1849426"/>
                <a:gd name="connsiteX115" fmla="*/ 4578198 w 6386648"/>
                <a:gd name="connsiteY115" fmla="*/ 1555028 h 1849426"/>
                <a:gd name="connsiteX116" fmla="*/ 4596223 w 6386648"/>
                <a:gd name="connsiteY116" fmla="*/ 1573052 h 1849426"/>
                <a:gd name="connsiteX117" fmla="*/ 4578198 w 6386648"/>
                <a:gd name="connsiteY117" fmla="*/ 1591077 h 1849426"/>
                <a:gd name="connsiteX118" fmla="*/ 4560173 w 6386648"/>
                <a:gd name="connsiteY118" fmla="*/ 1573052 h 1849426"/>
                <a:gd name="connsiteX119" fmla="*/ 4578198 w 6386648"/>
                <a:gd name="connsiteY119" fmla="*/ 1555028 h 1849426"/>
                <a:gd name="connsiteX120" fmla="*/ 1333805 w 6386648"/>
                <a:gd name="connsiteY120" fmla="*/ 1555028 h 1849426"/>
                <a:gd name="connsiteX121" fmla="*/ 1351830 w 6386648"/>
                <a:gd name="connsiteY121" fmla="*/ 1573052 h 1849426"/>
                <a:gd name="connsiteX122" fmla="*/ 1333805 w 6386648"/>
                <a:gd name="connsiteY122" fmla="*/ 1591077 h 1849426"/>
                <a:gd name="connsiteX123" fmla="*/ 1315781 w 6386648"/>
                <a:gd name="connsiteY123" fmla="*/ 1573052 h 1849426"/>
                <a:gd name="connsiteX124" fmla="*/ 1333805 w 6386648"/>
                <a:gd name="connsiteY124" fmla="*/ 1555028 h 1849426"/>
                <a:gd name="connsiteX125" fmla="*/ 4842556 w 6386648"/>
                <a:gd name="connsiteY125" fmla="*/ 1543011 h 1849426"/>
                <a:gd name="connsiteX126" fmla="*/ 4860581 w 6386648"/>
                <a:gd name="connsiteY126" fmla="*/ 1561035 h 1849426"/>
                <a:gd name="connsiteX127" fmla="*/ 4842556 w 6386648"/>
                <a:gd name="connsiteY127" fmla="*/ 1579060 h 1849426"/>
                <a:gd name="connsiteX128" fmla="*/ 4824532 w 6386648"/>
                <a:gd name="connsiteY128" fmla="*/ 1561035 h 1849426"/>
                <a:gd name="connsiteX129" fmla="*/ 4842556 w 6386648"/>
                <a:gd name="connsiteY129" fmla="*/ 1543011 h 1849426"/>
                <a:gd name="connsiteX130" fmla="*/ 3803149 w 6386648"/>
                <a:gd name="connsiteY130" fmla="*/ 1537003 h 1849426"/>
                <a:gd name="connsiteX131" fmla="*/ 3821174 w 6386648"/>
                <a:gd name="connsiteY131" fmla="*/ 1555027 h 1849426"/>
                <a:gd name="connsiteX132" fmla="*/ 3803149 w 6386648"/>
                <a:gd name="connsiteY132" fmla="*/ 1573052 h 1849426"/>
                <a:gd name="connsiteX133" fmla="*/ 3785125 w 6386648"/>
                <a:gd name="connsiteY133" fmla="*/ 1555027 h 1849426"/>
                <a:gd name="connsiteX134" fmla="*/ 3803149 w 6386648"/>
                <a:gd name="connsiteY134" fmla="*/ 1537003 h 1849426"/>
                <a:gd name="connsiteX135" fmla="*/ 4127588 w 6386648"/>
                <a:gd name="connsiteY135" fmla="*/ 1530995 h 1849426"/>
                <a:gd name="connsiteX136" fmla="*/ 4145613 w 6386648"/>
                <a:gd name="connsiteY136" fmla="*/ 1549019 h 1849426"/>
                <a:gd name="connsiteX137" fmla="*/ 4127588 w 6386648"/>
                <a:gd name="connsiteY137" fmla="*/ 1567044 h 1849426"/>
                <a:gd name="connsiteX138" fmla="*/ 4109563 w 6386648"/>
                <a:gd name="connsiteY138" fmla="*/ 1549019 h 1849426"/>
                <a:gd name="connsiteX139" fmla="*/ 4127588 w 6386648"/>
                <a:gd name="connsiteY139" fmla="*/ 1530995 h 1849426"/>
                <a:gd name="connsiteX140" fmla="*/ 3634921 w 6386648"/>
                <a:gd name="connsiteY140" fmla="*/ 1530995 h 1849426"/>
                <a:gd name="connsiteX141" fmla="*/ 3652946 w 6386648"/>
                <a:gd name="connsiteY141" fmla="*/ 1549019 h 1849426"/>
                <a:gd name="connsiteX142" fmla="*/ 3634921 w 6386648"/>
                <a:gd name="connsiteY142" fmla="*/ 1567044 h 1849426"/>
                <a:gd name="connsiteX143" fmla="*/ 3616897 w 6386648"/>
                <a:gd name="connsiteY143" fmla="*/ 1549019 h 1849426"/>
                <a:gd name="connsiteX144" fmla="*/ 3634921 w 6386648"/>
                <a:gd name="connsiteY144" fmla="*/ 1530995 h 1849426"/>
                <a:gd name="connsiteX145" fmla="*/ 3532783 w 6386648"/>
                <a:gd name="connsiteY145" fmla="*/ 1530995 h 1849426"/>
                <a:gd name="connsiteX146" fmla="*/ 3550808 w 6386648"/>
                <a:gd name="connsiteY146" fmla="*/ 1549019 h 1849426"/>
                <a:gd name="connsiteX147" fmla="*/ 3532783 w 6386648"/>
                <a:gd name="connsiteY147" fmla="*/ 1567044 h 1849426"/>
                <a:gd name="connsiteX148" fmla="*/ 3514759 w 6386648"/>
                <a:gd name="connsiteY148" fmla="*/ 1549019 h 1849426"/>
                <a:gd name="connsiteX149" fmla="*/ 3532783 w 6386648"/>
                <a:gd name="connsiteY149" fmla="*/ 1530995 h 1849426"/>
                <a:gd name="connsiteX150" fmla="*/ 1478000 w 6386648"/>
                <a:gd name="connsiteY150" fmla="*/ 1530995 h 1849426"/>
                <a:gd name="connsiteX151" fmla="*/ 1496025 w 6386648"/>
                <a:gd name="connsiteY151" fmla="*/ 1549019 h 1849426"/>
                <a:gd name="connsiteX152" fmla="*/ 1478000 w 6386648"/>
                <a:gd name="connsiteY152" fmla="*/ 1567044 h 1849426"/>
                <a:gd name="connsiteX153" fmla="*/ 1459976 w 6386648"/>
                <a:gd name="connsiteY153" fmla="*/ 1549019 h 1849426"/>
                <a:gd name="connsiteX154" fmla="*/ 1478000 w 6386648"/>
                <a:gd name="connsiteY154" fmla="*/ 1530995 h 1849426"/>
                <a:gd name="connsiteX155" fmla="*/ 4427995 w 6386648"/>
                <a:gd name="connsiteY155" fmla="*/ 1518979 h 1849426"/>
                <a:gd name="connsiteX156" fmla="*/ 4446020 w 6386648"/>
                <a:gd name="connsiteY156" fmla="*/ 1537004 h 1849426"/>
                <a:gd name="connsiteX157" fmla="*/ 4427995 w 6386648"/>
                <a:gd name="connsiteY157" fmla="*/ 1555028 h 1849426"/>
                <a:gd name="connsiteX158" fmla="*/ 4409970 w 6386648"/>
                <a:gd name="connsiteY158" fmla="*/ 1537004 h 1849426"/>
                <a:gd name="connsiteX159" fmla="*/ 4427995 w 6386648"/>
                <a:gd name="connsiteY159" fmla="*/ 1518979 h 1849426"/>
                <a:gd name="connsiteX160" fmla="*/ 4980743 w 6386648"/>
                <a:gd name="connsiteY160" fmla="*/ 1506962 h 1849426"/>
                <a:gd name="connsiteX161" fmla="*/ 4998768 w 6386648"/>
                <a:gd name="connsiteY161" fmla="*/ 1524986 h 1849426"/>
                <a:gd name="connsiteX162" fmla="*/ 4980743 w 6386648"/>
                <a:gd name="connsiteY162" fmla="*/ 1543011 h 1849426"/>
                <a:gd name="connsiteX163" fmla="*/ 4962719 w 6386648"/>
                <a:gd name="connsiteY163" fmla="*/ 1524986 h 1849426"/>
                <a:gd name="connsiteX164" fmla="*/ 4980743 w 6386648"/>
                <a:gd name="connsiteY164" fmla="*/ 1506962 h 1849426"/>
                <a:gd name="connsiteX165" fmla="*/ 961301 w 6386648"/>
                <a:gd name="connsiteY165" fmla="*/ 1506962 h 1849426"/>
                <a:gd name="connsiteX166" fmla="*/ 979326 w 6386648"/>
                <a:gd name="connsiteY166" fmla="*/ 1524986 h 1849426"/>
                <a:gd name="connsiteX167" fmla="*/ 961301 w 6386648"/>
                <a:gd name="connsiteY167" fmla="*/ 1543011 h 1849426"/>
                <a:gd name="connsiteX168" fmla="*/ 943277 w 6386648"/>
                <a:gd name="connsiteY168" fmla="*/ 1524986 h 1849426"/>
                <a:gd name="connsiteX169" fmla="*/ 961301 w 6386648"/>
                <a:gd name="connsiteY169" fmla="*/ 1506962 h 1849426"/>
                <a:gd name="connsiteX170" fmla="*/ 859163 w 6386648"/>
                <a:gd name="connsiteY170" fmla="*/ 1500954 h 1849426"/>
                <a:gd name="connsiteX171" fmla="*/ 877188 w 6386648"/>
                <a:gd name="connsiteY171" fmla="*/ 1518978 h 1849426"/>
                <a:gd name="connsiteX172" fmla="*/ 859163 w 6386648"/>
                <a:gd name="connsiteY172" fmla="*/ 1537003 h 1849426"/>
                <a:gd name="connsiteX173" fmla="*/ 841139 w 6386648"/>
                <a:gd name="connsiteY173" fmla="*/ 1518978 h 1849426"/>
                <a:gd name="connsiteX174" fmla="*/ 859163 w 6386648"/>
                <a:gd name="connsiteY174" fmla="*/ 1500954 h 1849426"/>
                <a:gd name="connsiteX175" fmla="*/ 4013434 w 6386648"/>
                <a:gd name="connsiteY175" fmla="*/ 1482930 h 1849426"/>
                <a:gd name="connsiteX176" fmla="*/ 4031459 w 6386648"/>
                <a:gd name="connsiteY176" fmla="*/ 1500954 h 1849426"/>
                <a:gd name="connsiteX177" fmla="*/ 4013434 w 6386648"/>
                <a:gd name="connsiteY177" fmla="*/ 1518979 h 1849426"/>
                <a:gd name="connsiteX178" fmla="*/ 3995410 w 6386648"/>
                <a:gd name="connsiteY178" fmla="*/ 1500954 h 1849426"/>
                <a:gd name="connsiteX179" fmla="*/ 4013434 w 6386648"/>
                <a:gd name="connsiteY179" fmla="*/ 1482930 h 1849426"/>
                <a:gd name="connsiteX180" fmla="*/ 3412620 w 6386648"/>
                <a:gd name="connsiteY180" fmla="*/ 1482930 h 1849426"/>
                <a:gd name="connsiteX181" fmla="*/ 3430645 w 6386648"/>
                <a:gd name="connsiteY181" fmla="*/ 1500954 h 1849426"/>
                <a:gd name="connsiteX182" fmla="*/ 3412620 w 6386648"/>
                <a:gd name="connsiteY182" fmla="*/ 1518979 h 1849426"/>
                <a:gd name="connsiteX183" fmla="*/ 3394596 w 6386648"/>
                <a:gd name="connsiteY183" fmla="*/ 1500954 h 1849426"/>
                <a:gd name="connsiteX184" fmla="*/ 3412620 w 6386648"/>
                <a:gd name="connsiteY184" fmla="*/ 1482930 h 1849426"/>
                <a:gd name="connsiteX185" fmla="*/ 1586148 w 6386648"/>
                <a:gd name="connsiteY185" fmla="*/ 1476922 h 1849426"/>
                <a:gd name="connsiteX186" fmla="*/ 1604172 w 6386648"/>
                <a:gd name="connsiteY186" fmla="*/ 1494946 h 1849426"/>
                <a:gd name="connsiteX187" fmla="*/ 1586148 w 6386648"/>
                <a:gd name="connsiteY187" fmla="*/ 1512971 h 1849426"/>
                <a:gd name="connsiteX188" fmla="*/ 1568123 w 6386648"/>
                <a:gd name="connsiteY188" fmla="*/ 1494946 h 1849426"/>
                <a:gd name="connsiteX189" fmla="*/ 1586148 w 6386648"/>
                <a:gd name="connsiteY189" fmla="*/ 1476922 h 1849426"/>
                <a:gd name="connsiteX190" fmla="*/ 4271783 w 6386648"/>
                <a:gd name="connsiteY190" fmla="*/ 1464906 h 1849426"/>
                <a:gd name="connsiteX191" fmla="*/ 4289808 w 6386648"/>
                <a:gd name="connsiteY191" fmla="*/ 1482930 h 1849426"/>
                <a:gd name="connsiteX192" fmla="*/ 4271783 w 6386648"/>
                <a:gd name="connsiteY192" fmla="*/ 1500955 h 1849426"/>
                <a:gd name="connsiteX193" fmla="*/ 4253759 w 6386648"/>
                <a:gd name="connsiteY193" fmla="*/ 1482930 h 1849426"/>
                <a:gd name="connsiteX194" fmla="*/ 4271783 w 6386648"/>
                <a:gd name="connsiteY194" fmla="*/ 1464906 h 1849426"/>
                <a:gd name="connsiteX195" fmla="*/ 1105497 w 6386648"/>
                <a:gd name="connsiteY195" fmla="*/ 1464906 h 1849426"/>
                <a:gd name="connsiteX196" fmla="*/ 1123521 w 6386648"/>
                <a:gd name="connsiteY196" fmla="*/ 1482930 h 1849426"/>
                <a:gd name="connsiteX197" fmla="*/ 1105497 w 6386648"/>
                <a:gd name="connsiteY197" fmla="*/ 1500955 h 1849426"/>
                <a:gd name="connsiteX198" fmla="*/ 1087472 w 6386648"/>
                <a:gd name="connsiteY198" fmla="*/ 1482930 h 1849426"/>
                <a:gd name="connsiteX199" fmla="*/ 1105497 w 6386648"/>
                <a:gd name="connsiteY199" fmla="*/ 1464906 h 1849426"/>
                <a:gd name="connsiteX200" fmla="*/ 4602231 w 6386648"/>
                <a:gd name="connsiteY200" fmla="*/ 1452889 h 1849426"/>
                <a:gd name="connsiteX201" fmla="*/ 4620256 w 6386648"/>
                <a:gd name="connsiteY201" fmla="*/ 1470913 h 1849426"/>
                <a:gd name="connsiteX202" fmla="*/ 4602231 w 6386648"/>
                <a:gd name="connsiteY202" fmla="*/ 1488938 h 1849426"/>
                <a:gd name="connsiteX203" fmla="*/ 4584207 w 6386648"/>
                <a:gd name="connsiteY203" fmla="*/ 1470913 h 1849426"/>
                <a:gd name="connsiteX204" fmla="*/ 4602231 w 6386648"/>
                <a:gd name="connsiteY204" fmla="*/ 1452889 h 1849426"/>
                <a:gd name="connsiteX205" fmla="*/ 3875247 w 6386648"/>
                <a:gd name="connsiteY205" fmla="*/ 1452889 h 1849426"/>
                <a:gd name="connsiteX206" fmla="*/ 3893272 w 6386648"/>
                <a:gd name="connsiteY206" fmla="*/ 1470913 h 1849426"/>
                <a:gd name="connsiteX207" fmla="*/ 3875247 w 6386648"/>
                <a:gd name="connsiteY207" fmla="*/ 1488938 h 1849426"/>
                <a:gd name="connsiteX208" fmla="*/ 3857223 w 6386648"/>
                <a:gd name="connsiteY208" fmla="*/ 1470913 h 1849426"/>
                <a:gd name="connsiteX209" fmla="*/ 3875247 w 6386648"/>
                <a:gd name="connsiteY209" fmla="*/ 1452889 h 1849426"/>
                <a:gd name="connsiteX210" fmla="*/ 1706311 w 6386648"/>
                <a:gd name="connsiteY210" fmla="*/ 1452889 h 1849426"/>
                <a:gd name="connsiteX211" fmla="*/ 1724335 w 6386648"/>
                <a:gd name="connsiteY211" fmla="*/ 1470913 h 1849426"/>
                <a:gd name="connsiteX212" fmla="*/ 1706311 w 6386648"/>
                <a:gd name="connsiteY212" fmla="*/ 1488938 h 1849426"/>
                <a:gd name="connsiteX213" fmla="*/ 1688286 w 6386648"/>
                <a:gd name="connsiteY213" fmla="*/ 1470913 h 1849426"/>
                <a:gd name="connsiteX214" fmla="*/ 1706311 w 6386648"/>
                <a:gd name="connsiteY214" fmla="*/ 1452889 h 1849426"/>
                <a:gd name="connsiteX215" fmla="*/ 1411911 w 6386648"/>
                <a:gd name="connsiteY215" fmla="*/ 1452889 h 1849426"/>
                <a:gd name="connsiteX216" fmla="*/ 1429936 w 6386648"/>
                <a:gd name="connsiteY216" fmla="*/ 1470913 h 1849426"/>
                <a:gd name="connsiteX217" fmla="*/ 1411911 w 6386648"/>
                <a:gd name="connsiteY217" fmla="*/ 1488938 h 1849426"/>
                <a:gd name="connsiteX218" fmla="*/ 1393887 w 6386648"/>
                <a:gd name="connsiteY218" fmla="*/ 1470913 h 1849426"/>
                <a:gd name="connsiteX219" fmla="*/ 1411911 w 6386648"/>
                <a:gd name="connsiteY219" fmla="*/ 1452889 h 1849426"/>
                <a:gd name="connsiteX220" fmla="*/ 1249691 w 6386648"/>
                <a:gd name="connsiteY220" fmla="*/ 1452889 h 1849426"/>
                <a:gd name="connsiteX221" fmla="*/ 1267716 w 6386648"/>
                <a:gd name="connsiteY221" fmla="*/ 1470913 h 1849426"/>
                <a:gd name="connsiteX222" fmla="*/ 1249691 w 6386648"/>
                <a:gd name="connsiteY222" fmla="*/ 1488938 h 1849426"/>
                <a:gd name="connsiteX223" fmla="*/ 1231667 w 6386648"/>
                <a:gd name="connsiteY223" fmla="*/ 1470913 h 1849426"/>
                <a:gd name="connsiteX224" fmla="*/ 1249691 w 6386648"/>
                <a:gd name="connsiteY224" fmla="*/ 1452889 h 1849426"/>
                <a:gd name="connsiteX225" fmla="*/ 4764451 w 6386648"/>
                <a:gd name="connsiteY225" fmla="*/ 1446881 h 1849426"/>
                <a:gd name="connsiteX226" fmla="*/ 4782476 w 6386648"/>
                <a:gd name="connsiteY226" fmla="*/ 1464905 h 1849426"/>
                <a:gd name="connsiteX227" fmla="*/ 4764451 w 6386648"/>
                <a:gd name="connsiteY227" fmla="*/ 1482930 h 1849426"/>
                <a:gd name="connsiteX228" fmla="*/ 4746427 w 6386648"/>
                <a:gd name="connsiteY228" fmla="*/ 1464905 h 1849426"/>
                <a:gd name="connsiteX229" fmla="*/ 4764451 w 6386648"/>
                <a:gd name="connsiteY229" fmla="*/ 1446881 h 1849426"/>
                <a:gd name="connsiteX230" fmla="*/ 763032 w 6386648"/>
                <a:gd name="connsiteY230" fmla="*/ 1446881 h 1849426"/>
                <a:gd name="connsiteX231" fmla="*/ 781057 w 6386648"/>
                <a:gd name="connsiteY231" fmla="*/ 1464905 h 1849426"/>
                <a:gd name="connsiteX232" fmla="*/ 763032 w 6386648"/>
                <a:gd name="connsiteY232" fmla="*/ 1482930 h 1849426"/>
                <a:gd name="connsiteX233" fmla="*/ 745008 w 6386648"/>
                <a:gd name="connsiteY233" fmla="*/ 1464905 h 1849426"/>
                <a:gd name="connsiteX234" fmla="*/ 763032 w 6386648"/>
                <a:gd name="connsiteY234" fmla="*/ 1446881 h 1849426"/>
                <a:gd name="connsiteX235" fmla="*/ 3731051 w 6386648"/>
                <a:gd name="connsiteY235" fmla="*/ 1434865 h 1849426"/>
                <a:gd name="connsiteX236" fmla="*/ 3749076 w 6386648"/>
                <a:gd name="connsiteY236" fmla="*/ 1452889 h 1849426"/>
                <a:gd name="connsiteX237" fmla="*/ 3731051 w 6386648"/>
                <a:gd name="connsiteY237" fmla="*/ 1470914 h 1849426"/>
                <a:gd name="connsiteX238" fmla="*/ 3713027 w 6386648"/>
                <a:gd name="connsiteY238" fmla="*/ 1452889 h 1849426"/>
                <a:gd name="connsiteX239" fmla="*/ 3731051 w 6386648"/>
                <a:gd name="connsiteY239" fmla="*/ 1434865 h 1849426"/>
                <a:gd name="connsiteX240" fmla="*/ 3304474 w 6386648"/>
                <a:gd name="connsiteY240" fmla="*/ 1422849 h 1849426"/>
                <a:gd name="connsiteX241" fmla="*/ 3322499 w 6386648"/>
                <a:gd name="connsiteY241" fmla="*/ 1440873 h 1849426"/>
                <a:gd name="connsiteX242" fmla="*/ 3304474 w 6386648"/>
                <a:gd name="connsiteY242" fmla="*/ 1458898 h 1849426"/>
                <a:gd name="connsiteX243" fmla="*/ 3286450 w 6386648"/>
                <a:gd name="connsiteY243" fmla="*/ 1440873 h 1849426"/>
                <a:gd name="connsiteX244" fmla="*/ 3304474 w 6386648"/>
                <a:gd name="connsiteY244" fmla="*/ 1422849 h 1849426"/>
                <a:gd name="connsiteX245" fmla="*/ 4890621 w 6386648"/>
                <a:gd name="connsiteY245" fmla="*/ 1416840 h 1849426"/>
                <a:gd name="connsiteX246" fmla="*/ 4908646 w 6386648"/>
                <a:gd name="connsiteY246" fmla="*/ 1434864 h 1849426"/>
                <a:gd name="connsiteX247" fmla="*/ 4890621 w 6386648"/>
                <a:gd name="connsiteY247" fmla="*/ 1452889 h 1849426"/>
                <a:gd name="connsiteX248" fmla="*/ 4872597 w 6386648"/>
                <a:gd name="connsiteY248" fmla="*/ 1434864 h 1849426"/>
                <a:gd name="connsiteX249" fmla="*/ 4890621 w 6386648"/>
                <a:gd name="connsiteY249" fmla="*/ 1416840 h 1849426"/>
                <a:gd name="connsiteX250" fmla="*/ 3544799 w 6386648"/>
                <a:gd name="connsiteY250" fmla="*/ 1410832 h 1849426"/>
                <a:gd name="connsiteX251" fmla="*/ 3562824 w 6386648"/>
                <a:gd name="connsiteY251" fmla="*/ 1428856 h 1849426"/>
                <a:gd name="connsiteX252" fmla="*/ 3544799 w 6386648"/>
                <a:gd name="connsiteY252" fmla="*/ 1446881 h 1849426"/>
                <a:gd name="connsiteX253" fmla="*/ 3526775 w 6386648"/>
                <a:gd name="connsiteY253" fmla="*/ 1428856 h 1849426"/>
                <a:gd name="connsiteX254" fmla="*/ 3544799 w 6386648"/>
                <a:gd name="connsiteY254" fmla="*/ 1410832 h 1849426"/>
                <a:gd name="connsiteX255" fmla="*/ 4488076 w 6386648"/>
                <a:gd name="connsiteY255" fmla="*/ 1404824 h 1849426"/>
                <a:gd name="connsiteX256" fmla="*/ 4506101 w 6386648"/>
                <a:gd name="connsiteY256" fmla="*/ 1422848 h 1849426"/>
                <a:gd name="connsiteX257" fmla="*/ 4488076 w 6386648"/>
                <a:gd name="connsiteY257" fmla="*/ 1440873 h 1849426"/>
                <a:gd name="connsiteX258" fmla="*/ 4470051 w 6386648"/>
                <a:gd name="connsiteY258" fmla="*/ 1422848 h 1849426"/>
                <a:gd name="connsiteX259" fmla="*/ 4488076 w 6386648"/>
                <a:gd name="connsiteY259" fmla="*/ 1404824 h 1849426"/>
                <a:gd name="connsiteX260" fmla="*/ 5028808 w 6386648"/>
                <a:gd name="connsiteY260" fmla="*/ 1398816 h 1849426"/>
                <a:gd name="connsiteX261" fmla="*/ 5046833 w 6386648"/>
                <a:gd name="connsiteY261" fmla="*/ 1416841 h 1849426"/>
                <a:gd name="connsiteX262" fmla="*/ 5028808 w 6386648"/>
                <a:gd name="connsiteY262" fmla="*/ 1434865 h 1849426"/>
                <a:gd name="connsiteX263" fmla="*/ 5010783 w 6386648"/>
                <a:gd name="connsiteY263" fmla="*/ 1416841 h 1849426"/>
                <a:gd name="connsiteX264" fmla="*/ 5028808 w 6386648"/>
                <a:gd name="connsiteY264" fmla="*/ 1398816 h 1849426"/>
                <a:gd name="connsiteX265" fmla="*/ 4367914 w 6386648"/>
                <a:gd name="connsiteY265" fmla="*/ 1398816 h 1849426"/>
                <a:gd name="connsiteX266" fmla="*/ 4385939 w 6386648"/>
                <a:gd name="connsiteY266" fmla="*/ 1416841 h 1849426"/>
                <a:gd name="connsiteX267" fmla="*/ 4367914 w 6386648"/>
                <a:gd name="connsiteY267" fmla="*/ 1434865 h 1849426"/>
                <a:gd name="connsiteX268" fmla="*/ 4349889 w 6386648"/>
                <a:gd name="connsiteY268" fmla="*/ 1416841 h 1849426"/>
                <a:gd name="connsiteX269" fmla="*/ 4367914 w 6386648"/>
                <a:gd name="connsiteY269" fmla="*/ 1398816 h 1849426"/>
                <a:gd name="connsiteX270" fmla="*/ 4163637 w 6386648"/>
                <a:gd name="connsiteY270" fmla="*/ 1398816 h 1849426"/>
                <a:gd name="connsiteX271" fmla="*/ 4181662 w 6386648"/>
                <a:gd name="connsiteY271" fmla="*/ 1416841 h 1849426"/>
                <a:gd name="connsiteX272" fmla="*/ 4163637 w 6386648"/>
                <a:gd name="connsiteY272" fmla="*/ 1434865 h 1849426"/>
                <a:gd name="connsiteX273" fmla="*/ 4145613 w 6386648"/>
                <a:gd name="connsiteY273" fmla="*/ 1416841 h 1849426"/>
                <a:gd name="connsiteX274" fmla="*/ 4163637 w 6386648"/>
                <a:gd name="connsiteY274" fmla="*/ 1398816 h 1849426"/>
                <a:gd name="connsiteX275" fmla="*/ 672910 w 6386648"/>
                <a:gd name="connsiteY275" fmla="*/ 1398816 h 1849426"/>
                <a:gd name="connsiteX276" fmla="*/ 690935 w 6386648"/>
                <a:gd name="connsiteY276" fmla="*/ 1416841 h 1849426"/>
                <a:gd name="connsiteX277" fmla="*/ 672910 w 6386648"/>
                <a:gd name="connsiteY277" fmla="*/ 1434865 h 1849426"/>
                <a:gd name="connsiteX278" fmla="*/ 654886 w 6386648"/>
                <a:gd name="connsiteY278" fmla="*/ 1416841 h 1849426"/>
                <a:gd name="connsiteX279" fmla="*/ 672910 w 6386648"/>
                <a:gd name="connsiteY279" fmla="*/ 1398816 h 1849426"/>
                <a:gd name="connsiteX280" fmla="*/ 3190319 w 6386648"/>
                <a:gd name="connsiteY280" fmla="*/ 1392808 h 1849426"/>
                <a:gd name="connsiteX281" fmla="*/ 3208344 w 6386648"/>
                <a:gd name="connsiteY281" fmla="*/ 1410832 h 1849426"/>
                <a:gd name="connsiteX282" fmla="*/ 3190319 w 6386648"/>
                <a:gd name="connsiteY282" fmla="*/ 1428857 h 1849426"/>
                <a:gd name="connsiteX283" fmla="*/ 3172295 w 6386648"/>
                <a:gd name="connsiteY283" fmla="*/ 1410832 h 1849426"/>
                <a:gd name="connsiteX284" fmla="*/ 3190319 w 6386648"/>
                <a:gd name="connsiteY284" fmla="*/ 1392808 h 1849426"/>
                <a:gd name="connsiteX285" fmla="*/ 1814456 w 6386648"/>
                <a:gd name="connsiteY285" fmla="*/ 1392808 h 1849426"/>
                <a:gd name="connsiteX286" fmla="*/ 1832481 w 6386648"/>
                <a:gd name="connsiteY286" fmla="*/ 1410832 h 1849426"/>
                <a:gd name="connsiteX287" fmla="*/ 1814456 w 6386648"/>
                <a:gd name="connsiteY287" fmla="*/ 1428857 h 1849426"/>
                <a:gd name="connsiteX288" fmla="*/ 1796432 w 6386648"/>
                <a:gd name="connsiteY288" fmla="*/ 1410832 h 1849426"/>
                <a:gd name="connsiteX289" fmla="*/ 1814456 w 6386648"/>
                <a:gd name="connsiteY289" fmla="*/ 1392808 h 1849426"/>
                <a:gd name="connsiteX290" fmla="*/ 967309 w 6386648"/>
                <a:gd name="connsiteY290" fmla="*/ 1386800 h 1849426"/>
                <a:gd name="connsiteX291" fmla="*/ 985334 w 6386648"/>
                <a:gd name="connsiteY291" fmla="*/ 1404824 h 1849426"/>
                <a:gd name="connsiteX292" fmla="*/ 967309 w 6386648"/>
                <a:gd name="connsiteY292" fmla="*/ 1422849 h 1849426"/>
                <a:gd name="connsiteX293" fmla="*/ 949285 w 6386648"/>
                <a:gd name="connsiteY293" fmla="*/ 1404824 h 1849426"/>
                <a:gd name="connsiteX294" fmla="*/ 967309 w 6386648"/>
                <a:gd name="connsiteY294" fmla="*/ 1386800 h 1849426"/>
                <a:gd name="connsiteX295" fmla="*/ 4049482 w 6386648"/>
                <a:gd name="connsiteY295" fmla="*/ 1374784 h 1849426"/>
                <a:gd name="connsiteX296" fmla="*/ 4067507 w 6386648"/>
                <a:gd name="connsiteY296" fmla="*/ 1392808 h 1849426"/>
                <a:gd name="connsiteX297" fmla="*/ 4049482 w 6386648"/>
                <a:gd name="connsiteY297" fmla="*/ 1410833 h 1849426"/>
                <a:gd name="connsiteX298" fmla="*/ 4031458 w 6386648"/>
                <a:gd name="connsiteY298" fmla="*/ 1392808 h 1849426"/>
                <a:gd name="connsiteX299" fmla="*/ 4049482 w 6386648"/>
                <a:gd name="connsiteY299" fmla="*/ 1374784 h 1849426"/>
                <a:gd name="connsiteX300" fmla="*/ 4674329 w 6386648"/>
                <a:gd name="connsiteY300" fmla="*/ 1368775 h 1849426"/>
                <a:gd name="connsiteX301" fmla="*/ 4692354 w 6386648"/>
                <a:gd name="connsiteY301" fmla="*/ 1386800 h 1849426"/>
                <a:gd name="connsiteX302" fmla="*/ 4674329 w 6386648"/>
                <a:gd name="connsiteY302" fmla="*/ 1404824 h 1849426"/>
                <a:gd name="connsiteX303" fmla="*/ 4656305 w 6386648"/>
                <a:gd name="connsiteY303" fmla="*/ 1386800 h 1849426"/>
                <a:gd name="connsiteX304" fmla="*/ 4674329 w 6386648"/>
                <a:gd name="connsiteY304" fmla="*/ 1368775 h 1849426"/>
                <a:gd name="connsiteX305" fmla="*/ 1526067 w 6386648"/>
                <a:gd name="connsiteY305" fmla="*/ 1368775 h 1849426"/>
                <a:gd name="connsiteX306" fmla="*/ 1544091 w 6386648"/>
                <a:gd name="connsiteY306" fmla="*/ 1386800 h 1849426"/>
                <a:gd name="connsiteX307" fmla="*/ 1526067 w 6386648"/>
                <a:gd name="connsiteY307" fmla="*/ 1404824 h 1849426"/>
                <a:gd name="connsiteX308" fmla="*/ 1508042 w 6386648"/>
                <a:gd name="connsiteY308" fmla="*/ 1386800 h 1849426"/>
                <a:gd name="connsiteX309" fmla="*/ 1526067 w 6386648"/>
                <a:gd name="connsiteY309" fmla="*/ 1368775 h 1849426"/>
                <a:gd name="connsiteX310" fmla="*/ 1369854 w 6386648"/>
                <a:gd name="connsiteY310" fmla="*/ 1368775 h 1849426"/>
                <a:gd name="connsiteX311" fmla="*/ 1387879 w 6386648"/>
                <a:gd name="connsiteY311" fmla="*/ 1386800 h 1849426"/>
                <a:gd name="connsiteX312" fmla="*/ 1369854 w 6386648"/>
                <a:gd name="connsiteY312" fmla="*/ 1404824 h 1849426"/>
                <a:gd name="connsiteX313" fmla="*/ 1351830 w 6386648"/>
                <a:gd name="connsiteY313" fmla="*/ 1386800 h 1849426"/>
                <a:gd name="connsiteX314" fmla="*/ 1369854 w 6386648"/>
                <a:gd name="connsiteY314" fmla="*/ 1368775 h 1849426"/>
                <a:gd name="connsiteX315" fmla="*/ 3418628 w 6386648"/>
                <a:gd name="connsiteY315" fmla="*/ 1362767 h 1849426"/>
                <a:gd name="connsiteX316" fmla="*/ 3436653 w 6386648"/>
                <a:gd name="connsiteY316" fmla="*/ 1380791 h 1849426"/>
                <a:gd name="connsiteX317" fmla="*/ 3418628 w 6386648"/>
                <a:gd name="connsiteY317" fmla="*/ 1398816 h 1849426"/>
                <a:gd name="connsiteX318" fmla="*/ 3400604 w 6386648"/>
                <a:gd name="connsiteY318" fmla="*/ 1380791 h 1849426"/>
                <a:gd name="connsiteX319" fmla="*/ 3418628 w 6386648"/>
                <a:gd name="connsiteY319" fmla="*/ 1362767 h 1849426"/>
                <a:gd name="connsiteX320" fmla="*/ 1147553 w 6386648"/>
                <a:gd name="connsiteY320" fmla="*/ 1362767 h 1849426"/>
                <a:gd name="connsiteX321" fmla="*/ 1165578 w 6386648"/>
                <a:gd name="connsiteY321" fmla="*/ 1380791 h 1849426"/>
                <a:gd name="connsiteX322" fmla="*/ 1147553 w 6386648"/>
                <a:gd name="connsiteY322" fmla="*/ 1398816 h 1849426"/>
                <a:gd name="connsiteX323" fmla="*/ 1129529 w 6386648"/>
                <a:gd name="connsiteY323" fmla="*/ 1380791 h 1849426"/>
                <a:gd name="connsiteX324" fmla="*/ 1147553 w 6386648"/>
                <a:gd name="connsiteY324" fmla="*/ 1362767 h 1849426"/>
                <a:gd name="connsiteX325" fmla="*/ 3646937 w 6386648"/>
                <a:gd name="connsiteY325" fmla="*/ 1356759 h 1849426"/>
                <a:gd name="connsiteX326" fmla="*/ 3664962 w 6386648"/>
                <a:gd name="connsiteY326" fmla="*/ 1374783 h 1849426"/>
                <a:gd name="connsiteX327" fmla="*/ 3646937 w 6386648"/>
                <a:gd name="connsiteY327" fmla="*/ 1392808 h 1849426"/>
                <a:gd name="connsiteX328" fmla="*/ 3628912 w 6386648"/>
                <a:gd name="connsiteY328" fmla="*/ 1374783 h 1849426"/>
                <a:gd name="connsiteX329" fmla="*/ 3646937 w 6386648"/>
                <a:gd name="connsiteY329" fmla="*/ 1356759 h 1849426"/>
                <a:gd name="connsiteX330" fmla="*/ 1946636 w 6386648"/>
                <a:gd name="connsiteY330" fmla="*/ 1356759 h 1849426"/>
                <a:gd name="connsiteX331" fmla="*/ 1964660 w 6386648"/>
                <a:gd name="connsiteY331" fmla="*/ 1374783 h 1849426"/>
                <a:gd name="connsiteX332" fmla="*/ 1946636 w 6386648"/>
                <a:gd name="connsiteY332" fmla="*/ 1392808 h 1849426"/>
                <a:gd name="connsiteX333" fmla="*/ 1928611 w 6386648"/>
                <a:gd name="connsiteY333" fmla="*/ 1374783 h 1849426"/>
                <a:gd name="connsiteX334" fmla="*/ 1946636 w 6386648"/>
                <a:gd name="connsiteY334" fmla="*/ 1356759 h 1849426"/>
                <a:gd name="connsiteX335" fmla="*/ 1658245 w 6386648"/>
                <a:gd name="connsiteY335" fmla="*/ 1350751 h 1849426"/>
                <a:gd name="connsiteX336" fmla="*/ 1676270 w 6386648"/>
                <a:gd name="connsiteY336" fmla="*/ 1368775 h 1849426"/>
                <a:gd name="connsiteX337" fmla="*/ 1658245 w 6386648"/>
                <a:gd name="connsiteY337" fmla="*/ 1386800 h 1849426"/>
                <a:gd name="connsiteX338" fmla="*/ 1640221 w 6386648"/>
                <a:gd name="connsiteY338" fmla="*/ 1368775 h 1849426"/>
                <a:gd name="connsiteX339" fmla="*/ 1658245 w 6386648"/>
                <a:gd name="connsiteY339" fmla="*/ 1350751 h 1849426"/>
                <a:gd name="connsiteX340" fmla="*/ 3929320 w 6386648"/>
                <a:gd name="connsiteY340" fmla="*/ 1344743 h 1849426"/>
                <a:gd name="connsiteX341" fmla="*/ 3947345 w 6386648"/>
                <a:gd name="connsiteY341" fmla="*/ 1362767 h 1849426"/>
                <a:gd name="connsiteX342" fmla="*/ 3929320 w 6386648"/>
                <a:gd name="connsiteY342" fmla="*/ 1380792 h 1849426"/>
                <a:gd name="connsiteX343" fmla="*/ 3911296 w 6386648"/>
                <a:gd name="connsiteY343" fmla="*/ 1362767 h 1849426"/>
                <a:gd name="connsiteX344" fmla="*/ 3929320 w 6386648"/>
                <a:gd name="connsiteY344" fmla="*/ 1344743 h 1849426"/>
                <a:gd name="connsiteX345" fmla="*/ 3088181 w 6386648"/>
                <a:gd name="connsiteY345" fmla="*/ 1344743 h 1849426"/>
                <a:gd name="connsiteX346" fmla="*/ 3106206 w 6386648"/>
                <a:gd name="connsiteY346" fmla="*/ 1362767 h 1849426"/>
                <a:gd name="connsiteX347" fmla="*/ 3088181 w 6386648"/>
                <a:gd name="connsiteY347" fmla="*/ 1380792 h 1849426"/>
                <a:gd name="connsiteX348" fmla="*/ 3070157 w 6386648"/>
                <a:gd name="connsiteY348" fmla="*/ 1362767 h 1849426"/>
                <a:gd name="connsiteX349" fmla="*/ 3088181 w 6386648"/>
                <a:gd name="connsiteY349" fmla="*/ 1344743 h 1849426"/>
                <a:gd name="connsiteX350" fmla="*/ 853154 w 6386648"/>
                <a:gd name="connsiteY350" fmla="*/ 1344743 h 1849426"/>
                <a:gd name="connsiteX351" fmla="*/ 871179 w 6386648"/>
                <a:gd name="connsiteY351" fmla="*/ 1362767 h 1849426"/>
                <a:gd name="connsiteX352" fmla="*/ 853154 w 6386648"/>
                <a:gd name="connsiteY352" fmla="*/ 1380792 h 1849426"/>
                <a:gd name="connsiteX353" fmla="*/ 835130 w 6386648"/>
                <a:gd name="connsiteY353" fmla="*/ 1362767 h 1849426"/>
                <a:gd name="connsiteX354" fmla="*/ 853154 w 6386648"/>
                <a:gd name="connsiteY354" fmla="*/ 1344743 h 1849426"/>
                <a:gd name="connsiteX355" fmla="*/ 4283800 w 6386648"/>
                <a:gd name="connsiteY355" fmla="*/ 1326718 h 1849426"/>
                <a:gd name="connsiteX356" fmla="*/ 4301825 w 6386648"/>
                <a:gd name="connsiteY356" fmla="*/ 1344742 h 1849426"/>
                <a:gd name="connsiteX357" fmla="*/ 4283800 w 6386648"/>
                <a:gd name="connsiteY357" fmla="*/ 1362767 h 1849426"/>
                <a:gd name="connsiteX358" fmla="*/ 4265776 w 6386648"/>
                <a:gd name="connsiteY358" fmla="*/ 1344742 h 1849426"/>
                <a:gd name="connsiteX359" fmla="*/ 4283800 w 6386648"/>
                <a:gd name="connsiteY359" fmla="*/ 1326718 h 1849426"/>
                <a:gd name="connsiteX360" fmla="*/ 3815165 w 6386648"/>
                <a:gd name="connsiteY360" fmla="*/ 1326718 h 1849426"/>
                <a:gd name="connsiteX361" fmla="*/ 3833190 w 6386648"/>
                <a:gd name="connsiteY361" fmla="*/ 1344742 h 1849426"/>
                <a:gd name="connsiteX362" fmla="*/ 3815165 w 6386648"/>
                <a:gd name="connsiteY362" fmla="*/ 1362767 h 1849426"/>
                <a:gd name="connsiteX363" fmla="*/ 3797141 w 6386648"/>
                <a:gd name="connsiteY363" fmla="*/ 1344742 h 1849426"/>
                <a:gd name="connsiteX364" fmla="*/ 3815165 w 6386648"/>
                <a:gd name="connsiteY364" fmla="*/ 1326718 h 1849426"/>
                <a:gd name="connsiteX365" fmla="*/ 2980034 w 6386648"/>
                <a:gd name="connsiteY365" fmla="*/ 1326718 h 1849426"/>
                <a:gd name="connsiteX366" fmla="*/ 2998059 w 6386648"/>
                <a:gd name="connsiteY366" fmla="*/ 1344742 h 1849426"/>
                <a:gd name="connsiteX367" fmla="*/ 2980034 w 6386648"/>
                <a:gd name="connsiteY367" fmla="*/ 1362767 h 1849426"/>
                <a:gd name="connsiteX368" fmla="*/ 2962010 w 6386648"/>
                <a:gd name="connsiteY368" fmla="*/ 1344742 h 1849426"/>
                <a:gd name="connsiteX369" fmla="*/ 2980034 w 6386648"/>
                <a:gd name="connsiteY369" fmla="*/ 1326718 h 1849426"/>
                <a:gd name="connsiteX370" fmla="*/ 594806 w 6386648"/>
                <a:gd name="connsiteY370" fmla="*/ 1326718 h 1849426"/>
                <a:gd name="connsiteX371" fmla="*/ 612830 w 6386648"/>
                <a:gd name="connsiteY371" fmla="*/ 1344742 h 1849426"/>
                <a:gd name="connsiteX372" fmla="*/ 594806 w 6386648"/>
                <a:gd name="connsiteY372" fmla="*/ 1362767 h 1849426"/>
                <a:gd name="connsiteX373" fmla="*/ 576781 w 6386648"/>
                <a:gd name="connsiteY373" fmla="*/ 1344742 h 1849426"/>
                <a:gd name="connsiteX374" fmla="*/ 594806 w 6386648"/>
                <a:gd name="connsiteY374" fmla="*/ 1326718 h 1849426"/>
                <a:gd name="connsiteX375" fmla="*/ 4836548 w 6386648"/>
                <a:gd name="connsiteY375" fmla="*/ 1314702 h 1849426"/>
                <a:gd name="connsiteX376" fmla="*/ 4854573 w 6386648"/>
                <a:gd name="connsiteY376" fmla="*/ 1332726 h 1849426"/>
                <a:gd name="connsiteX377" fmla="*/ 4836548 w 6386648"/>
                <a:gd name="connsiteY377" fmla="*/ 1350751 h 1849426"/>
                <a:gd name="connsiteX378" fmla="*/ 4818524 w 6386648"/>
                <a:gd name="connsiteY378" fmla="*/ 1332726 h 1849426"/>
                <a:gd name="connsiteX379" fmla="*/ 4836548 w 6386648"/>
                <a:gd name="connsiteY379" fmla="*/ 1314702 h 1849426"/>
                <a:gd name="connsiteX380" fmla="*/ 4980743 w 6386648"/>
                <a:gd name="connsiteY380" fmla="*/ 1308694 h 1849426"/>
                <a:gd name="connsiteX381" fmla="*/ 4998768 w 6386648"/>
                <a:gd name="connsiteY381" fmla="*/ 1326719 h 1849426"/>
                <a:gd name="connsiteX382" fmla="*/ 4980743 w 6386648"/>
                <a:gd name="connsiteY382" fmla="*/ 1344743 h 1849426"/>
                <a:gd name="connsiteX383" fmla="*/ 4962719 w 6386648"/>
                <a:gd name="connsiteY383" fmla="*/ 1326719 h 1849426"/>
                <a:gd name="connsiteX384" fmla="*/ 4980743 w 6386648"/>
                <a:gd name="connsiteY384" fmla="*/ 1308694 h 1849426"/>
                <a:gd name="connsiteX385" fmla="*/ 2871888 w 6386648"/>
                <a:gd name="connsiteY385" fmla="*/ 1302686 h 1849426"/>
                <a:gd name="connsiteX386" fmla="*/ 2889913 w 6386648"/>
                <a:gd name="connsiteY386" fmla="*/ 1320710 h 1849426"/>
                <a:gd name="connsiteX387" fmla="*/ 2871888 w 6386648"/>
                <a:gd name="connsiteY387" fmla="*/ 1338735 h 1849426"/>
                <a:gd name="connsiteX388" fmla="*/ 2853864 w 6386648"/>
                <a:gd name="connsiteY388" fmla="*/ 1320710 h 1849426"/>
                <a:gd name="connsiteX389" fmla="*/ 2871888 w 6386648"/>
                <a:gd name="connsiteY389" fmla="*/ 1302686 h 1849426"/>
                <a:gd name="connsiteX390" fmla="*/ 2102847 w 6386648"/>
                <a:gd name="connsiteY390" fmla="*/ 1302686 h 1849426"/>
                <a:gd name="connsiteX391" fmla="*/ 2120872 w 6386648"/>
                <a:gd name="connsiteY391" fmla="*/ 1320710 h 1849426"/>
                <a:gd name="connsiteX392" fmla="*/ 2102847 w 6386648"/>
                <a:gd name="connsiteY392" fmla="*/ 1338735 h 1849426"/>
                <a:gd name="connsiteX393" fmla="*/ 2084823 w 6386648"/>
                <a:gd name="connsiteY393" fmla="*/ 1320710 h 1849426"/>
                <a:gd name="connsiteX394" fmla="*/ 2102847 w 6386648"/>
                <a:gd name="connsiteY394" fmla="*/ 1302686 h 1849426"/>
                <a:gd name="connsiteX395" fmla="*/ 1273724 w 6386648"/>
                <a:gd name="connsiteY395" fmla="*/ 1302686 h 1849426"/>
                <a:gd name="connsiteX396" fmla="*/ 1291749 w 6386648"/>
                <a:gd name="connsiteY396" fmla="*/ 1320710 h 1849426"/>
                <a:gd name="connsiteX397" fmla="*/ 1273724 w 6386648"/>
                <a:gd name="connsiteY397" fmla="*/ 1338735 h 1849426"/>
                <a:gd name="connsiteX398" fmla="*/ 1255700 w 6386648"/>
                <a:gd name="connsiteY398" fmla="*/ 1320710 h 1849426"/>
                <a:gd name="connsiteX399" fmla="*/ 1273724 w 6386648"/>
                <a:gd name="connsiteY399" fmla="*/ 1302686 h 1849426"/>
                <a:gd name="connsiteX400" fmla="*/ 1033398 w 6386648"/>
                <a:gd name="connsiteY400" fmla="*/ 1302686 h 1849426"/>
                <a:gd name="connsiteX401" fmla="*/ 1051423 w 6386648"/>
                <a:gd name="connsiteY401" fmla="*/ 1320710 h 1849426"/>
                <a:gd name="connsiteX402" fmla="*/ 1033398 w 6386648"/>
                <a:gd name="connsiteY402" fmla="*/ 1338735 h 1849426"/>
                <a:gd name="connsiteX403" fmla="*/ 1015374 w 6386648"/>
                <a:gd name="connsiteY403" fmla="*/ 1320710 h 1849426"/>
                <a:gd name="connsiteX404" fmla="*/ 1033398 w 6386648"/>
                <a:gd name="connsiteY404" fmla="*/ 1302686 h 1849426"/>
                <a:gd name="connsiteX405" fmla="*/ 4548158 w 6386648"/>
                <a:gd name="connsiteY405" fmla="*/ 1296678 h 1849426"/>
                <a:gd name="connsiteX406" fmla="*/ 4566183 w 6386648"/>
                <a:gd name="connsiteY406" fmla="*/ 1314702 h 1849426"/>
                <a:gd name="connsiteX407" fmla="*/ 4548158 w 6386648"/>
                <a:gd name="connsiteY407" fmla="*/ 1332727 h 1849426"/>
                <a:gd name="connsiteX408" fmla="*/ 4530133 w 6386648"/>
                <a:gd name="connsiteY408" fmla="*/ 1314702 h 1849426"/>
                <a:gd name="connsiteX409" fmla="*/ 4548158 w 6386648"/>
                <a:gd name="connsiteY409" fmla="*/ 1296678 h 1849426"/>
                <a:gd name="connsiteX410" fmla="*/ 3520767 w 6386648"/>
                <a:gd name="connsiteY410" fmla="*/ 1290670 h 1849426"/>
                <a:gd name="connsiteX411" fmla="*/ 3538792 w 6386648"/>
                <a:gd name="connsiteY411" fmla="*/ 1308694 h 1849426"/>
                <a:gd name="connsiteX412" fmla="*/ 3520767 w 6386648"/>
                <a:gd name="connsiteY412" fmla="*/ 1326719 h 1849426"/>
                <a:gd name="connsiteX413" fmla="*/ 3502743 w 6386648"/>
                <a:gd name="connsiteY413" fmla="*/ 1308694 h 1849426"/>
                <a:gd name="connsiteX414" fmla="*/ 3520767 w 6386648"/>
                <a:gd name="connsiteY414" fmla="*/ 1290670 h 1849426"/>
                <a:gd name="connsiteX415" fmla="*/ 3244392 w 6386648"/>
                <a:gd name="connsiteY415" fmla="*/ 1290670 h 1849426"/>
                <a:gd name="connsiteX416" fmla="*/ 3262417 w 6386648"/>
                <a:gd name="connsiteY416" fmla="*/ 1308694 h 1849426"/>
                <a:gd name="connsiteX417" fmla="*/ 3244392 w 6386648"/>
                <a:gd name="connsiteY417" fmla="*/ 1326719 h 1849426"/>
                <a:gd name="connsiteX418" fmla="*/ 3226368 w 6386648"/>
                <a:gd name="connsiteY418" fmla="*/ 1308694 h 1849426"/>
                <a:gd name="connsiteX419" fmla="*/ 3244392 w 6386648"/>
                <a:gd name="connsiteY419" fmla="*/ 1290670 h 1849426"/>
                <a:gd name="connsiteX420" fmla="*/ 757024 w 6386648"/>
                <a:gd name="connsiteY420" fmla="*/ 1290670 h 1849426"/>
                <a:gd name="connsiteX421" fmla="*/ 775049 w 6386648"/>
                <a:gd name="connsiteY421" fmla="*/ 1308694 h 1849426"/>
                <a:gd name="connsiteX422" fmla="*/ 757024 w 6386648"/>
                <a:gd name="connsiteY422" fmla="*/ 1326719 h 1849426"/>
                <a:gd name="connsiteX423" fmla="*/ 739000 w 6386648"/>
                <a:gd name="connsiteY423" fmla="*/ 1308694 h 1849426"/>
                <a:gd name="connsiteX424" fmla="*/ 757024 w 6386648"/>
                <a:gd name="connsiteY424" fmla="*/ 1290670 h 1849426"/>
                <a:gd name="connsiteX425" fmla="*/ 4427995 w 6386648"/>
                <a:gd name="connsiteY425" fmla="*/ 1284661 h 1849426"/>
                <a:gd name="connsiteX426" fmla="*/ 4446020 w 6386648"/>
                <a:gd name="connsiteY426" fmla="*/ 1302685 h 1849426"/>
                <a:gd name="connsiteX427" fmla="*/ 4427995 w 6386648"/>
                <a:gd name="connsiteY427" fmla="*/ 1320710 h 1849426"/>
                <a:gd name="connsiteX428" fmla="*/ 4409970 w 6386648"/>
                <a:gd name="connsiteY428" fmla="*/ 1302685 h 1849426"/>
                <a:gd name="connsiteX429" fmla="*/ 4427995 w 6386648"/>
                <a:gd name="connsiteY429" fmla="*/ 1284661 h 1849426"/>
                <a:gd name="connsiteX430" fmla="*/ 2763741 w 6386648"/>
                <a:gd name="connsiteY430" fmla="*/ 1278653 h 1849426"/>
                <a:gd name="connsiteX431" fmla="*/ 2781766 w 6386648"/>
                <a:gd name="connsiteY431" fmla="*/ 1296678 h 1849426"/>
                <a:gd name="connsiteX432" fmla="*/ 2763741 w 6386648"/>
                <a:gd name="connsiteY432" fmla="*/ 1314702 h 1849426"/>
                <a:gd name="connsiteX433" fmla="*/ 2745717 w 6386648"/>
                <a:gd name="connsiteY433" fmla="*/ 1296678 h 1849426"/>
                <a:gd name="connsiteX434" fmla="*/ 2763741 w 6386648"/>
                <a:gd name="connsiteY434" fmla="*/ 1278653 h 1849426"/>
                <a:gd name="connsiteX435" fmla="*/ 2217002 w 6386648"/>
                <a:gd name="connsiteY435" fmla="*/ 1272645 h 1849426"/>
                <a:gd name="connsiteX436" fmla="*/ 2235026 w 6386648"/>
                <a:gd name="connsiteY436" fmla="*/ 1290669 h 1849426"/>
                <a:gd name="connsiteX437" fmla="*/ 2217002 w 6386648"/>
                <a:gd name="connsiteY437" fmla="*/ 1308694 h 1849426"/>
                <a:gd name="connsiteX438" fmla="*/ 2198977 w 6386648"/>
                <a:gd name="connsiteY438" fmla="*/ 1290669 h 1849426"/>
                <a:gd name="connsiteX439" fmla="*/ 2217002 w 6386648"/>
                <a:gd name="connsiteY439" fmla="*/ 1272645 h 1849426"/>
                <a:gd name="connsiteX440" fmla="*/ 1874537 w 6386648"/>
                <a:gd name="connsiteY440" fmla="*/ 1272645 h 1849426"/>
                <a:gd name="connsiteX441" fmla="*/ 1892562 w 6386648"/>
                <a:gd name="connsiteY441" fmla="*/ 1290669 h 1849426"/>
                <a:gd name="connsiteX442" fmla="*/ 1874537 w 6386648"/>
                <a:gd name="connsiteY442" fmla="*/ 1308694 h 1849426"/>
                <a:gd name="connsiteX443" fmla="*/ 1856513 w 6386648"/>
                <a:gd name="connsiteY443" fmla="*/ 1290669 h 1849426"/>
                <a:gd name="connsiteX444" fmla="*/ 1874537 w 6386648"/>
                <a:gd name="connsiteY444" fmla="*/ 1272645 h 1849426"/>
                <a:gd name="connsiteX445" fmla="*/ 3376571 w 6386648"/>
                <a:gd name="connsiteY445" fmla="*/ 1266637 h 1849426"/>
                <a:gd name="connsiteX446" fmla="*/ 3394596 w 6386648"/>
                <a:gd name="connsiteY446" fmla="*/ 1284661 h 1849426"/>
                <a:gd name="connsiteX447" fmla="*/ 3376571 w 6386648"/>
                <a:gd name="connsiteY447" fmla="*/ 1302686 h 1849426"/>
                <a:gd name="connsiteX448" fmla="*/ 3358546 w 6386648"/>
                <a:gd name="connsiteY448" fmla="*/ 1284661 h 1849426"/>
                <a:gd name="connsiteX449" fmla="*/ 3376571 w 6386648"/>
                <a:gd name="connsiteY449" fmla="*/ 1266637 h 1849426"/>
                <a:gd name="connsiteX450" fmla="*/ 2643579 w 6386648"/>
                <a:gd name="connsiteY450" fmla="*/ 1266637 h 1849426"/>
                <a:gd name="connsiteX451" fmla="*/ 2661604 w 6386648"/>
                <a:gd name="connsiteY451" fmla="*/ 1284661 h 1849426"/>
                <a:gd name="connsiteX452" fmla="*/ 2643579 w 6386648"/>
                <a:gd name="connsiteY452" fmla="*/ 1302686 h 1849426"/>
                <a:gd name="connsiteX453" fmla="*/ 2625555 w 6386648"/>
                <a:gd name="connsiteY453" fmla="*/ 1284661 h 1849426"/>
                <a:gd name="connsiteX454" fmla="*/ 2643579 w 6386648"/>
                <a:gd name="connsiteY454" fmla="*/ 1266637 h 1849426"/>
                <a:gd name="connsiteX455" fmla="*/ 1754375 w 6386648"/>
                <a:gd name="connsiteY455" fmla="*/ 1266637 h 1849426"/>
                <a:gd name="connsiteX456" fmla="*/ 1772400 w 6386648"/>
                <a:gd name="connsiteY456" fmla="*/ 1284661 h 1849426"/>
                <a:gd name="connsiteX457" fmla="*/ 1754375 w 6386648"/>
                <a:gd name="connsiteY457" fmla="*/ 1302686 h 1849426"/>
                <a:gd name="connsiteX458" fmla="*/ 1736351 w 6386648"/>
                <a:gd name="connsiteY458" fmla="*/ 1284661 h 1849426"/>
                <a:gd name="connsiteX459" fmla="*/ 1754375 w 6386648"/>
                <a:gd name="connsiteY459" fmla="*/ 1266637 h 1849426"/>
                <a:gd name="connsiteX460" fmla="*/ 4740418 w 6386648"/>
                <a:gd name="connsiteY460" fmla="*/ 1260629 h 1849426"/>
                <a:gd name="connsiteX461" fmla="*/ 4758443 w 6386648"/>
                <a:gd name="connsiteY461" fmla="*/ 1278653 h 1849426"/>
                <a:gd name="connsiteX462" fmla="*/ 4740418 w 6386648"/>
                <a:gd name="connsiteY462" fmla="*/ 1296678 h 1849426"/>
                <a:gd name="connsiteX463" fmla="*/ 4722394 w 6386648"/>
                <a:gd name="connsiteY463" fmla="*/ 1278653 h 1849426"/>
                <a:gd name="connsiteX464" fmla="*/ 4740418 w 6386648"/>
                <a:gd name="connsiteY464" fmla="*/ 1260629 h 1849426"/>
                <a:gd name="connsiteX465" fmla="*/ 4103556 w 6386648"/>
                <a:gd name="connsiteY465" fmla="*/ 1260629 h 1849426"/>
                <a:gd name="connsiteX466" fmla="*/ 4121581 w 6386648"/>
                <a:gd name="connsiteY466" fmla="*/ 1278653 h 1849426"/>
                <a:gd name="connsiteX467" fmla="*/ 4103556 w 6386648"/>
                <a:gd name="connsiteY467" fmla="*/ 1296678 h 1849426"/>
                <a:gd name="connsiteX468" fmla="*/ 4085532 w 6386648"/>
                <a:gd name="connsiteY468" fmla="*/ 1278653 h 1849426"/>
                <a:gd name="connsiteX469" fmla="*/ 4103556 w 6386648"/>
                <a:gd name="connsiteY469" fmla="*/ 1260629 h 1849426"/>
                <a:gd name="connsiteX470" fmla="*/ 3725043 w 6386648"/>
                <a:gd name="connsiteY470" fmla="*/ 1260629 h 1849426"/>
                <a:gd name="connsiteX471" fmla="*/ 3743068 w 6386648"/>
                <a:gd name="connsiteY471" fmla="*/ 1278653 h 1849426"/>
                <a:gd name="connsiteX472" fmla="*/ 3725043 w 6386648"/>
                <a:gd name="connsiteY472" fmla="*/ 1296678 h 1849426"/>
                <a:gd name="connsiteX473" fmla="*/ 3707019 w 6386648"/>
                <a:gd name="connsiteY473" fmla="*/ 1278653 h 1849426"/>
                <a:gd name="connsiteX474" fmla="*/ 3725043 w 6386648"/>
                <a:gd name="connsiteY474" fmla="*/ 1260629 h 1849426"/>
                <a:gd name="connsiteX475" fmla="*/ 1405904 w 6386648"/>
                <a:gd name="connsiteY475" fmla="*/ 1260629 h 1849426"/>
                <a:gd name="connsiteX476" fmla="*/ 1423928 w 6386648"/>
                <a:gd name="connsiteY476" fmla="*/ 1278653 h 1849426"/>
                <a:gd name="connsiteX477" fmla="*/ 1405904 w 6386648"/>
                <a:gd name="connsiteY477" fmla="*/ 1296678 h 1849426"/>
                <a:gd name="connsiteX478" fmla="*/ 1387879 w 6386648"/>
                <a:gd name="connsiteY478" fmla="*/ 1278653 h 1849426"/>
                <a:gd name="connsiteX479" fmla="*/ 1405904 w 6386648"/>
                <a:gd name="connsiteY479" fmla="*/ 1260629 h 1849426"/>
                <a:gd name="connsiteX480" fmla="*/ 492666 w 6386648"/>
                <a:gd name="connsiteY480" fmla="*/ 1260629 h 1849426"/>
                <a:gd name="connsiteX481" fmla="*/ 510691 w 6386648"/>
                <a:gd name="connsiteY481" fmla="*/ 1278653 h 1849426"/>
                <a:gd name="connsiteX482" fmla="*/ 492666 w 6386648"/>
                <a:gd name="connsiteY482" fmla="*/ 1296678 h 1849426"/>
                <a:gd name="connsiteX483" fmla="*/ 474642 w 6386648"/>
                <a:gd name="connsiteY483" fmla="*/ 1278653 h 1849426"/>
                <a:gd name="connsiteX484" fmla="*/ 492666 w 6386648"/>
                <a:gd name="connsiteY484" fmla="*/ 1260629 h 1849426"/>
                <a:gd name="connsiteX485" fmla="*/ 4229726 w 6386648"/>
                <a:gd name="connsiteY485" fmla="*/ 1248613 h 1849426"/>
                <a:gd name="connsiteX486" fmla="*/ 4247751 w 6386648"/>
                <a:gd name="connsiteY486" fmla="*/ 1266638 h 1849426"/>
                <a:gd name="connsiteX487" fmla="*/ 4229726 w 6386648"/>
                <a:gd name="connsiteY487" fmla="*/ 1284662 h 1849426"/>
                <a:gd name="connsiteX488" fmla="*/ 4211702 w 6386648"/>
                <a:gd name="connsiteY488" fmla="*/ 1266638 h 1849426"/>
                <a:gd name="connsiteX489" fmla="*/ 4229726 w 6386648"/>
                <a:gd name="connsiteY489" fmla="*/ 1248613 h 1849426"/>
                <a:gd name="connsiteX490" fmla="*/ 2439302 w 6386648"/>
                <a:gd name="connsiteY490" fmla="*/ 1248613 h 1849426"/>
                <a:gd name="connsiteX491" fmla="*/ 2457327 w 6386648"/>
                <a:gd name="connsiteY491" fmla="*/ 1266638 h 1849426"/>
                <a:gd name="connsiteX492" fmla="*/ 2439302 w 6386648"/>
                <a:gd name="connsiteY492" fmla="*/ 1284662 h 1849426"/>
                <a:gd name="connsiteX493" fmla="*/ 2421278 w 6386648"/>
                <a:gd name="connsiteY493" fmla="*/ 1266638 h 1849426"/>
                <a:gd name="connsiteX494" fmla="*/ 2439302 w 6386648"/>
                <a:gd name="connsiteY494" fmla="*/ 1248613 h 1849426"/>
                <a:gd name="connsiteX495" fmla="*/ 2337165 w 6386648"/>
                <a:gd name="connsiteY495" fmla="*/ 1248613 h 1849426"/>
                <a:gd name="connsiteX496" fmla="*/ 2355189 w 6386648"/>
                <a:gd name="connsiteY496" fmla="*/ 1266638 h 1849426"/>
                <a:gd name="connsiteX497" fmla="*/ 2337165 w 6386648"/>
                <a:gd name="connsiteY497" fmla="*/ 1284662 h 1849426"/>
                <a:gd name="connsiteX498" fmla="*/ 2319140 w 6386648"/>
                <a:gd name="connsiteY498" fmla="*/ 1266638 h 1849426"/>
                <a:gd name="connsiteX499" fmla="*/ 2337165 w 6386648"/>
                <a:gd name="connsiteY499" fmla="*/ 1248613 h 1849426"/>
                <a:gd name="connsiteX500" fmla="*/ 2012725 w 6386648"/>
                <a:gd name="connsiteY500" fmla="*/ 1248613 h 1849426"/>
                <a:gd name="connsiteX501" fmla="*/ 2030750 w 6386648"/>
                <a:gd name="connsiteY501" fmla="*/ 1266638 h 1849426"/>
                <a:gd name="connsiteX502" fmla="*/ 2012725 w 6386648"/>
                <a:gd name="connsiteY502" fmla="*/ 1284662 h 1849426"/>
                <a:gd name="connsiteX503" fmla="*/ 1994701 w 6386648"/>
                <a:gd name="connsiteY503" fmla="*/ 1266638 h 1849426"/>
                <a:gd name="connsiteX504" fmla="*/ 2012725 w 6386648"/>
                <a:gd name="connsiteY504" fmla="*/ 1248613 h 1849426"/>
                <a:gd name="connsiteX505" fmla="*/ 1165578 w 6386648"/>
                <a:gd name="connsiteY505" fmla="*/ 1248613 h 1849426"/>
                <a:gd name="connsiteX506" fmla="*/ 1183602 w 6386648"/>
                <a:gd name="connsiteY506" fmla="*/ 1266638 h 1849426"/>
                <a:gd name="connsiteX507" fmla="*/ 1165578 w 6386648"/>
                <a:gd name="connsiteY507" fmla="*/ 1284662 h 1849426"/>
                <a:gd name="connsiteX508" fmla="*/ 1147553 w 6386648"/>
                <a:gd name="connsiteY508" fmla="*/ 1266638 h 1849426"/>
                <a:gd name="connsiteX509" fmla="*/ 1165578 w 6386648"/>
                <a:gd name="connsiteY509" fmla="*/ 1248613 h 1849426"/>
                <a:gd name="connsiteX510" fmla="*/ 3989401 w 6386648"/>
                <a:gd name="connsiteY510" fmla="*/ 1242605 h 1849426"/>
                <a:gd name="connsiteX511" fmla="*/ 4007426 w 6386648"/>
                <a:gd name="connsiteY511" fmla="*/ 1260629 h 1849426"/>
                <a:gd name="connsiteX512" fmla="*/ 3989401 w 6386648"/>
                <a:gd name="connsiteY512" fmla="*/ 1278654 h 1849426"/>
                <a:gd name="connsiteX513" fmla="*/ 3971377 w 6386648"/>
                <a:gd name="connsiteY513" fmla="*/ 1260629 h 1849426"/>
                <a:gd name="connsiteX514" fmla="*/ 3989401 w 6386648"/>
                <a:gd name="connsiteY514" fmla="*/ 1242605 h 1849426"/>
                <a:gd name="connsiteX515" fmla="*/ 1514049 w 6386648"/>
                <a:gd name="connsiteY515" fmla="*/ 1242605 h 1849426"/>
                <a:gd name="connsiteX516" fmla="*/ 1532074 w 6386648"/>
                <a:gd name="connsiteY516" fmla="*/ 1260629 h 1849426"/>
                <a:gd name="connsiteX517" fmla="*/ 1514049 w 6386648"/>
                <a:gd name="connsiteY517" fmla="*/ 1278654 h 1849426"/>
                <a:gd name="connsiteX518" fmla="*/ 1496025 w 6386648"/>
                <a:gd name="connsiteY518" fmla="*/ 1260629 h 1849426"/>
                <a:gd name="connsiteX519" fmla="*/ 1514049 w 6386648"/>
                <a:gd name="connsiteY519" fmla="*/ 1242605 h 1849426"/>
                <a:gd name="connsiteX520" fmla="*/ 3088181 w 6386648"/>
                <a:gd name="connsiteY520" fmla="*/ 1230588 h 1849426"/>
                <a:gd name="connsiteX521" fmla="*/ 3106206 w 6386648"/>
                <a:gd name="connsiteY521" fmla="*/ 1248612 h 1849426"/>
                <a:gd name="connsiteX522" fmla="*/ 3088181 w 6386648"/>
                <a:gd name="connsiteY522" fmla="*/ 1266637 h 1849426"/>
                <a:gd name="connsiteX523" fmla="*/ 3070157 w 6386648"/>
                <a:gd name="connsiteY523" fmla="*/ 1248612 h 1849426"/>
                <a:gd name="connsiteX524" fmla="*/ 3088181 w 6386648"/>
                <a:gd name="connsiteY524" fmla="*/ 1230588 h 1849426"/>
                <a:gd name="connsiteX525" fmla="*/ 895212 w 6386648"/>
                <a:gd name="connsiteY525" fmla="*/ 1230588 h 1849426"/>
                <a:gd name="connsiteX526" fmla="*/ 913236 w 6386648"/>
                <a:gd name="connsiteY526" fmla="*/ 1248612 h 1849426"/>
                <a:gd name="connsiteX527" fmla="*/ 895212 w 6386648"/>
                <a:gd name="connsiteY527" fmla="*/ 1266637 h 1849426"/>
                <a:gd name="connsiteX528" fmla="*/ 877187 w 6386648"/>
                <a:gd name="connsiteY528" fmla="*/ 1248612 h 1849426"/>
                <a:gd name="connsiteX529" fmla="*/ 895212 w 6386648"/>
                <a:gd name="connsiteY529" fmla="*/ 1230588 h 1849426"/>
                <a:gd name="connsiteX530" fmla="*/ 4626263 w 6386648"/>
                <a:gd name="connsiteY530" fmla="*/ 1224580 h 1849426"/>
                <a:gd name="connsiteX531" fmla="*/ 4644288 w 6386648"/>
                <a:gd name="connsiteY531" fmla="*/ 1242604 h 1849426"/>
                <a:gd name="connsiteX532" fmla="*/ 4626263 w 6386648"/>
                <a:gd name="connsiteY532" fmla="*/ 1260629 h 1849426"/>
                <a:gd name="connsiteX533" fmla="*/ 4608239 w 6386648"/>
                <a:gd name="connsiteY533" fmla="*/ 1242604 h 1849426"/>
                <a:gd name="connsiteX534" fmla="*/ 4626263 w 6386648"/>
                <a:gd name="connsiteY534" fmla="*/ 1224580 h 1849426"/>
                <a:gd name="connsiteX535" fmla="*/ 2547449 w 6386648"/>
                <a:gd name="connsiteY535" fmla="*/ 1224580 h 1849426"/>
                <a:gd name="connsiteX536" fmla="*/ 2565474 w 6386648"/>
                <a:gd name="connsiteY536" fmla="*/ 1242604 h 1849426"/>
                <a:gd name="connsiteX537" fmla="*/ 2547449 w 6386648"/>
                <a:gd name="connsiteY537" fmla="*/ 1260629 h 1849426"/>
                <a:gd name="connsiteX538" fmla="*/ 2529425 w 6386648"/>
                <a:gd name="connsiteY538" fmla="*/ 1242604 h 1849426"/>
                <a:gd name="connsiteX539" fmla="*/ 2547449 w 6386648"/>
                <a:gd name="connsiteY539" fmla="*/ 1224580 h 1849426"/>
                <a:gd name="connsiteX540" fmla="*/ 1628204 w 6386648"/>
                <a:gd name="connsiteY540" fmla="*/ 1224580 h 1849426"/>
                <a:gd name="connsiteX541" fmla="*/ 1646229 w 6386648"/>
                <a:gd name="connsiteY541" fmla="*/ 1242604 h 1849426"/>
                <a:gd name="connsiteX542" fmla="*/ 1628204 w 6386648"/>
                <a:gd name="connsiteY542" fmla="*/ 1260629 h 1849426"/>
                <a:gd name="connsiteX543" fmla="*/ 1610180 w 6386648"/>
                <a:gd name="connsiteY543" fmla="*/ 1242604 h 1849426"/>
                <a:gd name="connsiteX544" fmla="*/ 1628204 w 6386648"/>
                <a:gd name="connsiteY544" fmla="*/ 1224580 h 1849426"/>
                <a:gd name="connsiteX545" fmla="*/ 5052841 w 6386648"/>
                <a:gd name="connsiteY545" fmla="*/ 1212564 h 1849426"/>
                <a:gd name="connsiteX546" fmla="*/ 5070866 w 6386648"/>
                <a:gd name="connsiteY546" fmla="*/ 1230588 h 1849426"/>
                <a:gd name="connsiteX547" fmla="*/ 5052841 w 6386648"/>
                <a:gd name="connsiteY547" fmla="*/ 1248613 h 1849426"/>
                <a:gd name="connsiteX548" fmla="*/ 5034817 w 6386648"/>
                <a:gd name="connsiteY548" fmla="*/ 1230588 h 1849426"/>
                <a:gd name="connsiteX549" fmla="*/ 5052841 w 6386648"/>
                <a:gd name="connsiteY549" fmla="*/ 1212564 h 1849426"/>
                <a:gd name="connsiteX550" fmla="*/ 3845206 w 6386648"/>
                <a:gd name="connsiteY550" fmla="*/ 1206556 h 1849426"/>
                <a:gd name="connsiteX551" fmla="*/ 3863231 w 6386648"/>
                <a:gd name="connsiteY551" fmla="*/ 1224580 h 1849426"/>
                <a:gd name="connsiteX552" fmla="*/ 3845206 w 6386648"/>
                <a:gd name="connsiteY552" fmla="*/ 1242605 h 1849426"/>
                <a:gd name="connsiteX553" fmla="*/ 3827182 w 6386648"/>
                <a:gd name="connsiteY553" fmla="*/ 1224580 h 1849426"/>
                <a:gd name="connsiteX554" fmla="*/ 3845206 w 6386648"/>
                <a:gd name="connsiteY554" fmla="*/ 1206556 h 1849426"/>
                <a:gd name="connsiteX555" fmla="*/ 3604880 w 6386648"/>
                <a:gd name="connsiteY555" fmla="*/ 1206556 h 1849426"/>
                <a:gd name="connsiteX556" fmla="*/ 3622905 w 6386648"/>
                <a:gd name="connsiteY556" fmla="*/ 1224580 h 1849426"/>
                <a:gd name="connsiteX557" fmla="*/ 3604880 w 6386648"/>
                <a:gd name="connsiteY557" fmla="*/ 1242605 h 1849426"/>
                <a:gd name="connsiteX558" fmla="*/ 3586856 w 6386648"/>
                <a:gd name="connsiteY558" fmla="*/ 1224580 h 1849426"/>
                <a:gd name="connsiteX559" fmla="*/ 3604880 w 6386648"/>
                <a:gd name="connsiteY559" fmla="*/ 1206556 h 1849426"/>
                <a:gd name="connsiteX560" fmla="*/ 600813 w 6386648"/>
                <a:gd name="connsiteY560" fmla="*/ 1200548 h 1849426"/>
                <a:gd name="connsiteX561" fmla="*/ 618838 w 6386648"/>
                <a:gd name="connsiteY561" fmla="*/ 1218572 h 1849426"/>
                <a:gd name="connsiteX562" fmla="*/ 600813 w 6386648"/>
                <a:gd name="connsiteY562" fmla="*/ 1236597 h 1849426"/>
                <a:gd name="connsiteX563" fmla="*/ 582789 w 6386648"/>
                <a:gd name="connsiteY563" fmla="*/ 1218572 h 1849426"/>
                <a:gd name="connsiteX564" fmla="*/ 600813 w 6386648"/>
                <a:gd name="connsiteY564" fmla="*/ 1200548 h 1849426"/>
                <a:gd name="connsiteX565" fmla="*/ 2949994 w 6386648"/>
                <a:gd name="connsiteY565" fmla="*/ 1194539 h 1849426"/>
                <a:gd name="connsiteX566" fmla="*/ 2968019 w 6386648"/>
                <a:gd name="connsiteY566" fmla="*/ 1212563 h 1849426"/>
                <a:gd name="connsiteX567" fmla="*/ 2949994 w 6386648"/>
                <a:gd name="connsiteY567" fmla="*/ 1230588 h 1849426"/>
                <a:gd name="connsiteX568" fmla="*/ 2931970 w 6386648"/>
                <a:gd name="connsiteY568" fmla="*/ 1212563 h 1849426"/>
                <a:gd name="connsiteX569" fmla="*/ 2949994 w 6386648"/>
                <a:gd name="connsiteY569" fmla="*/ 1194539 h 1849426"/>
                <a:gd name="connsiteX570" fmla="*/ 1009366 w 6386648"/>
                <a:gd name="connsiteY570" fmla="*/ 1194539 h 1849426"/>
                <a:gd name="connsiteX571" fmla="*/ 1027391 w 6386648"/>
                <a:gd name="connsiteY571" fmla="*/ 1212563 h 1849426"/>
                <a:gd name="connsiteX572" fmla="*/ 1009366 w 6386648"/>
                <a:gd name="connsiteY572" fmla="*/ 1230588 h 1849426"/>
                <a:gd name="connsiteX573" fmla="*/ 991342 w 6386648"/>
                <a:gd name="connsiteY573" fmla="*/ 1212563 h 1849426"/>
                <a:gd name="connsiteX574" fmla="*/ 1009366 w 6386648"/>
                <a:gd name="connsiteY574" fmla="*/ 1194539 h 1849426"/>
                <a:gd name="connsiteX575" fmla="*/ 4932678 w 6386648"/>
                <a:gd name="connsiteY575" fmla="*/ 1188531 h 1849426"/>
                <a:gd name="connsiteX576" fmla="*/ 4950703 w 6386648"/>
                <a:gd name="connsiteY576" fmla="*/ 1206556 h 1849426"/>
                <a:gd name="connsiteX577" fmla="*/ 4932678 w 6386648"/>
                <a:gd name="connsiteY577" fmla="*/ 1224580 h 1849426"/>
                <a:gd name="connsiteX578" fmla="*/ 4914654 w 6386648"/>
                <a:gd name="connsiteY578" fmla="*/ 1206556 h 1849426"/>
                <a:gd name="connsiteX579" fmla="*/ 4932678 w 6386648"/>
                <a:gd name="connsiteY579" fmla="*/ 1188531 h 1849426"/>
                <a:gd name="connsiteX580" fmla="*/ 4361905 w 6386648"/>
                <a:gd name="connsiteY580" fmla="*/ 1188531 h 1849426"/>
                <a:gd name="connsiteX581" fmla="*/ 4379930 w 6386648"/>
                <a:gd name="connsiteY581" fmla="*/ 1206556 h 1849426"/>
                <a:gd name="connsiteX582" fmla="*/ 4361905 w 6386648"/>
                <a:gd name="connsiteY582" fmla="*/ 1224580 h 1849426"/>
                <a:gd name="connsiteX583" fmla="*/ 4343881 w 6386648"/>
                <a:gd name="connsiteY583" fmla="*/ 1206556 h 1849426"/>
                <a:gd name="connsiteX584" fmla="*/ 4361905 w 6386648"/>
                <a:gd name="connsiteY584" fmla="*/ 1188531 h 1849426"/>
                <a:gd name="connsiteX585" fmla="*/ 3220360 w 6386648"/>
                <a:gd name="connsiteY585" fmla="*/ 1188531 h 1849426"/>
                <a:gd name="connsiteX586" fmla="*/ 3238385 w 6386648"/>
                <a:gd name="connsiteY586" fmla="*/ 1206556 h 1849426"/>
                <a:gd name="connsiteX587" fmla="*/ 3220360 w 6386648"/>
                <a:gd name="connsiteY587" fmla="*/ 1224580 h 1849426"/>
                <a:gd name="connsiteX588" fmla="*/ 3202336 w 6386648"/>
                <a:gd name="connsiteY588" fmla="*/ 1206556 h 1849426"/>
                <a:gd name="connsiteX589" fmla="*/ 3220360 w 6386648"/>
                <a:gd name="connsiteY589" fmla="*/ 1188531 h 1849426"/>
                <a:gd name="connsiteX590" fmla="*/ 708959 w 6386648"/>
                <a:gd name="connsiteY590" fmla="*/ 1188531 h 1849426"/>
                <a:gd name="connsiteX591" fmla="*/ 726984 w 6386648"/>
                <a:gd name="connsiteY591" fmla="*/ 1206556 h 1849426"/>
                <a:gd name="connsiteX592" fmla="*/ 708959 w 6386648"/>
                <a:gd name="connsiteY592" fmla="*/ 1224580 h 1849426"/>
                <a:gd name="connsiteX593" fmla="*/ 690935 w 6386648"/>
                <a:gd name="connsiteY593" fmla="*/ 1206556 h 1849426"/>
                <a:gd name="connsiteX594" fmla="*/ 708959 w 6386648"/>
                <a:gd name="connsiteY594" fmla="*/ 1188531 h 1849426"/>
                <a:gd name="connsiteX595" fmla="*/ 4824532 w 6386648"/>
                <a:gd name="connsiteY595" fmla="*/ 1182523 h 1849426"/>
                <a:gd name="connsiteX596" fmla="*/ 4842557 w 6386648"/>
                <a:gd name="connsiteY596" fmla="*/ 1200547 h 1849426"/>
                <a:gd name="connsiteX597" fmla="*/ 4824532 w 6386648"/>
                <a:gd name="connsiteY597" fmla="*/ 1218572 h 1849426"/>
                <a:gd name="connsiteX598" fmla="*/ 4806508 w 6386648"/>
                <a:gd name="connsiteY598" fmla="*/ 1200547 h 1849426"/>
                <a:gd name="connsiteX599" fmla="*/ 4824532 w 6386648"/>
                <a:gd name="connsiteY599" fmla="*/ 1182523 h 1849426"/>
                <a:gd name="connsiteX600" fmla="*/ 1279732 w 6386648"/>
                <a:gd name="connsiteY600" fmla="*/ 1170507 h 1849426"/>
                <a:gd name="connsiteX601" fmla="*/ 1297757 w 6386648"/>
                <a:gd name="connsiteY601" fmla="*/ 1188531 h 1849426"/>
                <a:gd name="connsiteX602" fmla="*/ 1279732 w 6386648"/>
                <a:gd name="connsiteY602" fmla="*/ 1206556 h 1849426"/>
                <a:gd name="connsiteX603" fmla="*/ 1261708 w 6386648"/>
                <a:gd name="connsiteY603" fmla="*/ 1188531 h 1849426"/>
                <a:gd name="connsiteX604" fmla="*/ 1279732 w 6386648"/>
                <a:gd name="connsiteY604" fmla="*/ 1170507 h 1849426"/>
                <a:gd name="connsiteX605" fmla="*/ 3478710 w 6386648"/>
                <a:gd name="connsiteY605" fmla="*/ 1164499 h 1849426"/>
                <a:gd name="connsiteX606" fmla="*/ 3496735 w 6386648"/>
                <a:gd name="connsiteY606" fmla="*/ 1182523 h 1849426"/>
                <a:gd name="connsiteX607" fmla="*/ 3478710 w 6386648"/>
                <a:gd name="connsiteY607" fmla="*/ 1200548 h 1849426"/>
                <a:gd name="connsiteX608" fmla="*/ 3460686 w 6386648"/>
                <a:gd name="connsiteY608" fmla="*/ 1182523 h 1849426"/>
                <a:gd name="connsiteX609" fmla="*/ 3478710 w 6386648"/>
                <a:gd name="connsiteY609" fmla="*/ 1164499 h 1849426"/>
                <a:gd name="connsiteX610" fmla="*/ 2703660 w 6386648"/>
                <a:gd name="connsiteY610" fmla="*/ 1164499 h 1849426"/>
                <a:gd name="connsiteX611" fmla="*/ 2721685 w 6386648"/>
                <a:gd name="connsiteY611" fmla="*/ 1182523 h 1849426"/>
                <a:gd name="connsiteX612" fmla="*/ 2703660 w 6386648"/>
                <a:gd name="connsiteY612" fmla="*/ 1200548 h 1849426"/>
                <a:gd name="connsiteX613" fmla="*/ 2685636 w 6386648"/>
                <a:gd name="connsiteY613" fmla="*/ 1182523 h 1849426"/>
                <a:gd name="connsiteX614" fmla="*/ 2703660 w 6386648"/>
                <a:gd name="connsiteY614" fmla="*/ 1164499 h 1849426"/>
                <a:gd name="connsiteX615" fmla="*/ 4500093 w 6386648"/>
                <a:gd name="connsiteY615" fmla="*/ 1158491 h 1849426"/>
                <a:gd name="connsiteX616" fmla="*/ 4518118 w 6386648"/>
                <a:gd name="connsiteY616" fmla="*/ 1176516 h 1849426"/>
                <a:gd name="connsiteX617" fmla="*/ 4500093 w 6386648"/>
                <a:gd name="connsiteY617" fmla="*/ 1194540 h 1849426"/>
                <a:gd name="connsiteX618" fmla="*/ 4482069 w 6386648"/>
                <a:gd name="connsiteY618" fmla="*/ 1176516 h 1849426"/>
                <a:gd name="connsiteX619" fmla="*/ 4500093 w 6386648"/>
                <a:gd name="connsiteY619" fmla="*/ 1158491 h 1849426"/>
                <a:gd name="connsiteX620" fmla="*/ 4199686 w 6386648"/>
                <a:gd name="connsiteY620" fmla="*/ 1158491 h 1849426"/>
                <a:gd name="connsiteX621" fmla="*/ 4217711 w 6386648"/>
                <a:gd name="connsiteY621" fmla="*/ 1176516 h 1849426"/>
                <a:gd name="connsiteX622" fmla="*/ 4199686 w 6386648"/>
                <a:gd name="connsiteY622" fmla="*/ 1194540 h 1849426"/>
                <a:gd name="connsiteX623" fmla="*/ 4181662 w 6386648"/>
                <a:gd name="connsiteY623" fmla="*/ 1176516 h 1849426"/>
                <a:gd name="connsiteX624" fmla="*/ 4199686 w 6386648"/>
                <a:gd name="connsiteY624" fmla="*/ 1158491 h 1849426"/>
                <a:gd name="connsiteX625" fmla="*/ 2132887 w 6386648"/>
                <a:gd name="connsiteY625" fmla="*/ 1158491 h 1849426"/>
                <a:gd name="connsiteX626" fmla="*/ 2150912 w 6386648"/>
                <a:gd name="connsiteY626" fmla="*/ 1176516 h 1849426"/>
                <a:gd name="connsiteX627" fmla="*/ 2132887 w 6386648"/>
                <a:gd name="connsiteY627" fmla="*/ 1194540 h 1849426"/>
                <a:gd name="connsiteX628" fmla="*/ 2114863 w 6386648"/>
                <a:gd name="connsiteY628" fmla="*/ 1176516 h 1849426"/>
                <a:gd name="connsiteX629" fmla="*/ 2132887 w 6386648"/>
                <a:gd name="connsiteY629" fmla="*/ 1158491 h 1849426"/>
                <a:gd name="connsiteX630" fmla="*/ 1850505 w 6386648"/>
                <a:gd name="connsiteY630" fmla="*/ 1158491 h 1849426"/>
                <a:gd name="connsiteX631" fmla="*/ 1868530 w 6386648"/>
                <a:gd name="connsiteY631" fmla="*/ 1176516 h 1849426"/>
                <a:gd name="connsiteX632" fmla="*/ 1850505 w 6386648"/>
                <a:gd name="connsiteY632" fmla="*/ 1194540 h 1849426"/>
                <a:gd name="connsiteX633" fmla="*/ 1832481 w 6386648"/>
                <a:gd name="connsiteY633" fmla="*/ 1176516 h 1849426"/>
                <a:gd name="connsiteX634" fmla="*/ 1850505 w 6386648"/>
                <a:gd name="connsiteY634" fmla="*/ 1158491 h 1849426"/>
                <a:gd name="connsiteX635" fmla="*/ 3340522 w 6386648"/>
                <a:gd name="connsiteY635" fmla="*/ 1152483 h 1849426"/>
                <a:gd name="connsiteX636" fmla="*/ 3358547 w 6386648"/>
                <a:gd name="connsiteY636" fmla="*/ 1170507 h 1849426"/>
                <a:gd name="connsiteX637" fmla="*/ 3340522 w 6386648"/>
                <a:gd name="connsiteY637" fmla="*/ 1188532 h 1849426"/>
                <a:gd name="connsiteX638" fmla="*/ 3322498 w 6386648"/>
                <a:gd name="connsiteY638" fmla="*/ 1170507 h 1849426"/>
                <a:gd name="connsiteX639" fmla="*/ 3340522 w 6386648"/>
                <a:gd name="connsiteY639" fmla="*/ 1152483 h 1849426"/>
                <a:gd name="connsiteX640" fmla="*/ 2829831 w 6386648"/>
                <a:gd name="connsiteY640" fmla="*/ 1152483 h 1849426"/>
                <a:gd name="connsiteX641" fmla="*/ 2847856 w 6386648"/>
                <a:gd name="connsiteY641" fmla="*/ 1170507 h 1849426"/>
                <a:gd name="connsiteX642" fmla="*/ 2829831 w 6386648"/>
                <a:gd name="connsiteY642" fmla="*/ 1188532 h 1849426"/>
                <a:gd name="connsiteX643" fmla="*/ 2811807 w 6386648"/>
                <a:gd name="connsiteY643" fmla="*/ 1170507 h 1849426"/>
                <a:gd name="connsiteX644" fmla="*/ 2829831 w 6386648"/>
                <a:gd name="connsiteY644" fmla="*/ 1152483 h 1849426"/>
                <a:gd name="connsiteX645" fmla="*/ 2253050 w 6386648"/>
                <a:gd name="connsiteY645" fmla="*/ 1152483 h 1849426"/>
                <a:gd name="connsiteX646" fmla="*/ 2271075 w 6386648"/>
                <a:gd name="connsiteY646" fmla="*/ 1170507 h 1849426"/>
                <a:gd name="connsiteX647" fmla="*/ 2253050 w 6386648"/>
                <a:gd name="connsiteY647" fmla="*/ 1188532 h 1849426"/>
                <a:gd name="connsiteX648" fmla="*/ 2235026 w 6386648"/>
                <a:gd name="connsiteY648" fmla="*/ 1170507 h 1849426"/>
                <a:gd name="connsiteX649" fmla="*/ 2253050 w 6386648"/>
                <a:gd name="connsiteY649" fmla="*/ 1152483 h 1849426"/>
                <a:gd name="connsiteX650" fmla="*/ 1994700 w 6386648"/>
                <a:gd name="connsiteY650" fmla="*/ 1146474 h 1849426"/>
                <a:gd name="connsiteX651" fmla="*/ 2012725 w 6386648"/>
                <a:gd name="connsiteY651" fmla="*/ 1164498 h 1849426"/>
                <a:gd name="connsiteX652" fmla="*/ 1994700 w 6386648"/>
                <a:gd name="connsiteY652" fmla="*/ 1182523 h 1849426"/>
                <a:gd name="connsiteX653" fmla="*/ 1976676 w 6386648"/>
                <a:gd name="connsiteY653" fmla="*/ 1164498 h 1849426"/>
                <a:gd name="connsiteX654" fmla="*/ 1994700 w 6386648"/>
                <a:gd name="connsiteY654" fmla="*/ 1146474 h 1849426"/>
                <a:gd name="connsiteX655" fmla="*/ 1718326 w 6386648"/>
                <a:gd name="connsiteY655" fmla="*/ 1146474 h 1849426"/>
                <a:gd name="connsiteX656" fmla="*/ 1736351 w 6386648"/>
                <a:gd name="connsiteY656" fmla="*/ 1164498 h 1849426"/>
                <a:gd name="connsiteX657" fmla="*/ 1718326 w 6386648"/>
                <a:gd name="connsiteY657" fmla="*/ 1182523 h 1849426"/>
                <a:gd name="connsiteX658" fmla="*/ 1700302 w 6386648"/>
                <a:gd name="connsiteY658" fmla="*/ 1164498 h 1849426"/>
                <a:gd name="connsiteX659" fmla="*/ 1718326 w 6386648"/>
                <a:gd name="connsiteY659" fmla="*/ 1146474 h 1849426"/>
                <a:gd name="connsiteX660" fmla="*/ 1129529 w 6386648"/>
                <a:gd name="connsiteY660" fmla="*/ 1146474 h 1849426"/>
                <a:gd name="connsiteX661" fmla="*/ 1147554 w 6386648"/>
                <a:gd name="connsiteY661" fmla="*/ 1164498 h 1849426"/>
                <a:gd name="connsiteX662" fmla="*/ 1129529 w 6386648"/>
                <a:gd name="connsiteY662" fmla="*/ 1182523 h 1849426"/>
                <a:gd name="connsiteX663" fmla="*/ 1111505 w 6386648"/>
                <a:gd name="connsiteY663" fmla="*/ 1164498 h 1849426"/>
                <a:gd name="connsiteX664" fmla="*/ 1129529 w 6386648"/>
                <a:gd name="connsiteY664" fmla="*/ 1146474 h 1849426"/>
                <a:gd name="connsiteX665" fmla="*/ 498674 w 6386648"/>
                <a:gd name="connsiteY665" fmla="*/ 1140466 h 1849426"/>
                <a:gd name="connsiteX666" fmla="*/ 516699 w 6386648"/>
                <a:gd name="connsiteY666" fmla="*/ 1158490 h 1849426"/>
                <a:gd name="connsiteX667" fmla="*/ 498674 w 6386648"/>
                <a:gd name="connsiteY667" fmla="*/ 1176515 h 1849426"/>
                <a:gd name="connsiteX668" fmla="*/ 480650 w 6386648"/>
                <a:gd name="connsiteY668" fmla="*/ 1158490 h 1849426"/>
                <a:gd name="connsiteX669" fmla="*/ 498674 w 6386648"/>
                <a:gd name="connsiteY669" fmla="*/ 1140466 h 1849426"/>
                <a:gd name="connsiteX670" fmla="*/ 3707019 w 6386648"/>
                <a:gd name="connsiteY670" fmla="*/ 1134458 h 1849426"/>
                <a:gd name="connsiteX671" fmla="*/ 3725044 w 6386648"/>
                <a:gd name="connsiteY671" fmla="*/ 1152482 h 1849426"/>
                <a:gd name="connsiteX672" fmla="*/ 3707019 w 6386648"/>
                <a:gd name="connsiteY672" fmla="*/ 1170507 h 1849426"/>
                <a:gd name="connsiteX673" fmla="*/ 3688994 w 6386648"/>
                <a:gd name="connsiteY673" fmla="*/ 1152482 h 1849426"/>
                <a:gd name="connsiteX674" fmla="*/ 3707019 w 6386648"/>
                <a:gd name="connsiteY674" fmla="*/ 1134458 h 1849426"/>
                <a:gd name="connsiteX675" fmla="*/ 799081 w 6386648"/>
                <a:gd name="connsiteY675" fmla="*/ 1134458 h 1849426"/>
                <a:gd name="connsiteX676" fmla="*/ 817106 w 6386648"/>
                <a:gd name="connsiteY676" fmla="*/ 1152482 h 1849426"/>
                <a:gd name="connsiteX677" fmla="*/ 799081 w 6386648"/>
                <a:gd name="connsiteY677" fmla="*/ 1170507 h 1849426"/>
                <a:gd name="connsiteX678" fmla="*/ 781057 w 6386648"/>
                <a:gd name="connsiteY678" fmla="*/ 1152482 h 1849426"/>
                <a:gd name="connsiteX679" fmla="*/ 799081 w 6386648"/>
                <a:gd name="connsiteY679" fmla="*/ 1134458 h 1849426"/>
                <a:gd name="connsiteX680" fmla="*/ 384520 w 6386648"/>
                <a:gd name="connsiteY680" fmla="*/ 1134458 h 1849426"/>
                <a:gd name="connsiteX681" fmla="*/ 402545 w 6386648"/>
                <a:gd name="connsiteY681" fmla="*/ 1152482 h 1849426"/>
                <a:gd name="connsiteX682" fmla="*/ 384520 w 6386648"/>
                <a:gd name="connsiteY682" fmla="*/ 1170507 h 1849426"/>
                <a:gd name="connsiteX683" fmla="*/ 366496 w 6386648"/>
                <a:gd name="connsiteY683" fmla="*/ 1152482 h 1849426"/>
                <a:gd name="connsiteX684" fmla="*/ 384520 w 6386648"/>
                <a:gd name="connsiteY684" fmla="*/ 1134458 h 1849426"/>
                <a:gd name="connsiteX685" fmla="*/ 3935328 w 6386648"/>
                <a:gd name="connsiteY685" fmla="*/ 1128450 h 1849426"/>
                <a:gd name="connsiteX686" fmla="*/ 3953353 w 6386648"/>
                <a:gd name="connsiteY686" fmla="*/ 1146475 h 1849426"/>
                <a:gd name="connsiteX687" fmla="*/ 3935328 w 6386648"/>
                <a:gd name="connsiteY687" fmla="*/ 1164499 h 1849426"/>
                <a:gd name="connsiteX688" fmla="*/ 3917304 w 6386648"/>
                <a:gd name="connsiteY688" fmla="*/ 1146475 h 1849426"/>
                <a:gd name="connsiteX689" fmla="*/ 3935328 w 6386648"/>
                <a:gd name="connsiteY689" fmla="*/ 1128450 h 1849426"/>
                <a:gd name="connsiteX690" fmla="*/ 1514049 w 6386648"/>
                <a:gd name="connsiteY690" fmla="*/ 1128450 h 1849426"/>
                <a:gd name="connsiteX691" fmla="*/ 1532074 w 6386648"/>
                <a:gd name="connsiteY691" fmla="*/ 1146475 h 1849426"/>
                <a:gd name="connsiteX692" fmla="*/ 1514049 w 6386648"/>
                <a:gd name="connsiteY692" fmla="*/ 1164499 h 1849426"/>
                <a:gd name="connsiteX693" fmla="*/ 1496025 w 6386648"/>
                <a:gd name="connsiteY693" fmla="*/ 1146475 h 1849426"/>
                <a:gd name="connsiteX694" fmla="*/ 1514049 w 6386648"/>
                <a:gd name="connsiteY694" fmla="*/ 1128450 h 1849426"/>
                <a:gd name="connsiteX695" fmla="*/ 4650296 w 6386648"/>
                <a:gd name="connsiteY695" fmla="*/ 1122442 h 1849426"/>
                <a:gd name="connsiteX696" fmla="*/ 4668321 w 6386648"/>
                <a:gd name="connsiteY696" fmla="*/ 1140466 h 1849426"/>
                <a:gd name="connsiteX697" fmla="*/ 4650296 w 6386648"/>
                <a:gd name="connsiteY697" fmla="*/ 1158491 h 1849426"/>
                <a:gd name="connsiteX698" fmla="*/ 4632272 w 6386648"/>
                <a:gd name="connsiteY698" fmla="*/ 1140466 h 1849426"/>
                <a:gd name="connsiteX699" fmla="*/ 4650296 w 6386648"/>
                <a:gd name="connsiteY699" fmla="*/ 1122442 h 1849426"/>
                <a:gd name="connsiteX700" fmla="*/ 4073515 w 6386648"/>
                <a:gd name="connsiteY700" fmla="*/ 1122442 h 1849426"/>
                <a:gd name="connsiteX701" fmla="*/ 4091540 w 6386648"/>
                <a:gd name="connsiteY701" fmla="*/ 1140466 h 1849426"/>
                <a:gd name="connsiteX702" fmla="*/ 4073515 w 6386648"/>
                <a:gd name="connsiteY702" fmla="*/ 1158491 h 1849426"/>
                <a:gd name="connsiteX703" fmla="*/ 4055491 w 6386648"/>
                <a:gd name="connsiteY703" fmla="*/ 1140466 h 1849426"/>
                <a:gd name="connsiteX704" fmla="*/ 4073515 w 6386648"/>
                <a:gd name="connsiteY704" fmla="*/ 1122442 h 1849426"/>
                <a:gd name="connsiteX705" fmla="*/ 2475351 w 6386648"/>
                <a:gd name="connsiteY705" fmla="*/ 1122442 h 1849426"/>
                <a:gd name="connsiteX706" fmla="*/ 2493376 w 6386648"/>
                <a:gd name="connsiteY706" fmla="*/ 1140466 h 1849426"/>
                <a:gd name="connsiteX707" fmla="*/ 2475351 w 6386648"/>
                <a:gd name="connsiteY707" fmla="*/ 1158491 h 1849426"/>
                <a:gd name="connsiteX708" fmla="*/ 2457326 w 6386648"/>
                <a:gd name="connsiteY708" fmla="*/ 1140466 h 1849426"/>
                <a:gd name="connsiteX709" fmla="*/ 2475351 w 6386648"/>
                <a:gd name="connsiteY709" fmla="*/ 1122442 h 1849426"/>
                <a:gd name="connsiteX710" fmla="*/ 1393887 w 6386648"/>
                <a:gd name="connsiteY710" fmla="*/ 1122442 h 1849426"/>
                <a:gd name="connsiteX711" fmla="*/ 1411912 w 6386648"/>
                <a:gd name="connsiteY711" fmla="*/ 1140466 h 1849426"/>
                <a:gd name="connsiteX712" fmla="*/ 1393887 w 6386648"/>
                <a:gd name="connsiteY712" fmla="*/ 1158491 h 1849426"/>
                <a:gd name="connsiteX713" fmla="*/ 1375863 w 6386648"/>
                <a:gd name="connsiteY713" fmla="*/ 1140466 h 1849426"/>
                <a:gd name="connsiteX714" fmla="*/ 1393887 w 6386648"/>
                <a:gd name="connsiteY714" fmla="*/ 1122442 h 1849426"/>
                <a:gd name="connsiteX715" fmla="*/ 3058140 w 6386648"/>
                <a:gd name="connsiteY715" fmla="*/ 1116434 h 1849426"/>
                <a:gd name="connsiteX716" fmla="*/ 3076165 w 6386648"/>
                <a:gd name="connsiteY716" fmla="*/ 1134458 h 1849426"/>
                <a:gd name="connsiteX717" fmla="*/ 3058140 w 6386648"/>
                <a:gd name="connsiteY717" fmla="*/ 1152483 h 1849426"/>
                <a:gd name="connsiteX718" fmla="*/ 3040116 w 6386648"/>
                <a:gd name="connsiteY718" fmla="*/ 1134458 h 1849426"/>
                <a:gd name="connsiteX719" fmla="*/ 3058140 w 6386648"/>
                <a:gd name="connsiteY719" fmla="*/ 1116434 h 1849426"/>
                <a:gd name="connsiteX720" fmla="*/ 4800499 w 6386648"/>
                <a:gd name="connsiteY720" fmla="*/ 1092401 h 1849426"/>
                <a:gd name="connsiteX721" fmla="*/ 4818524 w 6386648"/>
                <a:gd name="connsiteY721" fmla="*/ 1110425 h 1849426"/>
                <a:gd name="connsiteX722" fmla="*/ 4800499 w 6386648"/>
                <a:gd name="connsiteY722" fmla="*/ 1128450 h 1849426"/>
                <a:gd name="connsiteX723" fmla="*/ 4782475 w 6386648"/>
                <a:gd name="connsiteY723" fmla="*/ 1110425 h 1849426"/>
                <a:gd name="connsiteX724" fmla="*/ 4800499 w 6386648"/>
                <a:gd name="connsiteY724" fmla="*/ 1092401 h 1849426"/>
                <a:gd name="connsiteX725" fmla="*/ 2349180 w 6386648"/>
                <a:gd name="connsiteY725" fmla="*/ 1092401 h 1849426"/>
                <a:gd name="connsiteX726" fmla="*/ 2367205 w 6386648"/>
                <a:gd name="connsiteY726" fmla="*/ 1110425 h 1849426"/>
                <a:gd name="connsiteX727" fmla="*/ 2349180 w 6386648"/>
                <a:gd name="connsiteY727" fmla="*/ 1128450 h 1849426"/>
                <a:gd name="connsiteX728" fmla="*/ 2331156 w 6386648"/>
                <a:gd name="connsiteY728" fmla="*/ 1110425 h 1849426"/>
                <a:gd name="connsiteX729" fmla="*/ 2349180 w 6386648"/>
                <a:gd name="connsiteY729" fmla="*/ 1092401 h 1849426"/>
                <a:gd name="connsiteX730" fmla="*/ 931260 w 6386648"/>
                <a:gd name="connsiteY730" fmla="*/ 1092401 h 1849426"/>
                <a:gd name="connsiteX731" fmla="*/ 949285 w 6386648"/>
                <a:gd name="connsiteY731" fmla="*/ 1110425 h 1849426"/>
                <a:gd name="connsiteX732" fmla="*/ 931260 w 6386648"/>
                <a:gd name="connsiteY732" fmla="*/ 1128450 h 1849426"/>
                <a:gd name="connsiteX733" fmla="*/ 913236 w 6386648"/>
                <a:gd name="connsiteY733" fmla="*/ 1110425 h 1849426"/>
                <a:gd name="connsiteX734" fmla="*/ 931260 w 6386648"/>
                <a:gd name="connsiteY734" fmla="*/ 1092401 h 1849426"/>
                <a:gd name="connsiteX735" fmla="*/ 4986752 w 6386648"/>
                <a:gd name="connsiteY735" fmla="*/ 1086393 h 1849426"/>
                <a:gd name="connsiteX736" fmla="*/ 5004777 w 6386648"/>
                <a:gd name="connsiteY736" fmla="*/ 1104417 h 1849426"/>
                <a:gd name="connsiteX737" fmla="*/ 4986752 w 6386648"/>
                <a:gd name="connsiteY737" fmla="*/ 1122442 h 1849426"/>
                <a:gd name="connsiteX738" fmla="*/ 4968728 w 6386648"/>
                <a:gd name="connsiteY738" fmla="*/ 1104417 h 1849426"/>
                <a:gd name="connsiteX739" fmla="*/ 4986752 w 6386648"/>
                <a:gd name="connsiteY739" fmla="*/ 1086393 h 1849426"/>
                <a:gd name="connsiteX740" fmla="*/ 3815165 w 6386648"/>
                <a:gd name="connsiteY740" fmla="*/ 1086393 h 1849426"/>
                <a:gd name="connsiteX741" fmla="*/ 3833190 w 6386648"/>
                <a:gd name="connsiteY741" fmla="*/ 1104417 h 1849426"/>
                <a:gd name="connsiteX742" fmla="*/ 3815165 w 6386648"/>
                <a:gd name="connsiteY742" fmla="*/ 1122442 h 1849426"/>
                <a:gd name="connsiteX743" fmla="*/ 3797141 w 6386648"/>
                <a:gd name="connsiteY743" fmla="*/ 1104417 h 1849426"/>
                <a:gd name="connsiteX744" fmla="*/ 3815165 w 6386648"/>
                <a:gd name="connsiteY744" fmla="*/ 1086393 h 1849426"/>
                <a:gd name="connsiteX745" fmla="*/ 3586856 w 6386648"/>
                <a:gd name="connsiteY745" fmla="*/ 1086393 h 1849426"/>
                <a:gd name="connsiteX746" fmla="*/ 3604881 w 6386648"/>
                <a:gd name="connsiteY746" fmla="*/ 1104417 h 1849426"/>
                <a:gd name="connsiteX747" fmla="*/ 3586856 w 6386648"/>
                <a:gd name="connsiteY747" fmla="*/ 1122442 h 1849426"/>
                <a:gd name="connsiteX748" fmla="*/ 3568831 w 6386648"/>
                <a:gd name="connsiteY748" fmla="*/ 1104417 h 1849426"/>
                <a:gd name="connsiteX749" fmla="*/ 3586856 w 6386648"/>
                <a:gd name="connsiteY749" fmla="*/ 1086393 h 1849426"/>
                <a:gd name="connsiteX750" fmla="*/ 3166287 w 6386648"/>
                <a:gd name="connsiteY750" fmla="*/ 1086393 h 1849426"/>
                <a:gd name="connsiteX751" fmla="*/ 3184312 w 6386648"/>
                <a:gd name="connsiteY751" fmla="*/ 1104417 h 1849426"/>
                <a:gd name="connsiteX752" fmla="*/ 3166287 w 6386648"/>
                <a:gd name="connsiteY752" fmla="*/ 1122442 h 1849426"/>
                <a:gd name="connsiteX753" fmla="*/ 3148262 w 6386648"/>
                <a:gd name="connsiteY753" fmla="*/ 1104417 h 1849426"/>
                <a:gd name="connsiteX754" fmla="*/ 3166287 w 6386648"/>
                <a:gd name="connsiteY754" fmla="*/ 1086393 h 1849426"/>
                <a:gd name="connsiteX755" fmla="*/ 2595514 w 6386648"/>
                <a:gd name="connsiteY755" fmla="*/ 1086393 h 1849426"/>
                <a:gd name="connsiteX756" fmla="*/ 2613539 w 6386648"/>
                <a:gd name="connsiteY756" fmla="*/ 1104417 h 1849426"/>
                <a:gd name="connsiteX757" fmla="*/ 2595514 w 6386648"/>
                <a:gd name="connsiteY757" fmla="*/ 1122442 h 1849426"/>
                <a:gd name="connsiteX758" fmla="*/ 2577489 w 6386648"/>
                <a:gd name="connsiteY758" fmla="*/ 1104417 h 1849426"/>
                <a:gd name="connsiteX759" fmla="*/ 2595514 w 6386648"/>
                <a:gd name="connsiteY759" fmla="*/ 1086393 h 1849426"/>
                <a:gd name="connsiteX760" fmla="*/ 1628204 w 6386648"/>
                <a:gd name="connsiteY760" fmla="*/ 1074377 h 1849426"/>
                <a:gd name="connsiteX761" fmla="*/ 1646229 w 6386648"/>
                <a:gd name="connsiteY761" fmla="*/ 1092401 h 1849426"/>
                <a:gd name="connsiteX762" fmla="*/ 1628204 w 6386648"/>
                <a:gd name="connsiteY762" fmla="*/ 1110426 h 1849426"/>
                <a:gd name="connsiteX763" fmla="*/ 1610180 w 6386648"/>
                <a:gd name="connsiteY763" fmla="*/ 1092401 h 1849426"/>
                <a:gd name="connsiteX764" fmla="*/ 1628204 w 6386648"/>
                <a:gd name="connsiteY764" fmla="*/ 1074377 h 1849426"/>
                <a:gd name="connsiteX765" fmla="*/ 642870 w 6386648"/>
                <a:gd name="connsiteY765" fmla="*/ 1074377 h 1849426"/>
                <a:gd name="connsiteX766" fmla="*/ 660895 w 6386648"/>
                <a:gd name="connsiteY766" fmla="*/ 1092401 h 1849426"/>
                <a:gd name="connsiteX767" fmla="*/ 642870 w 6386648"/>
                <a:gd name="connsiteY767" fmla="*/ 1110426 h 1849426"/>
                <a:gd name="connsiteX768" fmla="*/ 624846 w 6386648"/>
                <a:gd name="connsiteY768" fmla="*/ 1092401 h 1849426"/>
                <a:gd name="connsiteX769" fmla="*/ 642870 w 6386648"/>
                <a:gd name="connsiteY769" fmla="*/ 1074377 h 1849426"/>
                <a:gd name="connsiteX770" fmla="*/ 2925961 w 6386648"/>
                <a:gd name="connsiteY770" fmla="*/ 1068369 h 1849426"/>
                <a:gd name="connsiteX771" fmla="*/ 2943986 w 6386648"/>
                <a:gd name="connsiteY771" fmla="*/ 1086394 h 1849426"/>
                <a:gd name="connsiteX772" fmla="*/ 2925961 w 6386648"/>
                <a:gd name="connsiteY772" fmla="*/ 1104418 h 1849426"/>
                <a:gd name="connsiteX773" fmla="*/ 2907936 w 6386648"/>
                <a:gd name="connsiteY773" fmla="*/ 1086394 h 1849426"/>
                <a:gd name="connsiteX774" fmla="*/ 2925961 w 6386648"/>
                <a:gd name="connsiteY774" fmla="*/ 1068369 h 1849426"/>
                <a:gd name="connsiteX775" fmla="*/ 3424636 w 6386648"/>
                <a:gd name="connsiteY775" fmla="*/ 1062360 h 1849426"/>
                <a:gd name="connsiteX776" fmla="*/ 3442661 w 6386648"/>
                <a:gd name="connsiteY776" fmla="*/ 1080384 h 1849426"/>
                <a:gd name="connsiteX777" fmla="*/ 3424636 w 6386648"/>
                <a:gd name="connsiteY777" fmla="*/ 1098409 h 1849426"/>
                <a:gd name="connsiteX778" fmla="*/ 3406612 w 6386648"/>
                <a:gd name="connsiteY778" fmla="*/ 1080384 h 1849426"/>
                <a:gd name="connsiteX779" fmla="*/ 3424636 w 6386648"/>
                <a:gd name="connsiteY779" fmla="*/ 1062360 h 1849426"/>
                <a:gd name="connsiteX780" fmla="*/ 1249691 w 6386648"/>
                <a:gd name="connsiteY780" fmla="*/ 1062360 h 1849426"/>
                <a:gd name="connsiteX781" fmla="*/ 1267716 w 6386648"/>
                <a:gd name="connsiteY781" fmla="*/ 1080384 h 1849426"/>
                <a:gd name="connsiteX782" fmla="*/ 1249691 w 6386648"/>
                <a:gd name="connsiteY782" fmla="*/ 1098409 h 1849426"/>
                <a:gd name="connsiteX783" fmla="*/ 1231667 w 6386648"/>
                <a:gd name="connsiteY783" fmla="*/ 1080384 h 1849426"/>
                <a:gd name="connsiteX784" fmla="*/ 1249691 w 6386648"/>
                <a:gd name="connsiteY784" fmla="*/ 1062360 h 1849426"/>
                <a:gd name="connsiteX785" fmla="*/ 1075456 w 6386648"/>
                <a:gd name="connsiteY785" fmla="*/ 1062360 h 1849426"/>
                <a:gd name="connsiteX786" fmla="*/ 1093480 w 6386648"/>
                <a:gd name="connsiteY786" fmla="*/ 1080384 h 1849426"/>
                <a:gd name="connsiteX787" fmla="*/ 1075456 w 6386648"/>
                <a:gd name="connsiteY787" fmla="*/ 1098409 h 1849426"/>
                <a:gd name="connsiteX788" fmla="*/ 1057431 w 6386648"/>
                <a:gd name="connsiteY788" fmla="*/ 1080384 h 1849426"/>
                <a:gd name="connsiteX789" fmla="*/ 1075456 w 6386648"/>
                <a:gd name="connsiteY789" fmla="*/ 1062360 h 1849426"/>
                <a:gd name="connsiteX790" fmla="*/ 1928611 w 6386648"/>
                <a:gd name="connsiteY790" fmla="*/ 1056352 h 1849426"/>
                <a:gd name="connsiteX791" fmla="*/ 1946636 w 6386648"/>
                <a:gd name="connsiteY791" fmla="*/ 1074376 h 1849426"/>
                <a:gd name="connsiteX792" fmla="*/ 1928611 w 6386648"/>
                <a:gd name="connsiteY792" fmla="*/ 1092401 h 1849426"/>
                <a:gd name="connsiteX793" fmla="*/ 1910587 w 6386648"/>
                <a:gd name="connsiteY793" fmla="*/ 1074376 h 1849426"/>
                <a:gd name="connsiteX794" fmla="*/ 1928611 w 6386648"/>
                <a:gd name="connsiteY794" fmla="*/ 1056352 h 1849426"/>
                <a:gd name="connsiteX795" fmla="*/ 2709668 w 6386648"/>
                <a:gd name="connsiteY795" fmla="*/ 1044336 h 1849426"/>
                <a:gd name="connsiteX796" fmla="*/ 2727693 w 6386648"/>
                <a:gd name="connsiteY796" fmla="*/ 1062360 h 1849426"/>
                <a:gd name="connsiteX797" fmla="*/ 2709668 w 6386648"/>
                <a:gd name="connsiteY797" fmla="*/ 1080385 h 1849426"/>
                <a:gd name="connsiteX798" fmla="*/ 2691644 w 6386648"/>
                <a:gd name="connsiteY798" fmla="*/ 1062360 h 1849426"/>
                <a:gd name="connsiteX799" fmla="*/ 2709668 w 6386648"/>
                <a:gd name="connsiteY799" fmla="*/ 1044336 h 1849426"/>
                <a:gd name="connsiteX800" fmla="*/ 1784415 w 6386648"/>
                <a:gd name="connsiteY800" fmla="*/ 1044336 h 1849426"/>
                <a:gd name="connsiteX801" fmla="*/ 1802440 w 6386648"/>
                <a:gd name="connsiteY801" fmla="*/ 1062360 h 1849426"/>
                <a:gd name="connsiteX802" fmla="*/ 1784415 w 6386648"/>
                <a:gd name="connsiteY802" fmla="*/ 1080385 h 1849426"/>
                <a:gd name="connsiteX803" fmla="*/ 1766391 w 6386648"/>
                <a:gd name="connsiteY803" fmla="*/ 1062360 h 1849426"/>
                <a:gd name="connsiteX804" fmla="*/ 1784415 w 6386648"/>
                <a:gd name="connsiteY804" fmla="*/ 1044336 h 1849426"/>
                <a:gd name="connsiteX805" fmla="*/ 3292457 w 6386648"/>
                <a:gd name="connsiteY805" fmla="*/ 1038328 h 1849426"/>
                <a:gd name="connsiteX806" fmla="*/ 3310482 w 6386648"/>
                <a:gd name="connsiteY806" fmla="*/ 1056353 h 1849426"/>
                <a:gd name="connsiteX807" fmla="*/ 3292457 w 6386648"/>
                <a:gd name="connsiteY807" fmla="*/ 1074377 h 1849426"/>
                <a:gd name="connsiteX808" fmla="*/ 3274433 w 6386648"/>
                <a:gd name="connsiteY808" fmla="*/ 1056353 h 1849426"/>
                <a:gd name="connsiteX809" fmla="*/ 3292457 w 6386648"/>
                <a:gd name="connsiteY809" fmla="*/ 1038328 h 1849426"/>
                <a:gd name="connsiteX810" fmla="*/ 2198977 w 6386648"/>
                <a:gd name="connsiteY810" fmla="*/ 1038328 h 1849426"/>
                <a:gd name="connsiteX811" fmla="*/ 2217002 w 6386648"/>
                <a:gd name="connsiteY811" fmla="*/ 1056353 h 1849426"/>
                <a:gd name="connsiteX812" fmla="*/ 2198977 w 6386648"/>
                <a:gd name="connsiteY812" fmla="*/ 1074377 h 1849426"/>
                <a:gd name="connsiteX813" fmla="*/ 2180953 w 6386648"/>
                <a:gd name="connsiteY813" fmla="*/ 1056353 h 1849426"/>
                <a:gd name="connsiteX814" fmla="*/ 2198977 w 6386648"/>
                <a:gd name="connsiteY814" fmla="*/ 1038328 h 1849426"/>
                <a:gd name="connsiteX815" fmla="*/ 2078814 w 6386648"/>
                <a:gd name="connsiteY815" fmla="*/ 1032320 h 1849426"/>
                <a:gd name="connsiteX816" fmla="*/ 2096839 w 6386648"/>
                <a:gd name="connsiteY816" fmla="*/ 1050344 h 1849426"/>
                <a:gd name="connsiteX817" fmla="*/ 2078814 w 6386648"/>
                <a:gd name="connsiteY817" fmla="*/ 1068369 h 1849426"/>
                <a:gd name="connsiteX818" fmla="*/ 2060790 w 6386648"/>
                <a:gd name="connsiteY818" fmla="*/ 1050344 h 1849426"/>
                <a:gd name="connsiteX819" fmla="*/ 2078814 w 6386648"/>
                <a:gd name="connsiteY819" fmla="*/ 1032320 h 1849426"/>
                <a:gd name="connsiteX820" fmla="*/ 3983393 w 6386648"/>
                <a:gd name="connsiteY820" fmla="*/ 1026312 h 1849426"/>
                <a:gd name="connsiteX821" fmla="*/ 4001418 w 6386648"/>
                <a:gd name="connsiteY821" fmla="*/ 1044336 h 1849426"/>
                <a:gd name="connsiteX822" fmla="*/ 3983393 w 6386648"/>
                <a:gd name="connsiteY822" fmla="*/ 1062361 h 1849426"/>
                <a:gd name="connsiteX823" fmla="*/ 3965369 w 6386648"/>
                <a:gd name="connsiteY823" fmla="*/ 1044336 h 1849426"/>
                <a:gd name="connsiteX824" fmla="*/ 3983393 w 6386648"/>
                <a:gd name="connsiteY824" fmla="*/ 1026312 h 1849426"/>
                <a:gd name="connsiteX825" fmla="*/ 817106 w 6386648"/>
                <a:gd name="connsiteY825" fmla="*/ 1020304 h 1849426"/>
                <a:gd name="connsiteX826" fmla="*/ 829123 w 6386648"/>
                <a:gd name="connsiteY826" fmla="*/ 1032320 h 1849426"/>
                <a:gd name="connsiteX827" fmla="*/ 817106 w 6386648"/>
                <a:gd name="connsiteY827" fmla="*/ 1044336 h 1849426"/>
                <a:gd name="connsiteX828" fmla="*/ 805090 w 6386648"/>
                <a:gd name="connsiteY828" fmla="*/ 1032320 h 1849426"/>
                <a:gd name="connsiteX829" fmla="*/ 817106 w 6386648"/>
                <a:gd name="connsiteY829" fmla="*/ 1020304 h 1849426"/>
                <a:gd name="connsiteX830" fmla="*/ 2817815 w 6386648"/>
                <a:gd name="connsiteY830" fmla="*/ 1014295 h 1849426"/>
                <a:gd name="connsiteX831" fmla="*/ 2835840 w 6386648"/>
                <a:gd name="connsiteY831" fmla="*/ 1032319 h 1849426"/>
                <a:gd name="connsiteX832" fmla="*/ 2817815 w 6386648"/>
                <a:gd name="connsiteY832" fmla="*/ 1050344 h 1849426"/>
                <a:gd name="connsiteX833" fmla="*/ 2799791 w 6386648"/>
                <a:gd name="connsiteY833" fmla="*/ 1032319 h 1849426"/>
                <a:gd name="connsiteX834" fmla="*/ 2817815 w 6386648"/>
                <a:gd name="connsiteY834" fmla="*/ 1014295 h 1849426"/>
                <a:gd name="connsiteX835" fmla="*/ 2445310 w 6386648"/>
                <a:gd name="connsiteY835" fmla="*/ 1014295 h 1849426"/>
                <a:gd name="connsiteX836" fmla="*/ 2463335 w 6386648"/>
                <a:gd name="connsiteY836" fmla="*/ 1032319 h 1849426"/>
                <a:gd name="connsiteX837" fmla="*/ 2445310 w 6386648"/>
                <a:gd name="connsiteY837" fmla="*/ 1050344 h 1849426"/>
                <a:gd name="connsiteX838" fmla="*/ 2427285 w 6386648"/>
                <a:gd name="connsiteY838" fmla="*/ 1032319 h 1849426"/>
                <a:gd name="connsiteX839" fmla="*/ 2445310 w 6386648"/>
                <a:gd name="connsiteY839" fmla="*/ 1014295 h 1849426"/>
                <a:gd name="connsiteX840" fmla="*/ 420569 w 6386648"/>
                <a:gd name="connsiteY840" fmla="*/ 1014295 h 1849426"/>
                <a:gd name="connsiteX841" fmla="*/ 438594 w 6386648"/>
                <a:gd name="connsiteY841" fmla="*/ 1032319 h 1849426"/>
                <a:gd name="connsiteX842" fmla="*/ 420569 w 6386648"/>
                <a:gd name="connsiteY842" fmla="*/ 1050344 h 1849426"/>
                <a:gd name="connsiteX843" fmla="*/ 402545 w 6386648"/>
                <a:gd name="connsiteY843" fmla="*/ 1032319 h 1849426"/>
                <a:gd name="connsiteX844" fmla="*/ 420569 w 6386648"/>
                <a:gd name="connsiteY844" fmla="*/ 1014295 h 1849426"/>
                <a:gd name="connsiteX845" fmla="*/ 1520057 w 6386648"/>
                <a:gd name="connsiteY845" fmla="*/ 1008287 h 1849426"/>
                <a:gd name="connsiteX846" fmla="*/ 1538082 w 6386648"/>
                <a:gd name="connsiteY846" fmla="*/ 1026312 h 1849426"/>
                <a:gd name="connsiteX847" fmla="*/ 1520057 w 6386648"/>
                <a:gd name="connsiteY847" fmla="*/ 1044336 h 1849426"/>
                <a:gd name="connsiteX848" fmla="*/ 1502033 w 6386648"/>
                <a:gd name="connsiteY848" fmla="*/ 1026312 h 1849426"/>
                <a:gd name="connsiteX849" fmla="*/ 1520057 w 6386648"/>
                <a:gd name="connsiteY849" fmla="*/ 1008287 h 1849426"/>
                <a:gd name="connsiteX850" fmla="*/ 1387878 w 6386648"/>
                <a:gd name="connsiteY850" fmla="*/ 1008287 h 1849426"/>
                <a:gd name="connsiteX851" fmla="*/ 1405903 w 6386648"/>
                <a:gd name="connsiteY851" fmla="*/ 1026312 h 1849426"/>
                <a:gd name="connsiteX852" fmla="*/ 1387878 w 6386648"/>
                <a:gd name="connsiteY852" fmla="*/ 1044336 h 1849426"/>
                <a:gd name="connsiteX853" fmla="*/ 1369854 w 6386648"/>
                <a:gd name="connsiteY853" fmla="*/ 1026312 h 1849426"/>
                <a:gd name="connsiteX854" fmla="*/ 1387878 w 6386648"/>
                <a:gd name="connsiteY854" fmla="*/ 1008287 h 1849426"/>
                <a:gd name="connsiteX855" fmla="*/ 534724 w 6386648"/>
                <a:gd name="connsiteY855" fmla="*/ 1008287 h 1849426"/>
                <a:gd name="connsiteX856" fmla="*/ 552748 w 6386648"/>
                <a:gd name="connsiteY856" fmla="*/ 1026312 h 1849426"/>
                <a:gd name="connsiteX857" fmla="*/ 534724 w 6386648"/>
                <a:gd name="connsiteY857" fmla="*/ 1044336 h 1849426"/>
                <a:gd name="connsiteX858" fmla="*/ 516699 w 6386648"/>
                <a:gd name="connsiteY858" fmla="*/ 1026312 h 1849426"/>
                <a:gd name="connsiteX859" fmla="*/ 534724 w 6386648"/>
                <a:gd name="connsiteY859" fmla="*/ 1008287 h 1849426"/>
                <a:gd name="connsiteX860" fmla="*/ 3016083 w 6386648"/>
                <a:gd name="connsiteY860" fmla="*/ 1002279 h 1849426"/>
                <a:gd name="connsiteX861" fmla="*/ 3034108 w 6386648"/>
                <a:gd name="connsiteY861" fmla="*/ 1020303 h 1849426"/>
                <a:gd name="connsiteX862" fmla="*/ 3016083 w 6386648"/>
                <a:gd name="connsiteY862" fmla="*/ 1038328 h 1849426"/>
                <a:gd name="connsiteX863" fmla="*/ 2998058 w 6386648"/>
                <a:gd name="connsiteY863" fmla="*/ 1020303 h 1849426"/>
                <a:gd name="connsiteX864" fmla="*/ 3016083 w 6386648"/>
                <a:gd name="connsiteY864" fmla="*/ 1002279 h 1849426"/>
                <a:gd name="connsiteX865" fmla="*/ 294398 w 6386648"/>
                <a:gd name="connsiteY865" fmla="*/ 996271 h 1849426"/>
                <a:gd name="connsiteX866" fmla="*/ 312423 w 6386648"/>
                <a:gd name="connsiteY866" fmla="*/ 1014295 h 1849426"/>
                <a:gd name="connsiteX867" fmla="*/ 294398 w 6386648"/>
                <a:gd name="connsiteY867" fmla="*/ 1032320 h 1849426"/>
                <a:gd name="connsiteX868" fmla="*/ 276374 w 6386648"/>
                <a:gd name="connsiteY868" fmla="*/ 1014295 h 1849426"/>
                <a:gd name="connsiteX869" fmla="*/ 294398 w 6386648"/>
                <a:gd name="connsiteY869" fmla="*/ 996271 h 1849426"/>
                <a:gd name="connsiteX870" fmla="*/ 3676978 w 6386648"/>
                <a:gd name="connsiteY870" fmla="*/ 990263 h 1849426"/>
                <a:gd name="connsiteX871" fmla="*/ 3695003 w 6386648"/>
                <a:gd name="connsiteY871" fmla="*/ 1008287 h 1849426"/>
                <a:gd name="connsiteX872" fmla="*/ 3676978 w 6386648"/>
                <a:gd name="connsiteY872" fmla="*/ 1026312 h 1849426"/>
                <a:gd name="connsiteX873" fmla="*/ 3658953 w 6386648"/>
                <a:gd name="connsiteY873" fmla="*/ 1008287 h 1849426"/>
                <a:gd name="connsiteX874" fmla="*/ 3676978 w 6386648"/>
                <a:gd name="connsiteY874" fmla="*/ 990263 h 1849426"/>
                <a:gd name="connsiteX875" fmla="*/ 3544799 w 6386648"/>
                <a:gd name="connsiteY875" fmla="*/ 984255 h 1849426"/>
                <a:gd name="connsiteX876" fmla="*/ 3562824 w 6386648"/>
                <a:gd name="connsiteY876" fmla="*/ 1002279 h 1849426"/>
                <a:gd name="connsiteX877" fmla="*/ 3544799 w 6386648"/>
                <a:gd name="connsiteY877" fmla="*/ 1020304 h 1849426"/>
                <a:gd name="connsiteX878" fmla="*/ 3526775 w 6386648"/>
                <a:gd name="connsiteY878" fmla="*/ 1002279 h 1849426"/>
                <a:gd name="connsiteX879" fmla="*/ 3544799 w 6386648"/>
                <a:gd name="connsiteY879" fmla="*/ 984255 h 1849426"/>
                <a:gd name="connsiteX880" fmla="*/ 708959 w 6386648"/>
                <a:gd name="connsiteY880" fmla="*/ 984255 h 1849426"/>
                <a:gd name="connsiteX881" fmla="*/ 726984 w 6386648"/>
                <a:gd name="connsiteY881" fmla="*/ 1002279 h 1849426"/>
                <a:gd name="connsiteX882" fmla="*/ 708959 w 6386648"/>
                <a:gd name="connsiteY882" fmla="*/ 1020304 h 1849426"/>
                <a:gd name="connsiteX883" fmla="*/ 690935 w 6386648"/>
                <a:gd name="connsiteY883" fmla="*/ 1002279 h 1849426"/>
                <a:gd name="connsiteX884" fmla="*/ 708959 w 6386648"/>
                <a:gd name="connsiteY884" fmla="*/ 984255 h 1849426"/>
                <a:gd name="connsiteX885" fmla="*/ 3803149 w 6386648"/>
                <a:gd name="connsiteY885" fmla="*/ 978247 h 1849426"/>
                <a:gd name="connsiteX886" fmla="*/ 3821174 w 6386648"/>
                <a:gd name="connsiteY886" fmla="*/ 996272 h 1849426"/>
                <a:gd name="connsiteX887" fmla="*/ 3803149 w 6386648"/>
                <a:gd name="connsiteY887" fmla="*/ 1014296 h 1849426"/>
                <a:gd name="connsiteX888" fmla="*/ 3785125 w 6386648"/>
                <a:gd name="connsiteY888" fmla="*/ 996272 h 1849426"/>
                <a:gd name="connsiteX889" fmla="*/ 3803149 w 6386648"/>
                <a:gd name="connsiteY889" fmla="*/ 978247 h 1849426"/>
                <a:gd name="connsiteX890" fmla="*/ 1003358 w 6386648"/>
                <a:gd name="connsiteY890" fmla="*/ 978247 h 1849426"/>
                <a:gd name="connsiteX891" fmla="*/ 1021383 w 6386648"/>
                <a:gd name="connsiteY891" fmla="*/ 996272 h 1849426"/>
                <a:gd name="connsiteX892" fmla="*/ 1003358 w 6386648"/>
                <a:gd name="connsiteY892" fmla="*/ 1014296 h 1849426"/>
                <a:gd name="connsiteX893" fmla="*/ 985334 w 6386648"/>
                <a:gd name="connsiteY893" fmla="*/ 996272 h 1849426"/>
                <a:gd name="connsiteX894" fmla="*/ 1003358 w 6386648"/>
                <a:gd name="connsiteY894" fmla="*/ 978247 h 1849426"/>
                <a:gd name="connsiteX895" fmla="*/ 3196327 w 6386648"/>
                <a:gd name="connsiteY895" fmla="*/ 972238 h 1849426"/>
                <a:gd name="connsiteX896" fmla="*/ 3214352 w 6386648"/>
                <a:gd name="connsiteY896" fmla="*/ 990262 h 1849426"/>
                <a:gd name="connsiteX897" fmla="*/ 3196327 w 6386648"/>
                <a:gd name="connsiteY897" fmla="*/ 1008287 h 1849426"/>
                <a:gd name="connsiteX898" fmla="*/ 3178302 w 6386648"/>
                <a:gd name="connsiteY898" fmla="*/ 990262 h 1849426"/>
                <a:gd name="connsiteX899" fmla="*/ 3196327 w 6386648"/>
                <a:gd name="connsiteY899" fmla="*/ 972238 h 1849426"/>
                <a:gd name="connsiteX900" fmla="*/ 1183602 w 6386648"/>
                <a:gd name="connsiteY900" fmla="*/ 972238 h 1849426"/>
                <a:gd name="connsiteX901" fmla="*/ 1201627 w 6386648"/>
                <a:gd name="connsiteY901" fmla="*/ 990262 h 1849426"/>
                <a:gd name="connsiteX902" fmla="*/ 1183602 w 6386648"/>
                <a:gd name="connsiteY902" fmla="*/ 1008287 h 1849426"/>
                <a:gd name="connsiteX903" fmla="*/ 1165578 w 6386648"/>
                <a:gd name="connsiteY903" fmla="*/ 990262 h 1849426"/>
                <a:gd name="connsiteX904" fmla="*/ 1183602 w 6386648"/>
                <a:gd name="connsiteY904" fmla="*/ 972238 h 1849426"/>
                <a:gd name="connsiteX905" fmla="*/ 2271074 w 6386648"/>
                <a:gd name="connsiteY905" fmla="*/ 960222 h 1849426"/>
                <a:gd name="connsiteX906" fmla="*/ 2289099 w 6386648"/>
                <a:gd name="connsiteY906" fmla="*/ 978246 h 1849426"/>
                <a:gd name="connsiteX907" fmla="*/ 2271074 w 6386648"/>
                <a:gd name="connsiteY907" fmla="*/ 996271 h 1849426"/>
                <a:gd name="connsiteX908" fmla="*/ 2253050 w 6386648"/>
                <a:gd name="connsiteY908" fmla="*/ 978246 h 1849426"/>
                <a:gd name="connsiteX909" fmla="*/ 2271074 w 6386648"/>
                <a:gd name="connsiteY909" fmla="*/ 960222 h 1849426"/>
                <a:gd name="connsiteX910" fmla="*/ 1658245 w 6386648"/>
                <a:gd name="connsiteY910" fmla="*/ 960222 h 1849426"/>
                <a:gd name="connsiteX911" fmla="*/ 1676270 w 6386648"/>
                <a:gd name="connsiteY911" fmla="*/ 978246 h 1849426"/>
                <a:gd name="connsiteX912" fmla="*/ 1658245 w 6386648"/>
                <a:gd name="connsiteY912" fmla="*/ 996271 h 1849426"/>
                <a:gd name="connsiteX913" fmla="*/ 1640221 w 6386648"/>
                <a:gd name="connsiteY913" fmla="*/ 978246 h 1849426"/>
                <a:gd name="connsiteX914" fmla="*/ 1658245 w 6386648"/>
                <a:gd name="connsiteY914" fmla="*/ 960222 h 1849426"/>
                <a:gd name="connsiteX915" fmla="*/ 1958651 w 6386648"/>
                <a:gd name="connsiteY915" fmla="*/ 954214 h 1849426"/>
                <a:gd name="connsiteX916" fmla="*/ 1976676 w 6386648"/>
                <a:gd name="connsiteY916" fmla="*/ 972238 h 1849426"/>
                <a:gd name="connsiteX917" fmla="*/ 1958651 w 6386648"/>
                <a:gd name="connsiteY917" fmla="*/ 990263 h 1849426"/>
                <a:gd name="connsiteX918" fmla="*/ 1940627 w 6386648"/>
                <a:gd name="connsiteY918" fmla="*/ 972238 h 1849426"/>
                <a:gd name="connsiteX919" fmla="*/ 1958651 w 6386648"/>
                <a:gd name="connsiteY919" fmla="*/ 954214 h 1849426"/>
                <a:gd name="connsiteX920" fmla="*/ 2631562 w 6386648"/>
                <a:gd name="connsiteY920" fmla="*/ 948206 h 1849426"/>
                <a:gd name="connsiteX921" fmla="*/ 2649587 w 6386648"/>
                <a:gd name="connsiteY921" fmla="*/ 966231 h 1849426"/>
                <a:gd name="connsiteX922" fmla="*/ 2631562 w 6386648"/>
                <a:gd name="connsiteY922" fmla="*/ 984255 h 1849426"/>
                <a:gd name="connsiteX923" fmla="*/ 2613538 w 6386648"/>
                <a:gd name="connsiteY923" fmla="*/ 966231 h 1849426"/>
                <a:gd name="connsiteX924" fmla="*/ 2631562 w 6386648"/>
                <a:gd name="connsiteY924" fmla="*/ 948206 h 1849426"/>
                <a:gd name="connsiteX925" fmla="*/ 1838489 w 6386648"/>
                <a:gd name="connsiteY925" fmla="*/ 948206 h 1849426"/>
                <a:gd name="connsiteX926" fmla="*/ 1856514 w 6386648"/>
                <a:gd name="connsiteY926" fmla="*/ 966231 h 1849426"/>
                <a:gd name="connsiteX927" fmla="*/ 1838489 w 6386648"/>
                <a:gd name="connsiteY927" fmla="*/ 984255 h 1849426"/>
                <a:gd name="connsiteX928" fmla="*/ 1820465 w 6386648"/>
                <a:gd name="connsiteY928" fmla="*/ 966231 h 1849426"/>
                <a:gd name="connsiteX929" fmla="*/ 1838489 w 6386648"/>
                <a:gd name="connsiteY929" fmla="*/ 948206 h 1849426"/>
                <a:gd name="connsiteX930" fmla="*/ 3430644 w 6386648"/>
                <a:gd name="connsiteY930" fmla="*/ 942198 h 1849426"/>
                <a:gd name="connsiteX931" fmla="*/ 3448669 w 6386648"/>
                <a:gd name="connsiteY931" fmla="*/ 960222 h 1849426"/>
                <a:gd name="connsiteX932" fmla="*/ 3430644 w 6386648"/>
                <a:gd name="connsiteY932" fmla="*/ 978247 h 1849426"/>
                <a:gd name="connsiteX933" fmla="*/ 3412620 w 6386648"/>
                <a:gd name="connsiteY933" fmla="*/ 960222 h 1849426"/>
                <a:gd name="connsiteX934" fmla="*/ 3430644 w 6386648"/>
                <a:gd name="connsiteY934" fmla="*/ 942198 h 1849426"/>
                <a:gd name="connsiteX935" fmla="*/ 2529424 w 6386648"/>
                <a:gd name="connsiteY935" fmla="*/ 942198 h 1849426"/>
                <a:gd name="connsiteX936" fmla="*/ 2547449 w 6386648"/>
                <a:gd name="connsiteY936" fmla="*/ 960222 h 1849426"/>
                <a:gd name="connsiteX937" fmla="*/ 2529424 w 6386648"/>
                <a:gd name="connsiteY937" fmla="*/ 978247 h 1849426"/>
                <a:gd name="connsiteX938" fmla="*/ 2511400 w 6386648"/>
                <a:gd name="connsiteY938" fmla="*/ 960222 h 1849426"/>
                <a:gd name="connsiteX939" fmla="*/ 2529424 w 6386648"/>
                <a:gd name="connsiteY939" fmla="*/ 942198 h 1849426"/>
                <a:gd name="connsiteX940" fmla="*/ 889203 w 6386648"/>
                <a:gd name="connsiteY940" fmla="*/ 942198 h 1849426"/>
                <a:gd name="connsiteX941" fmla="*/ 907228 w 6386648"/>
                <a:gd name="connsiteY941" fmla="*/ 960222 h 1849426"/>
                <a:gd name="connsiteX942" fmla="*/ 889203 w 6386648"/>
                <a:gd name="connsiteY942" fmla="*/ 978247 h 1849426"/>
                <a:gd name="connsiteX943" fmla="*/ 871179 w 6386648"/>
                <a:gd name="connsiteY943" fmla="*/ 960222 h 1849426"/>
                <a:gd name="connsiteX944" fmla="*/ 889203 w 6386648"/>
                <a:gd name="connsiteY944" fmla="*/ 942198 h 1849426"/>
                <a:gd name="connsiteX945" fmla="*/ 3935328 w 6386648"/>
                <a:gd name="connsiteY945" fmla="*/ 936190 h 1849426"/>
                <a:gd name="connsiteX946" fmla="*/ 3953353 w 6386648"/>
                <a:gd name="connsiteY946" fmla="*/ 954214 h 1849426"/>
                <a:gd name="connsiteX947" fmla="*/ 3935328 w 6386648"/>
                <a:gd name="connsiteY947" fmla="*/ 972239 h 1849426"/>
                <a:gd name="connsiteX948" fmla="*/ 3917304 w 6386648"/>
                <a:gd name="connsiteY948" fmla="*/ 954214 h 1849426"/>
                <a:gd name="connsiteX949" fmla="*/ 3935328 w 6386648"/>
                <a:gd name="connsiteY949" fmla="*/ 936190 h 1849426"/>
                <a:gd name="connsiteX950" fmla="*/ 1303765 w 6386648"/>
                <a:gd name="connsiteY950" fmla="*/ 936190 h 1849426"/>
                <a:gd name="connsiteX951" fmla="*/ 1321790 w 6386648"/>
                <a:gd name="connsiteY951" fmla="*/ 954214 h 1849426"/>
                <a:gd name="connsiteX952" fmla="*/ 1303765 w 6386648"/>
                <a:gd name="connsiteY952" fmla="*/ 972239 h 1849426"/>
                <a:gd name="connsiteX953" fmla="*/ 1285741 w 6386648"/>
                <a:gd name="connsiteY953" fmla="*/ 954214 h 1849426"/>
                <a:gd name="connsiteX954" fmla="*/ 1303765 w 6386648"/>
                <a:gd name="connsiteY954" fmla="*/ 936190 h 1849426"/>
                <a:gd name="connsiteX955" fmla="*/ 600813 w 6386648"/>
                <a:gd name="connsiteY955" fmla="*/ 924173 h 1849426"/>
                <a:gd name="connsiteX956" fmla="*/ 618838 w 6386648"/>
                <a:gd name="connsiteY956" fmla="*/ 942197 h 1849426"/>
                <a:gd name="connsiteX957" fmla="*/ 600813 w 6386648"/>
                <a:gd name="connsiteY957" fmla="*/ 960222 h 1849426"/>
                <a:gd name="connsiteX958" fmla="*/ 582789 w 6386648"/>
                <a:gd name="connsiteY958" fmla="*/ 942197 h 1849426"/>
                <a:gd name="connsiteX959" fmla="*/ 600813 w 6386648"/>
                <a:gd name="connsiteY959" fmla="*/ 924173 h 1849426"/>
                <a:gd name="connsiteX960" fmla="*/ 3088181 w 6386648"/>
                <a:gd name="connsiteY960" fmla="*/ 918165 h 1849426"/>
                <a:gd name="connsiteX961" fmla="*/ 3106206 w 6386648"/>
                <a:gd name="connsiteY961" fmla="*/ 936190 h 1849426"/>
                <a:gd name="connsiteX962" fmla="*/ 3088181 w 6386648"/>
                <a:gd name="connsiteY962" fmla="*/ 954214 h 1849426"/>
                <a:gd name="connsiteX963" fmla="*/ 3070157 w 6386648"/>
                <a:gd name="connsiteY963" fmla="*/ 936190 h 1849426"/>
                <a:gd name="connsiteX964" fmla="*/ 3088181 w 6386648"/>
                <a:gd name="connsiteY964" fmla="*/ 918165 h 1849426"/>
                <a:gd name="connsiteX965" fmla="*/ 2883904 w 6386648"/>
                <a:gd name="connsiteY965" fmla="*/ 918165 h 1849426"/>
                <a:gd name="connsiteX966" fmla="*/ 2901929 w 6386648"/>
                <a:gd name="connsiteY966" fmla="*/ 936190 h 1849426"/>
                <a:gd name="connsiteX967" fmla="*/ 2883904 w 6386648"/>
                <a:gd name="connsiteY967" fmla="*/ 954214 h 1849426"/>
                <a:gd name="connsiteX968" fmla="*/ 2865880 w 6386648"/>
                <a:gd name="connsiteY968" fmla="*/ 936190 h 1849426"/>
                <a:gd name="connsiteX969" fmla="*/ 2883904 w 6386648"/>
                <a:gd name="connsiteY969" fmla="*/ 918165 h 1849426"/>
                <a:gd name="connsiteX970" fmla="*/ 2379221 w 6386648"/>
                <a:gd name="connsiteY970" fmla="*/ 918165 h 1849426"/>
                <a:gd name="connsiteX971" fmla="*/ 2397246 w 6386648"/>
                <a:gd name="connsiteY971" fmla="*/ 936190 h 1849426"/>
                <a:gd name="connsiteX972" fmla="*/ 2379221 w 6386648"/>
                <a:gd name="connsiteY972" fmla="*/ 954214 h 1849426"/>
                <a:gd name="connsiteX973" fmla="*/ 2361197 w 6386648"/>
                <a:gd name="connsiteY973" fmla="*/ 936190 h 1849426"/>
                <a:gd name="connsiteX974" fmla="*/ 2379221 w 6386648"/>
                <a:gd name="connsiteY974" fmla="*/ 918165 h 1849426"/>
                <a:gd name="connsiteX975" fmla="*/ 2120871 w 6386648"/>
                <a:gd name="connsiteY975" fmla="*/ 918165 h 1849426"/>
                <a:gd name="connsiteX976" fmla="*/ 2138896 w 6386648"/>
                <a:gd name="connsiteY976" fmla="*/ 936190 h 1849426"/>
                <a:gd name="connsiteX977" fmla="*/ 2120871 w 6386648"/>
                <a:gd name="connsiteY977" fmla="*/ 954214 h 1849426"/>
                <a:gd name="connsiteX978" fmla="*/ 2102847 w 6386648"/>
                <a:gd name="connsiteY978" fmla="*/ 936190 h 1849426"/>
                <a:gd name="connsiteX979" fmla="*/ 2120871 w 6386648"/>
                <a:gd name="connsiteY979" fmla="*/ 918165 h 1849426"/>
                <a:gd name="connsiteX980" fmla="*/ 3328506 w 6386648"/>
                <a:gd name="connsiteY980" fmla="*/ 906149 h 1849426"/>
                <a:gd name="connsiteX981" fmla="*/ 3346531 w 6386648"/>
                <a:gd name="connsiteY981" fmla="*/ 924173 h 1849426"/>
                <a:gd name="connsiteX982" fmla="*/ 3328506 w 6386648"/>
                <a:gd name="connsiteY982" fmla="*/ 942198 h 1849426"/>
                <a:gd name="connsiteX983" fmla="*/ 3310482 w 6386648"/>
                <a:gd name="connsiteY983" fmla="*/ 924173 h 1849426"/>
                <a:gd name="connsiteX984" fmla="*/ 3328506 w 6386648"/>
                <a:gd name="connsiteY984" fmla="*/ 906149 h 1849426"/>
                <a:gd name="connsiteX985" fmla="*/ 1508041 w 6386648"/>
                <a:gd name="connsiteY985" fmla="*/ 900141 h 1849426"/>
                <a:gd name="connsiteX986" fmla="*/ 1526066 w 6386648"/>
                <a:gd name="connsiteY986" fmla="*/ 918165 h 1849426"/>
                <a:gd name="connsiteX987" fmla="*/ 1508041 w 6386648"/>
                <a:gd name="connsiteY987" fmla="*/ 936190 h 1849426"/>
                <a:gd name="connsiteX988" fmla="*/ 1490017 w 6386648"/>
                <a:gd name="connsiteY988" fmla="*/ 918165 h 1849426"/>
                <a:gd name="connsiteX989" fmla="*/ 1508041 w 6386648"/>
                <a:gd name="connsiteY989" fmla="*/ 900141 h 1849426"/>
                <a:gd name="connsiteX990" fmla="*/ 2739709 w 6386648"/>
                <a:gd name="connsiteY990" fmla="*/ 894133 h 1849426"/>
                <a:gd name="connsiteX991" fmla="*/ 2757734 w 6386648"/>
                <a:gd name="connsiteY991" fmla="*/ 912157 h 1849426"/>
                <a:gd name="connsiteX992" fmla="*/ 2739709 w 6386648"/>
                <a:gd name="connsiteY992" fmla="*/ 930182 h 1849426"/>
                <a:gd name="connsiteX993" fmla="*/ 2721685 w 6386648"/>
                <a:gd name="connsiteY993" fmla="*/ 912157 h 1849426"/>
                <a:gd name="connsiteX994" fmla="*/ 2739709 w 6386648"/>
                <a:gd name="connsiteY994" fmla="*/ 894133 h 1849426"/>
                <a:gd name="connsiteX995" fmla="*/ 360487 w 6386648"/>
                <a:gd name="connsiteY995" fmla="*/ 894133 h 1849426"/>
                <a:gd name="connsiteX996" fmla="*/ 378512 w 6386648"/>
                <a:gd name="connsiteY996" fmla="*/ 912157 h 1849426"/>
                <a:gd name="connsiteX997" fmla="*/ 360487 w 6386648"/>
                <a:gd name="connsiteY997" fmla="*/ 930182 h 1849426"/>
                <a:gd name="connsiteX998" fmla="*/ 342463 w 6386648"/>
                <a:gd name="connsiteY998" fmla="*/ 912157 h 1849426"/>
                <a:gd name="connsiteX999" fmla="*/ 360487 w 6386648"/>
                <a:gd name="connsiteY999" fmla="*/ 894133 h 1849426"/>
                <a:gd name="connsiteX1000" fmla="*/ 1093480 w 6386648"/>
                <a:gd name="connsiteY1000" fmla="*/ 888125 h 1849426"/>
                <a:gd name="connsiteX1001" fmla="*/ 1111505 w 6386648"/>
                <a:gd name="connsiteY1001" fmla="*/ 906150 h 1849426"/>
                <a:gd name="connsiteX1002" fmla="*/ 1093480 w 6386648"/>
                <a:gd name="connsiteY1002" fmla="*/ 924174 h 1849426"/>
                <a:gd name="connsiteX1003" fmla="*/ 1075456 w 6386648"/>
                <a:gd name="connsiteY1003" fmla="*/ 906150 h 1849426"/>
                <a:gd name="connsiteX1004" fmla="*/ 1093480 w 6386648"/>
                <a:gd name="connsiteY1004" fmla="*/ 888125 h 1849426"/>
                <a:gd name="connsiteX1005" fmla="*/ 3707019 w 6386648"/>
                <a:gd name="connsiteY1005" fmla="*/ 882116 h 1849426"/>
                <a:gd name="connsiteX1006" fmla="*/ 3725044 w 6386648"/>
                <a:gd name="connsiteY1006" fmla="*/ 900140 h 1849426"/>
                <a:gd name="connsiteX1007" fmla="*/ 3707019 w 6386648"/>
                <a:gd name="connsiteY1007" fmla="*/ 918165 h 1849426"/>
                <a:gd name="connsiteX1008" fmla="*/ 3688994 w 6386648"/>
                <a:gd name="connsiteY1008" fmla="*/ 900140 h 1849426"/>
                <a:gd name="connsiteX1009" fmla="*/ 3707019 w 6386648"/>
                <a:gd name="connsiteY1009" fmla="*/ 882116 h 1849426"/>
                <a:gd name="connsiteX1010" fmla="*/ 1742358 w 6386648"/>
                <a:gd name="connsiteY1010" fmla="*/ 882116 h 1849426"/>
                <a:gd name="connsiteX1011" fmla="*/ 1760383 w 6386648"/>
                <a:gd name="connsiteY1011" fmla="*/ 900140 h 1849426"/>
                <a:gd name="connsiteX1012" fmla="*/ 1742358 w 6386648"/>
                <a:gd name="connsiteY1012" fmla="*/ 918165 h 1849426"/>
                <a:gd name="connsiteX1013" fmla="*/ 1724334 w 6386648"/>
                <a:gd name="connsiteY1013" fmla="*/ 900140 h 1849426"/>
                <a:gd name="connsiteX1014" fmla="*/ 1742358 w 6386648"/>
                <a:gd name="connsiteY1014" fmla="*/ 882116 h 1849426"/>
                <a:gd name="connsiteX1015" fmla="*/ 757024 w 6386648"/>
                <a:gd name="connsiteY1015" fmla="*/ 876108 h 1849426"/>
                <a:gd name="connsiteX1016" fmla="*/ 775049 w 6386648"/>
                <a:gd name="connsiteY1016" fmla="*/ 894132 h 1849426"/>
                <a:gd name="connsiteX1017" fmla="*/ 757024 w 6386648"/>
                <a:gd name="connsiteY1017" fmla="*/ 912157 h 1849426"/>
                <a:gd name="connsiteX1018" fmla="*/ 739000 w 6386648"/>
                <a:gd name="connsiteY1018" fmla="*/ 894132 h 1849426"/>
                <a:gd name="connsiteX1019" fmla="*/ 757024 w 6386648"/>
                <a:gd name="connsiteY1019" fmla="*/ 876108 h 1849426"/>
                <a:gd name="connsiteX1020" fmla="*/ 6104265 w 6386648"/>
                <a:gd name="connsiteY1020" fmla="*/ 870100 h 1849426"/>
                <a:gd name="connsiteX1021" fmla="*/ 6122290 w 6386648"/>
                <a:gd name="connsiteY1021" fmla="*/ 888124 h 1849426"/>
                <a:gd name="connsiteX1022" fmla="*/ 6104265 w 6386648"/>
                <a:gd name="connsiteY1022" fmla="*/ 906149 h 1849426"/>
                <a:gd name="connsiteX1023" fmla="*/ 6086241 w 6386648"/>
                <a:gd name="connsiteY1023" fmla="*/ 888124 h 1849426"/>
                <a:gd name="connsiteX1024" fmla="*/ 6104265 w 6386648"/>
                <a:gd name="connsiteY1024" fmla="*/ 870100 h 1849426"/>
                <a:gd name="connsiteX1025" fmla="*/ 474642 w 6386648"/>
                <a:gd name="connsiteY1025" fmla="*/ 870100 h 1849426"/>
                <a:gd name="connsiteX1026" fmla="*/ 492667 w 6386648"/>
                <a:gd name="connsiteY1026" fmla="*/ 888124 h 1849426"/>
                <a:gd name="connsiteX1027" fmla="*/ 474642 w 6386648"/>
                <a:gd name="connsiteY1027" fmla="*/ 906149 h 1849426"/>
                <a:gd name="connsiteX1028" fmla="*/ 456618 w 6386648"/>
                <a:gd name="connsiteY1028" fmla="*/ 888124 h 1849426"/>
                <a:gd name="connsiteX1029" fmla="*/ 474642 w 6386648"/>
                <a:gd name="connsiteY1029" fmla="*/ 870100 h 1849426"/>
                <a:gd name="connsiteX1030" fmla="*/ 3568832 w 6386648"/>
                <a:gd name="connsiteY1030" fmla="*/ 864092 h 1849426"/>
                <a:gd name="connsiteX1031" fmla="*/ 3586857 w 6386648"/>
                <a:gd name="connsiteY1031" fmla="*/ 882116 h 1849426"/>
                <a:gd name="connsiteX1032" fmla="*/ 3568832 w 6386648"/>
                <a:gd name="connsiteY1032" fmla="*/ 900141 h 1849426"/>
                <a:gd name="connsiteX1033" fmla="*/ 3550808 w 6386648"/>
                <a:gd name="connsiteY1033" fmla="*/ 882116 h 1849426"/>
                <a:gd name="connsiteX1034" fmla="*/ 3568832 w 6386648"/>
                <a:gd name="connsiteY1034" fmla="*/ 864092 h 1849426"/>
                <a:gd name="connsiteX1035" fmla="*/ 2980034 w 6386648"/>
                <a:gd name="connsiteY1035" fmla="*/ 864092 h 1849426"/>
                <a:gd name="connsiteX1036" fmla="*/ 2998059 w 6386648"/>
                <a:gd name="connsiteY1036" fmla="*/ 882116 h 1849426"/>
                <a:gd name="connsiteX1037" fmla="*/ 2980034 w 6386648"/>
                <a:gd name="connsiteY1037" fmla="*/ 900141 h 1849426"/>
                <a:gd name="connsiteX1038" fmla="*/ 2962010 w 6386648"/>
                <a:gd name="connsiteY1038" fmla="*/ 882116 h 1849426"/>
                <a:gd name="connsiteX1039" fmla="*/ 2980034 w 6386648"/>
                <a:gd name="connsiteY1039" fmla="*/ 864092 h 1849426"/>
                <a:gd name="connsiteX1040" fmla="*/ 2012725 w 6386648"/>
                <a:gd name="connsiteY1040" fmla="*/ 864092 h 1849426"/>
                <a:gd name="connsiteX1041" fmla="*/ 2030750 w 6386648"/>
                <a:gd name="connsiteY1041" fmla="*/ 882116 h 1849426"/>
                <a:gd name="connsiteX1042" fmla="*/ 2012725 w 6386648"/>
                <a:gd name="connsiteY1042" fmla="*/ 900141 h 1849426"/>
                <a:gd name="connsiteX1043" fmla="*/ 1994701 w 6386648"/>
                <a:gd name="connsiteY1043" fmla="*/ 882116 h 1849426"/>
                <a:gd name="connsiteX1044" fmla="*/ 2012725 w 6386648"/>
                <a:gd name="connsiteY1044" fmla="*/ 864092 h 1849426"/>
                <a:gd name="connsiteX1045" fmla="*/ 3857222 w 6386648"/>
                <a:gd name="connsiteY1045" fmla="*/ 858084 h 1849426"/>
                <a:gd name="connsiteX1046" fmla="*/ 3875247 w 6386648"/>
                <a:gd name="connsiteY1046" fmla="*/ 876109 h 1849426"/>
                <a:gd name="connsiteX1047" fmla="*/ 3857222 w 6386648"/>
                <a:gd name="connsiteY1047" fmla="*/ 894133 h 1849426"/>
                <a:gd name="connsiteX1048" fmla="*/ 3839197 w 6386648"/>
                <a:gd name="connsiteY1048" fmla="*/ 876109 h 1849426"/>
                <a:gd name="connsiteX1049" fmla="*/ 3857222 w 6386648"/>
                <a:gd name="connsiteY1049" fmla="*/ 858084 h 1849426"/>
                <a:gd name="connsiteX1050" fmla="*/ 1387878 w 6386648"/>
                <a:gd name="connsiteY1050" fmla="*/ 858084 h 1849426"/>
                <a:gd name="connsiteX1051" fmla="*/ 1405903 w 6386648"/>
                <a:gd name="connsiteY1051" fmla="*/ 876109 h 1849426"/>
                <a:gd name="connsiteX1052" fmla="*/ 1387878 w 6386648"/>
                <a:gd name="connsiteY1052" fmla="*/ 894133 h 1849426"/>
                <a:gd name="connsiteX1053" fmla="*/ 1369854 w 6386648"/>
                <a:gd name="connsiteY1053" fmla="*/ 876109 h 1849426"/>
                <a:gd name="connsiteX1054" fmla="*/ 1387878 w 6386648"/>
                <a:gd name="connsiteY1054" fmla="*/ 858084 h 1849426"/>
                <a:gd name="connsiteX1055" fmla="*/ 973317 w 6386648"/>
                <a:gd name="connsiteY1055" fmla="*/ 852076 h 1849426"/>
                <a:gd name="connsiteX1056" fmla="*/ 991342 w 6386648"/>
                <a:gd name="connsiteY1056" fmla="*/ 870100 h 1849426"/>
                <a:gd name="connsiteX1057" fmla="*/ 973317 w 6386648"/>
                <a:gd name="connsiteY1057" fmla="*/ 888125 h 1849426"/>
                <a:gd name="connsiteX1058" fmla="*/ 955293 w 6386648"/>
                <a:gd name="connsiteY1058" fmla="*/ 870100 h 1849426"/>
                <a:gd name="connsiteX1059" fmla="*/ 973317 w 6386648"/>
                <a:gd name="connsiteY1059" fmla="*/ 852076 h 1849426"/>
                <a:gd name="connsiteX1060" fmla="*/ 228308 w 6386648"/>
                <a:gd name="connsiteY1060" fmla="*/ 852076 h 1849426"/>
                <a:gd name="connsiteX1061" fmla="*/ 246333 w 6386648"/>
                <a:gd name="connsiteY1061" fmla="*/ 870100 h 1849426"/>
                <a:gd name="connsiteX1062" fmla="*/ 228308 w 6386648"/>
                <a:gd name="connsiteY1062" fmla="*/ 888125 h 1849426"/>
                <a:gd name="connsiteX1063" fmla="*/ 210284 w 6386648"/>
                <a:gd name="connsiteY1063" fmla="*/ 870100 h 1849426"/>
                <a:gd name="connsiteX1064" fmla="*/ 228308 w 6386648"/>
                <a:gd name="connsiteY1064" fmla="*/ 852076 h 1849426"/>
                <a:gd name="connsiteX1065" fmla="*/ 3196327 w 6386648"/>
                <a:gd name="connsiteY1065" fmla="*/ 846068 h 1849426"/>
                <a:gd name="connsiteX1066" fmla="*/ 3214352 w 6386648"/>
                <a:gd name="connsiteY1066" fmla="*/ 864092 h 1849426"/>
                <a:gd name="connsiteX1067" fmla="*/ 3196327 w 6386648"/>
                <a:gd name="connsiteY1067" fmla="*/ 882117 h 1849426"/>
                <a:gd name="connsiteX1068" fmla="*/ 3178302 w 6386648"/>
                <a:gd name="connsiteY1068" fmla="*/ 864092 h 1849426"/>
                <a:gd name="connsiteX1069" fmla="*/ 3196327 w 6386648"/>
                <a:gd name="connsiteY1069" fmla="*/ 846068 h 1849426"/>
                <a:gd name="connsiteX1070" fmla="*/ 6218419 w 6386648"/>
                <a:gd name="connsiteY1070" fmla="*/ 840059 h 1849426"/>
                <a:gd name="connsiteX1071" fmla="*/ 6236444 w 6386648"/>
                <a:gd name="connsiteY1071" fmla="*/ 858083 h 1849426"/>
                <a:gd name="connsiteX1072" fmla="*/ 6218419 w 6386648"/>
                <a:gd name="connsiteY1072" fmla="*/ 876108 h 1849426"/>
                <a:gd name="connsiteX1073" fmla="*/ 6200395 w 6386648"/>
                <a:gd name="connsiteY1073" fmla="*/ 858083 h 1849426"/>
                <a:gd name="connsiteX1074" fmla="*/ 6218419 w 6386648"/>
                <a:gd name="connsiteY1074" fmla="*/ 840059 h 1849426"/>
                <a:gd name="connsiteX1075" fmla="*/ 5978094 w 6386648"/>
                <a:gd name="connsiteY1075" fmla="*/ 834051 h 1849426"/>
                <a:gd name="connsiteX1076" fmla="*/ 5996119 w 6386648"/>
                <a:gd name="connsiteY1076" fmla="*/ 852075 h 1849426"/>
                <a:gd name="connsiteX1077" fmla="*/ 5978094 w 6386648"/>
                <a:gd name="connsiteY1077" fmla="*/ 870100 h 1849426"/>
                <a:gd name="connsiteX1078" fmla="*/ 5960070 w 6386648"/>
                <a:gd name="connsiteY1078" fmla="*/ 852075 h 1849426"/>
                <a:gd name="connsiteX1079" fmla="*/ 5978094 w 6386648"/>
                <a:gd name="connsiteY1079" fmla="*/ 834051 h 1849426"/>
                <a:gd name="connsiteX1080" fmla="*/ 2198977 w 6386648"/>
                <a:gd name="connsiteY1080" fmla="*/ 834051 h 1849426"/>
                <a:gd name="connsiteX1081" fmla="*/ 2217002 w 6386648"/>
                <a:gd name="connsiteY1081" fmla="*/ 852075 h 1849426"/>
                <a:gd name="connsiteX1082" fmla="*/ 2198977 w 6386648"/>
                <a:gd name="connsiteY1082" fmla="*/ 870100 h 1849426"/>
                <a:gd name="connsiteX1083" fmla="*/ 2180953 w 6386648"/>
                <a:gd name="connsiteY1083" fmla="*/ 852075 h 1849426"/>
                <a:gd name="connsiteX1084" fmla="*/ 2198977 w 6386648"/>
                <a:gd name="connsiteY1084" fmla="*/ 834051 h 1849426"/>
                <a:gd name="connsiteX1085" fmla="*/ 1622196 w 6386648"/>
                <a:gd name="connsiteY1085" fmla="*/ 834051 h 1849426"/>
                <a:gd name="connsiteX1086" fmla="*/ 1640221 w 6386648"/>
                <a:gd name="connsiteY1086" fmla="*/ 852075 h 1849426"/>
                <a:gd name="connsiteX1087" fmla="*/ 1622196 w 6386648"/>
                <a:gd name="connsiteY1087" fmla="*/ 870100 h 1849426"/>
                <a:gd name="connsiteX1088" fmla="*/ 1604172 w 6386648"/>
                <a:gd name="connsiteY1088" fmla="*/ 852075 h 1849426"/>
                <a:gd name="connsiteX1089" fmla="*/ 1622196 w 6386648"/>
                <a:gd name="connsiteY1089" fmla="*/ 834051 h 1849426"/>
                <a:gd name="connsiteX1090" fmla="*/ 1201626 w 6386648"/>
                <a:gd name="connsiteY1090" fmla="*/ 834051 h 1849426"/>
                <a:gd name="connsiteX1091" fmla="*/ 1219651 w 6386648"/>
                <a:gd name="connsiteY1091" fmla="*/ 852075 h 1849426"/>
                <a:gd name="connsiteX1092" fmla="*/ 1201626 w 6386648"/>
                <a:gd name="connsiteY1092" fmla="*/ 870100 h 1849426"/>
                <a:gd name="connsiteX1093" fmla="*/ 1183602 w 6386648"/>
                <a:gd name="connsiteY1093" fmla="*/ 852075 h 1849426"/>
                <a:gd name="connsiteX1094" fmla="*/ 1201626 w 6386648"/>
                <a:gd name="connsiteY1094" fmla="*/ 834051 h 1849426"/>
                <a:gd name="connsiteX1095" fmla="*/ 2469343 w 6386648"/>
                <a:gd name="connsiteY1095" fmla="*/ 828043 h 1849426"/>
                <a:gd name="connsiteX1096" fmla="*/ 2487368 w 6386648"/>
                <a:gd name="connsiteY1096" fmla="*/ 846068 h 1849426"/>
                <a:gd name="connsiteX1097" fmla="*/ 2469343 w 6386648"/>
                <a:gd name="connsiteY1097" fmla="*/ 864092 h 1849426"/>
                <a:gd name="connsiteX1098" fmla="*/ 2451319 w 6386648"/>
                <a:gd name="connsiteY1098" fmla="*/ 846068 h 1849426"/>
                <a:gd name="connsiteX1099" fmla="*/ 2469343 w 6386648"/>
                <a:gd name="connsiteY1099" fmla="*/ 828043 h 1849426"/>
                <a:gd name="connsiteX1100" fmla="*/ 3448669 w 6386648"/>
                <a:gd name="connsiteY1100" fmla="*/ 822035 h 1849426"/>
                <a:gd name="connsiteX1101" fmla="*/ 3466694 w 6386648"/>
                <a:gd name="connsiteY1101" fmla="*/ 840059 h 1849426"/>
                <a:gd name="connsiteX1102" fmla="*/ 3448669 w 6386648"/>
                <a:gd name="connsiteY1102" fmla="*/ 858084 h 1849426"/>
                <a:gd name="connsiteX1103" fmla="*/ 3430645 w 6386648"/>
                <a:gd name="connsiteY1103" fmla="*/ 840059 h 1849426"/>
                <a:gd name="connsiteX1104" fmla="*/ 3448669 w 6386648"/>
                <a:gd name="connsiteY1104" fmla="*/ 822035 h 1849426"/>
                <a:gd name="connsiteX1105" fmla="*/ 1874537 w 6386648"/>
                <a:gd name="connsiteY1105" fmla="*/ 822035 h 1849426"/>
                <a:gd name="connsiteX1106" fmla="*/ 1892562 w 6386648"/>
                <a:gd name="connsiteY1106" fmla="*/ 840059 h 1849426"/>
                <a:gd name="connsiteX1107" fmla="*/ 1874537 w 6386648"/>
                <a:gd name="connsiteY1107" fmla="*/ 858084 h 1849426"/>
                <a:gd name="connsiteX1108" fmla="*/ 1856513 w 6386648"/>
                <a:gd name="connsiteY1108" fmla="*/ 840059 h 1849426"/>
                <a:gd name="connsiteX1109" fmla="*/ 1874537 w 6386648"/>
                <a:gd name="connsiteY1109" fmla="*/ 822035 h 1849426"/>
                <a:gd name="connsiteX1110" fmla="*/ 2823823 w 6386648"/>
                <a:gd name="connsiteY1110" fmla="*/ 816027 h 1849426"/>
                <a:gd name="connsiteX1111" fmla="*/ 2841848 w 6386648"/>
                <a:gd name="connsiteY1111" fmla="*/ 834051 h 1849426"/>
                <a:gd name="connsiteX1112" fmla="*/ 2823823 w 6386648"/>
                <a:gd name="connsiteY1112" fmla="*/ 852076 h 1849426"/>
                <a:gd name="connsiteX1113" fmla="*/ 2805799 w 6386648"/>
                <a:gd name="connsiteY1113" fmla="*/ 834051 h 1849426"/>
                <a:gd name="connsiteX1114" fmla="*/ 2823823 w 6386648"/>
                <a:gd name="connsiteY1114" fmla="*/ 816027 h 1849426"/>
                <a:gd name="connsiteX1115" fmla="*/ 2595514 w 6386648"/>
                <a:gd name="connsiteY1115" fmla="*/ 816027 h 1849426"/>
                <a:gd name="connsiteX1116" fmla="*/ 2613539 w 6386648"/>
                <a:gd name="connsiteY1116" fmla="*/ 834051 h 1849426"/>
                <a:gd name="connsiteX1117" fmla="*/ 2595514 w 6386648"/>
                <a:gd name="connsiteY1117" fmla="*/ 852076 h 1849426"/>
                <a:gd name="connsiteX1118" fmla="*/ 2577489 w 6386648"/>
                <a:gd name="connsiteY1118" fmla="*/ 834051 h 1849426"/>
                <a:gd name="connsiteX1119" fmla="*/ 2595514 w 6386648"/>
                <a:gd name="connsiteY1119" fmla="*/ 816027 h 1849426"/>
                <a:gd name="connsiteX1120" fmla="*/ 2307124 w 6386648"/>
                <a:gd name="connsiteY1120" fmla="*/ 816027 h 1849426"/>
                <a:gd name="connsiteX1121" fmla="*/ 2325148 w 6386648"/>
                <a:gd name="connsiteY1121" fmla="*/ 834051 h 1849426"/>
                <a:gd name="connsiteX1122" fmla="*/ 2307124 w 6386648"/>
                <a:gd name="connsiteY1122" fmla="*/ 852076 h 1849426"/>
                <a:gd name="connsiteX1123" fmla="*/ 2289099 w 6386648"/>
                <a:gd name="connsiteY1123" fmla="*/ 834051 h 1849426"/>
                <a:gd name="connsiteX1124" fmla="*/ 2307124 w 6386648"/>
                <a:gd name="connsiteY1124" fmla="*/ 816027 h 1849426"/>
                <a:gd name="connsiteX1125" fmla="*/ 606821 w 6386648"/>
                <a:gd name="connsiteY1125" fmla="*/ 816027 h 1849426"/>
                <a:gd name="connsiteX1126" fmla="*/ 624846 w 6386648"/>
                <a:gd name="connsiteY1126" fmla="*/ 834051 h 1849426"/>
                <a:gd name="connsiteX1127" fmla="*/ 606821 w 6386648"/>
                <a:gd name="connsiteY1127" fmla="*/ 852076 h 1849426"/>
                <a:gd name="connsiteX1128" fmla="*/ 588797 w 6386648"/>
                <a:gd name="connsiteY1128" fmla="*/ 834051 h 1849426"/>
                <a:gd name="connsiteX1129" fmla="*/ 606821 w 6386648"/>
                <a:gd name="connsiteY1129" fmla="*/ 816027 h 1849426"/>
                <a:gd name="connsiteX1130" fmla="*/ 3292457 w 6386648"/>
                <a:gd name="connsiteY1130" fmla="*/ 791994 h 1849426"/>
                <a:gd name="connsiteX1131" fmla="*/ 3310482 w 6386648"/>
                <a:gd name="connsiteY1131" fmla="*/ 810018 h 1849426"/>
                <a:gd name="connsiteX1132" fmla="*/ 3292457 w 6386648"/>
                <a:gd name="connsiteY1132" fmla="*/ 828043 h 1849426"/>
                <a:gd name="connsiteX1133" fmla="*/ 3274433 w 6386648"/>
                <a:gd name="connsiteY1133" fmla="*/ 810018 h 1849426"/>
                <a:gd name="connsiteX1134" fmla="*/ 3292457 w 6386648"/>
                <a:gd name="connsiteY1134" fmla="*/ 791994 h 1849426"/>
                <a:gd name="connsiteX1135" fmla="*/ 859163 w 6386648"/>
                <a:gd name="connsiteY1135" fmla="*/ 791994 h 1849426"/>
                <a:gd name="connsiteX1136" fmla="*/ 877188 w 6386648"/>
                <a:gd name="connsiteY1136" fmla="*/ 810018 h 1849426"/>
                <a:gd name="connsiteX1137" fmla="*/ 859163 w 6386648"/>
                <a:gd name="connsiteY1137" fmla="*/ 828043 h 1849426"/>
                <a:gd name="connsiteX1138" fmla="*/ 841139 w 6386648"/>
                <a:gd name="connsiteY1138" fmla="*/ 810018 h 1849426"/>
                <a:gd name="connsiteX1139" fmla="*/ 859163 w 6386648"/>
                <a:gd name="connsiteY1139" fmla="*/ 791994 h 1849426"/>
                <a:gd name="connsiteX1140" fmla="*/ 1297756 w 6386648"/>
                <a:gd name="connsiteY1140" fmla="*/ 785986 h 1849426"/>
                <a:gd name="connsiteX1141" fmla="*/ 1315781 w 6386648"/>
                <a:gd name="connsiteY1141" fmla="*/ 804010 h 1849426"/>
                <a:gd name="connsiteX1142" fmla="*/ 1297756 w 6386648"/>
                <a:gd name="connsiteY1142" fmla="*/ 822035 h 1849426"/>
                <a:gd name="connsiteX1143" fmla="*/ 1279732 w 6386648"/>
                <a:gd name="connsiteY1143" fmla="*/ 804010 h 1849426"/>
                <a:gd name="connsiteX1144" fmla="*/ 1297756 w 6386648"/>
                <a:gd name="connsiteY1144" fmla="*/ 785986 h 1849426"/>
                <a:gd name="connsiteX1145" fmla="*/ 324438 w 6386648"/>
                <a:gd name="connsiteY1145" fmla="*/ 785986 h 1849426"/>
                <a:gd name="connsiteX1146" fmla="*/ 342463 w 6386648"/>
                <a:gd name="connsiteY1146" fmla="*/ 804010 h 1849426"/>
                <a:gd name="connsiteX1147" fmla="*/ 324438 w 6386648"/>
                <a:gd name="connsiteY1147" fmla="*/ 822035 h 1849426"/>
                <a:gd name="connsiteX1148" fmla="*/ 306414 w 6386648"/>
                <a:gd name="connsiteY1148" fmla="*/ 804010 h 1849426"/>
                <a:gd name="connsiteX1149" fmla="*/ 324438 w 6386648"/>
                <a:gd name="connsiteY1149" fmla="*/ 785986 h 1849426"/>
                <a:gd name="connsiteX1150" fmla="*/ 3755084 w 6386648"/>
                <a:gd name="connsiteY1150" fmla="*/ 779978 h 1849426"/>
                <a:gd name="connsiteX1151" fmla="*/ 3773109 w 6386648"/>
                <a:gd name="connsiteY1151" fmla="*/ 798002 h 1849426"/>
                <a:gd name="connsiteX1152" fmla="*/ 3755084 w 6386648"/>
                <a:gd name="connsiteY1152" fmla="*/ 816027 h 1849426"/>
                <a:gd name="connsiteX1153" fmla="*/ 3737060 w 6386648"/>
                <a:gd name="connsiteY1153" fmla="*/ 798002 h 1849426"/>
                <a:gd name="connsiteX1154" fmla="*/ 3755084 w 6386648"/>
                <a:gd name="connsiteY1154" fmla="*/ 779978 h 1849426"/>
                <a:gd name="connsiteX1155" fmla="*/ 1496026 w 6386648"/>
                <a:gd name="connsiteY1155" fmla="*/ 779978 h 1849426"/>
                <a:gd name="connsiteX1156" fmla="*/ 1514050 w 6386648"/>
                <a:gd name="connsiteY1156" fmla="*/ 798002 h 1849426"/>
                <a:gd name="connsiteX1157" fmla="*/ 1496026 w 6386648"/>
                <a:gd name="connsiteY1157" fmla="*/ 816027 h 1849426"/>
                <a:gd name="connsiteX1158" fmla="*/ 1478001 w 6386648"/>
                <a:gd name="connsiteY1158" fmla="*/ 798002 h 1849426"/>
                <a:gd name="connsiteX1159" fmla="*/ 1496026 w 6386648"/>
                <a:gd name="connsiteY1159" fmla="*/ 779978 h 1849426"/>
                <a:gd name="connsiteX1160" fmla="*/ 3622905 w 6386648"/>
                <a:gd name="connsiteY1160" fmla="*/ 767962 h 1849426"/>
                <a:gd name="connsiteX1161" fmla="*/ 3640930 w 6386648"/>
                <a:gd name="connsiteY1161" fmla="*/ 785987 h 1849426"/>
                <a:gd name="connsiteX1162" fmla="*/ 3622905 w 6386648"/>
                <a:gd name="connsiteY1162" fmla="*/ 804011 h 1849426"/>
                <a:gd name="connsiteX1163" fmla="*/ 3604881 w 6386648"/>
                <a:gd name="connsiteY1163" fmla="*/ 785987 h 1849426"/>
                <a:gd name="connsiteX1164" fmla="*/ 3622905 w 6386648"/>
                <a:gd name="connsiteY1164" fmla="*/ 767962 h 1849426"/>
                <a:gd name="connsiteX1165" fmla="*/ 3112213 w 6386648"/>
                <a:gd name="connsiteY1165" fmla="*/ 767962 h 1849426"/>
                <a:gd name="connsiteX1166" fmla="*/ 3130238 w 6386648"/>
                <a:gd name="connsiteY1166" fmla="*/ 785987 h 1849426"/>
                <a:gd name="connsiteX1167" fmla="*/ 3112213 w 6386648"/>
                <a:gd name="connsiteY1167" fmla="*/ 804011 h 1849426"/>
                <a:gd name="connsiteX1168" fmla="*/ 3094189 w 6386648"/>
                <a:gd name="connsiteY1168" fmla="*/ 785987 h 1849426"/>
                <a:gd name="connsiteX1169" fmla="*/ 3112213 w 6386648"/>
                <a:gd name="connsiteY1169" fmla="*/ 767962 h 1849426"/>
                <a:gd name="connsiteX1170" fmla="*/ 714968 w 6386648"/>
                <a:gd name="connsiteY1170" fmla="*/ 767962 h 1849426"/>
                <a:gd name="connsiteX1171" fmla="*/ 732992 w 6386648"/>
                <a:gd name="connsiteY1171" fmla="*/ 785987 h 1849426"/>
                <a:gd name="connsiteX1172" fmla="*/ 714968 w 6386648"/>
                <a:gd name="connsiteY1172" fmla="*/ 804011 h 1849426"/>
                <a:gd name="connsiteX1173" fmla="*/ 696943 w 6386648"/>
                <a:gd name="connsiteY1173" fmla="*/ 785987 h 1849426"/>
                <a:gd name="connsiteX1174" fmla="*/ 714968 w 6386648"/>
                <a:gd name="connsiteY1174" fmla="*/ 767962 h 1849426"/>
                <a:gd name="connsiteX1175" fmla="*/ 2986042 w 6386648"/>
                <a:gd name="connsiteY1175" fmla="*/ 761954 h 1849426"/>
                <a:gd name="connsiteX1176" fmla="*/ 3004067 w 6386648"/>
                <a:gd name="connsiteY1176" fmla="*/ 779978 h 1849426"/>
                <a:gd name="connsiteX1177" fmla="*/ 2986042 w 6386648"/>
                <a:gd name="connsiteY1177" fmla="*/ 798003 h 1849426"/>
                <a:gd name="connsiteX1178" fmla="*/ 2968017 w 6386648"/>
                <a:gd name="connsiteY1178" fmla="*/ 779978 h 1849426"/>
                <a:gd name="connsiteX1179" fmla="*/ 2986042 w 6386648"/>
                <a:gd name="connsiteY1179" fmla="*/ 761954 h 1849426"/>
                <a:gd name="connsiteX1180" fmla="*/ 1736351 w 6386648"/>
                <a:gd name="connsiteY1180" fmla="*/ 761954 h 1849426"/>
                <a:gd name="connsiteX1181" fmla="*/ 1754375 w 6386648"/>
                <a:gd name="connsiteY1181" fmla="*/ 779978 h 1849426"/>
                <a:gd name="connsiteX1182" fmla="*/ 1736351 w 6386648"/>
                <a:gd name="connsiteY1182" fmla="*/ 798003 h 1849426"/>
                <a:gd name="connsiteX1183" fmla="*/ 1718326 w 6386648"/>
                <a:gd name="connsiteY1183" fmla="*/ 779978 h 1849426"/>
                <a:gd name="connsiteX1184" fmla="*/ 1736351 w 6386648"/>
                <a:gd name="connsiteY1184" fmla="*/ 761954 h 1849426"/>
                <a:gd name="connsiteX1185" fmla="*/ 5863939 w 6386648"/>
                <a:gd name="connsiteY1185" fmla="*/ 755946 h 1849426"/>
                <a:gd name="connsiteX1186" fmla="*/ 5881964 w 6386648"/>
                <a:gd name="connsiteY1186" fmla="*/ 773970 h 1849426"/>
                <a:gd name="connsiteX1187" fmla="*/ 5863939 w 6386648"/>
                <a:gd name="connsiteY1187" fmla="*/ 791995 h 1849426"/>
                <a:gd name="connsiteX1188" fmla="*/ 5845915 w 6386648"/>
                <a:gd name="connsiteY1188" fmla="*/ 773970 h 1849426"/>
                <a:gd name="connsiteX1189" fmla="*/ 5863939 w 6386648"/>
                <a:gd name="connsiteY1189" fmla="*/ 755946 h 1849426"/>
                <a:gd name="connsiteX1190" fmla="*/ 2685636 w 6386648"/>
                <a:gd name="connsiteY1190" fmla="*/ 755946 h 1849426"/>
                <a:gd name="connsiteX1191" fmla="*/ 2703661 w 6386648"/>
                <a:gd name="connsiteY1191" fmla="*/ 773970 h 1849426"/>
                <a:gd name="connsiteX1192" fmla="*/ 2685636 w 6386648"/>
                <a:gd name="connsiteY1192" fmla="*/ 791995 h 1849426"/>
                <a:gd name="connsiteX1193" fmla="*/ 2667611 w 6386648"/>
                <a:gd name="connsiteY1193" fmla="*/ 773970 h 1849426"/>
                <a:gd name="connsiteX1194" fmla="*/ 2685636 w 6386648"/>
                <a:gd name="connsiteY1194" fmla="*/ 755946 h 1849426"/>
                <a:gd name="connsiteX1195" fmla="*/ 1069447 w 6386648"/>
                <a:gd name="connsiteY1195" fmla="*/ 755946 h 1849426"/>
                <a:gd name="connsiteX1196" fmla="*/ 1087472 w 6386648"/>
                <a:gd name="connsiteY1196" fmla="*/ 773970 h 1849426"/>
                <a:gd name="connsiteX1197" fmla="*/ 1069447 w 6386648"/>
                <a:gd name="connsiteY1197" fmla="*/ 791995 h 1849426"/>
                <a:gd name="connsiteX1198" fmla="*/ 1051423 w 6386648"/>
                <a:gd name="connsiteY1198" fmla="*/ 773970 h 1849426"/>
                <a:gd name="connsiteX1199" fmla="*/ 1069447 w 6386648"/>
                <a:gd name="connsiteY1199" fmla="*/ 755946 h 1849426"/>
                <a:gd name="connsiteX1200" fmla="*/ 3935328 w 6386648"/>
                <a:gd name="connsiteY1200" fmla="*/ 749937 h 1849426"/>
                <a:gd name="connsiteX1201" fmla="*/ 3953353 w 6386648"/>
                <a:gd name="connsiteY1201" fmla="*/ 767961 h 1849426"/>
                <a:gd name="connsiteX1202" fmla="*/ 3935328 w 6386648"/>
                <a:gd name="connsiteY1202" fmla="*/ 785986 h 1849426"/>
                <a:gd name="connsiteX1203" fmla="*/ 3917304 w 6386648"/>
                <a:gd name="connsiteY1203" fmla="*/ 767961 h 1849426"/>
                <a:gd name="connsiteX1204" fmla="*/ 3935328 w 6386648"/>
                <a:gd name="connsiteY1204" fmla="*/ 749937 h 1849426"/>
                <a:gd name="connsiteX1205" fmla="*/ 2114863 w 6386648"/>
                <a:gd name="connsiteY1205" fmla="*/ 749937 h 1849426"/>
                <a:gd name="connsiteX1206" fmla="*/ 2132888 w 6386648"/>
                <a:gd name="connsiteY1206" fmla="*/ 767961 h 1849426"/>
                <a:gd name="connsiteX1207" fmla="*/ 2114863 w 6386648"/>
                <a:gd name="connsiteY1207" fmla="*/ 785986 h 1849426"/>
                <a:gd name="connsiteX1208" fmla="*/ 2096839 w 6386648"/>
                <a:gd name="connsiteY1208" fmla="*/ 767961 h 1849426"/>
                <a:gd name="connsiteX1209" fmla="*/ 2114863 w 6386648"/>
                <a:gd name="connsiteY1209" fmla="*/ 749937 h 1849426"/>
                <a:gd name="connsiteX1210" fmla="*/ 2006717 w 6386648"/>
                <a:gd name="connsiteY1210" fmla="*/ 749937 h 1849426"/>
                <a:gd name="connsiteX1211" fmla="*/ 2024741 w 6386648"/>
                <a:gd name="connsiteY1211" fmla="*/ 767961 h 1849426"/>
                <a:gd name="connsiteX1212" fmla="*/ 2006717 w 6386648"/>
                <a:gd name="connsiteY1212" fmla="*/ 785986 h 1849426"/>
                <a:gd name="connsiteX1213" fmla="*/ 1988692 w 6386648"/>
                <a:gd name="connsiteY1213" fmla="*/ 767961 h 1849426"/>
                <a:gd name="connsiteX1214" fmla="*/ 2006717 w 6386648"/>
                <a:gd name="connsiteY1214" fmla="*/ 749937 h 1849426"/>
                <a:gd name="connsiteX1215" fmla="*/ 6116281 w 6386648"/>
                <a:gd name="connsiteY1215" fmla="*/ 737921 h 1849426"/>
                <a:gd name="connsiteX1216" fmla="*/ 6134306 w 6386648"/>
                <a:gd name="connsiteY1216" fmla="*/ 755946 h 1849426"/>
                <a:gd name="connsiteX1217" fmla="*/ 6116281 w 6386648"/>
                <a:gd name="connsiteY1217" fmla="*/ 773970 h 1849426"/>
                <a:gd name="connsiteX1218" fmla="*/ 6098257 w 6386648"/>
                <a:gd name="connsiteY1218" fmla="*/ 755946 h 1849426"/>
                <a:gd name="connsiteX1219" fmla="*/ 6116281 w 6386648"/>
                <a:gd name="connsiteY1219" fmla="*/ 737921 h 1849426"/>
                <a:gd name="connsiteX1220" fmla="*/ 2397246 w 6386648"/>
                <a:gd name="connsiteY1220" fmla="*/ 737921 h 1849426"/>
                <a:gd name="connsiteX1221" fmla="*/ 2415270 w 6386648"/>
                <a:gd name="connsiteY1221" fmla="*/ 755946 h 1849426"/>
                <a:gd name="connsiteX1222" fmla="*/ 2397246 w 6386648"/>
                <a:gd name="connsiteY1222" fmla="*/ 773970 h 1849426"/>
                <a:gd name="connsiteX1223" fmla="*/ 2379221 w 6386648"/>
                <a:gd name="connsiteY1223" fmla="*/ 755946 h 1849426"/>
                <a:gd name="connsiteX1224" fmla="*/ 2397246 w 6386648"/>
                <a:gd name="connsiteY1224" fmla="*/ 737921 h 1849426"/>
                <a:gd name="connsiteX1225" fmla="*/ 522707 w 6386648"/>
                <a:gd name="connsiteY1225" fmla="*/ 731913 h 1849426"/>
                <a:gd name="connsiteX1226" fmla="*/ 540732 w 6386648"/>
                <a:gd name="connsiteY1226" fmla="*/ 749937 h 1849426"/>
                <a:gd name="connsiteX1227" fmla="*/ 522707 w 6386648"/>
                <a:gd name="connsiteY1227" fmla="*/ 767962 h 1849426"/>
                <a:gd name="connsiteX1228" fmla="*/ 504683 w 6386648"/>
                <a:gd name="connsiteY1228" fmla="*/ 749937 h 1849426"/>
                <a:gd name="connsiteX1229" fmla="*/ 522707 w 6386648"/>
                <a:gd name="connsiteY1229" fmla="*/ 731913 h 1849426"/>
                <a:gd name="connsiteX1230" fmla="*/ 414561 w 6386648"/>
                <a:gd name="connsiteY1230" fmla="*/ 731913 h 1849426"/>
                <a:gd name="connsiteX1231" fmla="*/ 432586 w 6386648"/>
                <a:gd name="connsiteY1231" fmla="*/ 749937 h 1849426"/>
                <a:gd name="connsiteX1232" fmla="*/ 414561 w 6386648"/>
                <a:gd name="connsiteY1232" fmla="*/ 767962 h 1849426"/>
                <a:gd name="connsiteX1233" fmla="*/ 396537 w 6386648"/>
                <a:gd name="connsiteY1233" fmla="*/ 749937 h 1849426"/>
                <a:gd name="connsiteX1234" fmla="*/ 414561 w 6386648"/>
                <a:gd name="connsiteY1234" fmla="*/ 731913 h 1849426"/>
                <a:gd name="connsiteX1235" fmla="*/ 6236444 w 6386648"/>
                <a:gd name="connsiteY1235" fmla="*/ 725905 h 1849426"/>
                <a:gd name="connsiteX1236" fmla="*/ 6254469 w 6386648"/>
                <a:gd name="connsiteY1236" fmla="*/ 743929 h 1849426"/>
                <a:gd name="connsiteX1237" fmla="*/ 6236444 w 6386648"/>
                <a:gd name="connsiteY1237" fmla="*/ 761954 h 1849426"/>
                <a:gd name="connsiteX1238" fmla="*/ 6218420 w 6386648"/>
                <a:gd name="connsiteY1238" fmla="*/ 743929 h 1849426"/>
                <a:gd name="connsiteX1239" fmla="*/ 6236444 w 6386648"/>
                <a:gd name="connsiteY1239" fmla="*/ 725905 h 1849426"/>
                <a:gd name="connsiteX1240" fmla="*/ 961301 w 6386648"/>
                <a:gd name="connsiteY1240" fmla="*/ 725905 h 1849426"/>
                <a:gd name="connsiteX1241" fmla="*/ 979326 w 6386648"/>
                <a:gd name="connsiteY1241" fmla="*/ 743929 h 1849426"/>
                <a:gd name="connsiteX1242" fmla="*/ 961301 w 6386648"/>
                <a:gd name="connsiteY1242" fmla="*/ 761954 h 1849426"/>
                <a:gd name="connsiteX1243" fmla="*/ 943277 w 6386648"/>
                <a:gd name="connsiteY1243" fmla="*/ 743929 h 1849426"/>
                <a:gd name="connsiteX1244" fmla="*/ 961301 w 6386648"/>
                <a:gd name="connsiteY1244" fmla="*/ 725905 h 1849426"/>
                <a:gd name="connsiteX1245" fmla="*/ 3400604 w 6386648"/>
                <a:gd name="connsiteY1245" fmla="*/ 719897 h 1849426"/>
                <a:gd name="connsiteX1246" fmla="*/ 3418629 w 6386648"/>
                <a:gd name="connsiteY1246" fmla="*/ 737921 h 1849426"/>
                <a:gd name="connsiteX1247" fmla="*/ 3400604 w 6386648"/>
                <a:gd name="connsiteY1247" fmla="*/ 755946 h 1849426"/>
                <a:gd name="connsiteX1248" fmla="*/ 3382580 w 6386648"/>
                <a:gd name="connsiteY1248" fmla="*/ 737921 h 1849426"/>
                <a:gd name="connsiteX1249" fmla="*/ 3400604 w 6386648"/>
                <a:gd name="connsiteY1249" fmla="*/ 719897 h 1849426"/>
                <a:gd name="connsiteX1250" fmla="*/ 6002126 w 6386648"/>
                <a:gd name="connsiteY1250" fmla="*/ 713889 h 1849426"/>
                <a:gd name="connsiteX1251" fmla="*/ 6020151 w 6386648"/>
                <a:gd name="connsiteY1251" fmla="*/ 731913 h 1849426"/>
                <a:gd name="connsiteX1252" fmla="*/ 6002126 w 6386648"/>
                <a:gd name="connsiteY1252" fmla="*/ 749938 h 1849426"/>
                <a:gd name="connsiteX1253" fmla="*/ 5984102 w 6386648"/>
                <a:gd name="connsiteY1253" fmla="*/ 731913 h 1849426"/>
                <a:gd name="connsiteX1254" fmla="*/ 6002126 w 6386648"/>
                <a:gd name="connsiteY1254" fmla="*/ 713889 h 1849426"/>
                <a:gd name="connsiteX1255" fmla="*/ 1610179 w 6386648"/>
                <a:gd name="connsiteY1255" fmla="*/ 713889 h 1849426"/>
                <a:gd name="connsiteX1256" fmla="*/ 1628204 w 6386648"/>
                <a:gd name="connsiteY1256" fmla="*/ 731913 h 1849426"/>
                <a:gd name="connsiteX1257" fmla="*/ 1610179 w 6386648"/>
                <a:gd name="connsiteY1257" fmla="*/ 749938 h 1849426"/>
                <a:gd name="connsiteX1258" fmla="*/ 1592155 w 6386648"/>
                <a:gd name="connsiteY1258" fmla="*/ 731913 h 1849426"/>
                <a:gd name="connsiteX1259" fmla="*/ 1610179 w 6386648"/>
                <a:gd name="connsiteY1259" fmla="*/ 713889 h 1849426"/>
                <a:gd name="connsiteX1260" fmla="*/ 3520767 w 6386648"/>
                <a:gd name="connsiteY1260" fmla="*/ 707881 h 1849426"/>
                <a:gd name="connsiteX1261" fmla="*/ 3538792 w 6386648"/>
                <a:gd name="connsiteY1261" fmla="*/ 725906 h 1849426"/>
                <a:gd name="connsiteX1262" fmla="*/ 3520767 w 6386648"/>
                <a:gd name="connsiteY1262" fmla="*/ 743930 h 1849426"/>
                <a:gd name="connsiteX1263" fmla="*/ 3502743 w 6386648"/>
                <a:gd name="connsiteY1263" fmla="*/ 725906 h 1849426"/>
                <a:gd name="connsiteX1264" fmla="*/ 3520767 w 6386648"/>
                <a:gd name="connsiteY1264" fmla="*/ 707881 h 1849426"/>
                <a:gd name="connsiteX1265" fmla="*/ 2895920 w 6386648"/>
                <a:gd name="connsiteY1265" fmla="*/ 701872 h 1849426"/>
                <a:gd name="connsiteX1266" fmla="*/ 2913945 w 6386648"/>
                <a:gd name="connsiteY1266" fmla="*/ 719896 h 1849426"/>
                <a:gd name="connsiteX1267" fmla="*/ 2895920 w 6386648"/>
                <a:gd name="connsiteY1267" fmla="*/ 737921 h 1849426"/>
                <a:gd name="connsiteX1268" fmla="*/ 2877895 w 6386648"/>
                <a:gd name="connsiteY1268" fmla="*/ 719896 h 1849426"/>
                <a:gd name="connsiteX1269" fmla="*/ 2895920 w 6386648"/>
                <a:gd name="connsiteY1269" fmla="*/ 701872 h 1849426"/>
                <a:gd name="connsiteX1270" fmla="*/ 2547449 w 6386648"/>
                <a:gd name="connsiteY1270" fmla="*/ 701872 h 1849426"/>
                <a:gd name="connsiteX1271" fmla="*/ 2565474 w 6386648"/>
                <a:gd name="connsiteY1271" fmla="*/ 719896 h 1849426"/>
                <a:gd name="connsiteX1272" fmla="*/ 2547449 w 6386648"/>
                <a:gd name="connsiteY1272" fmla="*/ 737921 h 1849426"/>
                <a:gd name="connsiteX1273" fmla="*/ 2529425 w 6386648"/>
                <a:gd name="connsiteY1273" fmla="*/ 719896 h 1849426"/>
                <a:gd name="connsiteX1274" fmla="*/ 2547449 w 6386648"/>
                <a:gd name="connsiteY1274" fmla="*/ 701872 h 1849426"/>
                <a:gd name="connsiteX1275" fmla="*/ 2241034 w 6386648"/>
                <a:gd name="connsiteY1275" fmla="*/ 701872 h 1849426"/>
                <a:gd name="connsiteX1276" fmla="*/ 2259059 w 6386648"/>
                <a:gd name="connsiteY1276" fmla="*/ 719896 h 1849426"/>
                <a:gd name="connsiteX1277" fmla="*/ 2241034 w 6386648"/>
                <a:gd name="connsiteY1277" fmla="*/ 737921 h 1849426"/>
                <a:gd name="connsiteX1278" fmla="*/ 2223010 w 6386648"/>
                <a:gd name="connsiteY1278" fmla="*/ 719896 h 1849426"/>
                <a:gd name="connsiteX1279" fmla="*/ 2241034 w 6386648"/>
                <a:gd name="connsiteY1279" fmla="*/ 701872 h 1849426"/>
                <a:gd name="connsiteX1280" fmla="*/ 1411911 w 6386648"/>
                <a:gd name="connsiteY1280" fmla="*/ 701872 h 1849426"/>
                <a:gd name="connsiteX1281" fmla="*/ 1429936 w 6386648"/>
                <a:gd name="connsiteY1281" fmla="*/ 719896 h 1849426"/>
                <a:gd name="connsiteX1282" fmla="*/ 1411911 w 6386648"/>
                <a:gd name="connsiteY1282" fmla="*/ 737921 h 1849426"/>
                <a:gd name="connsiteX1283" fmla="*/ 1393887 w 6386648"/>
                <a:gd name="connsiteY1283" fmla="*/ 719896 h 1849426"/>
                <a:gd name="connsiteX1284" fmla="*/ 1411911 w 6386648"/>
                <a:gd name="connsiteY1284" fmla="*/ 701872 h 1849426"/>
                <a:gd name="connsiteX1285" fmla="*/ 1165578 w 6386648"/>
                <a:gd name="connsiteY1285" fmla="*/ 701872 h 1849426"/>
                <a:gd name="connsiteX1286" fmla="*/ 1183602 w 6386648"/>
                <a:gd name="connsiteY1286" fmla="*/ 719896 h 1849426"/>
                <a:gd name="connsiteX1287" fmla="*/ 1165578 w 6386648"/>
                <a:gd name="connsiteY1287" fmla="*/ 737921 h 1849426"/>
                <a:gd name="connsiteX1288" fmla="*/ 1147553 w 6386648"/>
                <a:gd name="connsiteY1288" fmla="*/ 719896 h 1849426"/>
                <a:gd name="connsiteX1289" fmla="*/ 1165578 w 6386648"/>
                <a:gd name="connsiteY1289" fmla="*/ 701872 h 1849426"/>
                <a:gd name="connsiteX1290" fmla="*/ 168227 w 6386648"/>
                <a:gd name="connsiteY1290" fmla="*/ 701872 h 1849426"/>
                <a:gd name="connsiteX1291" fmla="*/ 186252 w 6386648"/>
                <a:gd name="connsiteY1291" fmla="*/ 719896 h 1849426"/>
                <a:gd name="connsiteX1292" fmla="*/ 168227 w 6386648"/>
                <a:gd name="connsiteY1292" fmla="*/ 737921 h 1849426"/>
                <a:gd name="connsiteX1293" fmla="*/ 150203 w 6386648"/>
                <a:gd name="connsiteY1293" fmla="*/ 719896 h 1849426"/>
                <a:gd name="connsiteX1294" fmla="*/ 168227 w 6386648"/>
                <a:gd name="connsiteY1294" fmla="*/ 701872 h 1849426"/>
                <a:gd name="connsiteX1295" fmla="*/ 1910586 w 6386648"/>
                <a:gd name="connsiteY1295" fmla="*/ 695864 h 1849426"/>
                <a:gd name="connsiteX1296" fmla="*/ 1928611 w 6386648"/>
                <a:gd name="connsiteY1296" fmla="*/ 713888 h 1849426"/>
                <a:gd name="connsiteX1297" fmla="*/ 1910586 w 6386648"/>
                <a:gd name="connsiteY1297" fmla="*/ 731913 h 1849426"/>
                <a:gd name="connsiteX1298" fmla="*/ 1892562 w 6386648"/>
                <a:gd name="connsiteY1298" fmla="*/ 713888 h 1849426"/>
                <a:gd name="connsiteX1299" fmla="*/ 1910586 w 6386648"/>
                <a:gd name="connsiteY1299" fmla="*/ 695864 h 1849426"/>
                <a:gd name="connsiteX1300" fmla="*/ 3833190 w 6386648"/>
                <a:gd name="connsiteY1300" fmla="*/ 689856 h 1849426"/>
                <a:gd name="connsiteX1301" fmla="*/ 3851215 w 6386648"/>
                <a:gd name="connsiteY1301" fmla="*/ 707880 h 1849426"/>
                <a:gd name="connsiteX1302" fmla="*/ 3833190 w 6386648"/>
                <a:gd name="connsiteY1302" fmla="*/ 725905 h 1849426"/>
                <a:gd name="connsiteX1303" fmla="*/ 3815166 w 6386648"/>
                <a:gd name="connsiteY1303" fmla="*/ 707880 h 1849426"/>
                <a:gd name="connsiteX1304" fmla="*/ 3833190 w 6386648"/>
                <a:gd name="connsiteY1304" fmla="*/ 689856 h 1849426"/>
                <a:gd name="connsiteX1305" fmla="*/ 2787774 w 6386648"/>
                <a:gd name="connsiteY1305" fmla="*/ 689856 h 1849426"/>
                <a:gd name="connsiteX1306" fmla="*/ 2805799 w 6386648"/>
                <a:gd name="connsiteY1306" fmla="*/ 707880 h 1849426"/>
                <a:gd name="connsiteX1307" fmla="*/ 2787774 w 6386648"/>
                <a:gd name="connsiteY1307" fmla="*/ 725905 h 1849426"/>
                <a:gd name="connsiteX1308" fmla="*/ 2769750 w 6386648"/>
                <a:gd name="connsiteY1308" fmla="*/ 707880 h 1849426"/>
                <a:gd name="connsiteX1309" fmla="*/ 2787774 w 6386648"/>
                <a:gd name="connsiteY1309" fmla="*/ 689856 h 1849426"/>
                <a:gd name="connsiteX1310" fmla="*/ 5737768 w 6386648"/>
                <a:gd name="connsiteY1310" fmla="*/ 677840 h 1849426"/>
                <a:gd name="connsiteX1311" fmla="*/ 5755793 w 6386648"/>
                <a:gd name="connsiteY1311" fmla="*/ 695865 h 1849426"/>
                <a:gd name="connsiteX1312" fmla="*/ 5737768 w 6386648"/>
                <a:gd name="connsiteY1312" fmla="*/ 713889 h 1849426"/>
                <a:gd name="connsiteX1313" fmla="*/ 5719744 w 6386648"/>
                <a:gd name="connsiteY1313" fmla="*/ 695865 h 1849426"/>
                <a:gd name="connsiteX1314" fmla="*/ 5737768 w 6386648"/>
                <a:gd name="connsiteY1314" fmla="*/ 677840 h 1849426"/>
                <a:gd name="connsiteX1315" fmla="*/ 781057 w 6386648"/>
                <a:gd name="connsiteY1315" fmla="*/ 677840 h 1849426"/>
                <a:gd name="connsiteX1316" fmla="*/ 799082 w 6386648"/>
                <a:gd name="connsiteY1316" fmla="*/ 695865 h 1849426"/>
                <a:gd name="connsiteX1317" fmla="*/ 781057 w 6386648"/>
                <a:gd name="connsiteY1317" fmla="*/ 713889 h 1849426"/>
                <a:gd name="connsiteX1318" fmla="*/ 763033 w 6386648"/>
                <a:gd name="connsiteY1318" fmla="*/ 695865 h 1849426"/>
                <a:gd name="connsiteX1319" fmla="*/ 781057 w 6386648"/>
                <a:gd name="connsiteY1319" fmla="*/ 677840 h 1849426"/>
                <a:gd name="connsiteX1320" fmla="*/ 276373 w 6386648"/>
                <a:gd name="connsiteY1320" fmla="*/ 677840 h 1849426"/>
                <a:gd name="connsiteX1321" fmla="*/ 294398 w 6386648"/>
                <a:gd name="connsiteY1321" fmla="*/ 695865 h 1849426"/>
                <a:gd name="connsiteX1322" fmla="*/ 276373 w 6386648"/>
                <a:gd name="connsiteY1322" fmla="*/ 713889 h 1849426"/>
                <a:gd name="connsiteX1323" fmla="*/ 258349 w 6386648"/>
                <a:gd name="connsiteY1323" fmla="*/ 695865 h 1849426"/>
                <a:gd name="connsiteX1324" fmla="*/ 276373 w 6386648"/>
                <a:gd name="connsiteY1324" fmla="*/ 677840 h 1849426"/>
                <a:gd name="connsiteX1325" fmla="*/ 1784415 w 6386648"/>
                <a:gd name="connsiteY1325" fmla="*/ 671832 h 1849426"/>
                <a:gd name="connsiteX1326" fmla="*/ 1802440 w 6386648"/>
                <a:gd name="connsiteY1326" fmla="*/ 689856 h 1849426"/>
                <a:gd name="connsiteX1327" fmla="*/ 1784415 w 6386648"/>
                <a:gd name="connsiteY1327" fmla="*/ 707881 h 1849426"/>
                <a:gd name="connsiteX1328" fmla="*/ 1766391 w 6386648"/>
                <a:gd name="connsiteY1328" fmla="*/ 689856 h 1849426"/>
                <a:gd name="connsiteX1329" fmla="*/ 1784415 w 6386648"/>
                <a:gd name="connsiteY1329" fmla="*/ 671832 h 1849426"/>
                <a:gd name="connsiteX1330" fmla="*/ 3713027 w 6386648"/>
                <a:gd name="connsiteY1330" fmla="*/ 665824 h 1849426"/>
                <a:gd name="connsiteX1331" fmla="*/ 3731052 w 6386648"/>
                <a:gd name="connsiteY1331" fmla="*/ 683848 h 1849426"/>
                <a:gd name="connsiteX1332" fmla="*/ 3713027 w 6386648"/>
                <a:gd name="connsiteY1332" fmla="*/ 701873 h 1849426"/>
                <a:gd name="connsiteX1333" fmla="*/ 3695003 w 6386648"/>
                <a:gd name="connsiteY1333" fmla="*/ 683848 h 1849426"/>
                <a:gd name="connsiteX1334" fmla="*/ 3713027 w 6386648"/>
                <a:gd name="connsiteY1334" fmla="*/ 665824 h 1849426"/>
                <a:gd name="connsiteX1335" fmla="*/ 3274433 w 6386648"/>
                <a:gd name="connsiteY1335" fmla="*/ 665824 h 1849426"/>
                <a:gd name="connsiteX1336" fmla="*/ 3292458 w 6386648"/>
                <a:gd name="connsiteY1336" fmla="*/ 683848 h 1849426"/>
                <a:gd name="connsiteX1337" fmla="*/ 3274433 w 6386648"/>
                <a:gd name="connsiteY1337" fmla="*/ 701873 h 1849426"/>
                <a:gd name="connsiteX1338" fmla="*/ 3256409 w 6386648"/>
                <a:gd name="connsiteY1338" fmla="*/ 683848 h 1849426"/>
                <a:gd name="connsiteX1339" fmla="*/ 3274433 w 6386648"/>
                <a:gd name="connsiteY1339" fmla="*/ 665824 h 1849426"/>
                <a:gd name="connsiteX1340" fmla="*/ 1291748 w 6386648"/>
                <a:gd name="connsiteY1340" fmla="*/ 665824 h 1849426"/>
                <a:gd name="connsiteX1341" fmla="*/ 1309773 w 6386648"/>
                <a:gd name="connsiteY1341" fmla="*/ 683848 h 1849426"/>
                <a:gd name="connsiteX1342" fmla="*/ 1291748 w 6386648"/>
                <a:gd name="connsiteY1342" fmla="*/ 701873 h 1849426"/>
                <a:gd name="connsiteX1343" fmla="*/ 1273724 w 6386648"/>
                <a:gd name="connsiteY1343" fmla="*/ 683848 h 1849426"/>
                <a:gd name="connsiteX1344" fmla="*/ 1291748 w 6386648"/>
                <a:gd name="connsiteY1344" fmla="*/ 665824 h 1849426"/>
                <a:gd name="connsiteX1345" fmla="*/ 636862 w 6386648"/>
                <a:gd name="connsiteY1345" fmla="*/ 665824 h 1849426"/>
                <a:gd name="connsiteX1346" fmla="*/ 654887 w 6386648"/>
                <a:gd name="connsiteY1346" fmla="*/ 683848 h 1849426"/>
                <a:gd name="connsiteX1347" fmla="*/ 636862 w 6386648"/>
                <a:gd name="connsiteY1347" fmla="*/ 701873 h 1849426"/>
                <a:gd name="connsiteX1348" fmla="*/ 618838 w 6386648"/>
                <a:gd name="connsiteY1348" fmla="*/ 683848 h 1849426"/>
                <a:gd name="connsiteX1349" fmla="*/ 636862 w 6386648"/>
                <a:gd name="connsiteY1349" fmla="*/ 665824 h 1849426"/>
                <a:gd name="connsiteX1350" fmla="*/ 3172295 w 6386648"/>
                <a:gd name="connsiteY1350" fmla="*/ 659815 h 1849426"/>
                <a:gd name="connsiteX1351" fmla="*/ 3190320 w 6386648"/>
                <a:gd name="connsiteY1351" fmla="*/ 677839 h 1849426"/>
                <a:gd name="connsiteX1352" fmla="*/ 3172295 w 6386648"/>
                <a:gd name="connsiteY1352" fmla="*/ 695864 h 1849426"/>
                <a:gd name="connsiteX1353" fmla="*/ 3154271 w 6386648"/>
                <a:gd name="connsiteY1353" fmla="*/ 677839 h 1849426"/>
                <a:gd name="connsiteX1354" fmla="*/ 3172295 w 6386648"/>
                <a:gd name="connsiteY1354" fmla="*/ 659815 h 1849426"/>
                <a:gd name="connsiteX1355" fmla="*/ 6314550 w 6386648"/>
                <a:gd name="connsiteY1355" fmla="*/ 647799 h 1849426"/>
                <a:gd name="connsiteX1356" fmla="*/ 6332574 w 6386648"/>
                <a:gd name="connsiteY1356" fmla="*/ 665824 h 1849426"/>
                <a:gd name="connsiteX1357" fmla="*/ 6314550 w 6386648"/>
                <a:gd name="connsiteY1357" fmla="*/ 683848 h 1849426"/>
                <a:gd name="connsiteX1358" fmla="*/ 6296525 w 6386648"/>
                <a:gd name="connsiteY1358" fmla="*/ 665824 h 1849426"/>
                <a:gd name="connsiteX1359" fmla="*/ 6314550 w 6386648"/>
                <a:gd name="connsiteY1359" fmla="*/ 647799 h 1849426"/>
                <a:gd name="connsiteX1360" fmla="*/ 3040116 w 6386648"/>
                <a:gd name="connsiteY1360" fmla="*/ 647799 h 1849426"/>
                <a:gd name="connsiteX1361" fmla="*/ 3058141 w 6386648"/>
                <a:gd name="connsiteY1361" fmla="*/ 665824 h 1849426"/>
                <a:gd name="connsiteX1362" fmla="*/ 3040116 w 6386648"/>
                <a:gd name="connsiteY1362" fmla="*/ 683848 h 1849426"/>
                <a:gd name="connsiteX1363" fmla="*/ 3022092 w 6386648"/>
                <a:gd name="connsiteY1363" fmla="*/ 665824 h 1849426"/>
                <a:gd name="connsiteX1364" fmla="*/ 3040116 w 6386648"/>
                <a:gd name="connsiteY1364" fmla="*/ 647799 h 1849426"/>
                <a:gd name="connsiteX1365" fmla="*/ 4025450 w 6386648"/>
                <a:gd name="connsiteY1365" fmla="*/ 641791 h 1849426"/>
                <a:gd name="connsiteX1366" fmla="*/ 4043475 w 6386648"/>
                <a:gd name="connsiteY1366" fmla="*/ 659815 h 1849426"/>
                <a:gd name="connsiteX1367" fmla="*/ 4025450 w 6386648"/>
                <a:gd name="connsiteY1367" fmla="*/ 677840 h 1849426"/>
                <a:gd name="connsiteX1368" fmla="*/ 4007426 w 6386648"/>
                <a:gd name="connsiteY1368" fmla="*/ 659815 h 1849426"/>
                <a:gd name="connsiteX1369" fmla="*/ 4025450 w 6386648"/>
                <a:gd name="connsiteY1369" fmla="*/ 641791 h 1849426"/>
                <a:gd name="connsiteX1370" fmla="*/ 5948053 w 6386648"/>
                <a:gd name="connsiteY1370" fmla="*/ 629775 h 1849426"/>
                <a:gd name="connsiteX1371" fmla="*/ 5966078 w 6386648"/>
                <a:gd name="connsiteY1371" fmla="*/ 647799 h 1849426"/>
                <a:gd name="connsiteX1372" fmla="*/ 5948053 w 6386648"/>
                <a:gd name="connsiteY1372" fmla="*/ 665824 h 1849426"/>
                <a:gd name="connsiteX1373" fmla="*/ 5930029 w 6386648"/>
                <a:gd name="connsiteY1373" fmla="*/ 647799 h 1849426"/>
                <a:gd name="connsiteX1374" fmla="*/ 5948053 w 6386648"/>
                <a:gd name="connsiteY1374" fmla="*/ 629775 h 1849426"/>
                <a:gd name="connsiteX1375" fmla="*/ 2673619 w 6386648"/>
                <a:gd name="connsiteY1375" fmla="*/ 629775 h 1849426"/>
                <a:gd name="connsiteX1376" fmla="*/ 2691644 w 6386648"/>
                <a:gd name="connsiteY1376" fmla="*/ 647799 h 1849426"/>
                <a:gd name="connsiteX1377" fmla="*/ 2673619 w 6386648"/>
                <a:gd name="connsiteY1377" fmla="*/ 665824 h 1849426"/>
                <a:gd name="connsiteX1378" fmla="*/ 2655595 w 6386648"/>
                <a:gd name="connsiteY1378" fmla="*/ 647799 h 1849426"/>
                <a:gd name="connsiteX1379" fmla="*/ 2673619 w 6386648"/>
                <a:gd name="connsiteY1379" fmla="*/ 629775 h 1849426"/>
                <a:gd name="connsiteX1380" fmla="*/ 2331156 w 6386648"/>
                <a:gd name="connsiteY1380" fmla="*/ 629775 h 1849426"/>
                <a:gd name="connsiteX1381" fmla="*/ 2349181 w 6386648"/>
                <a:gd name="connsiteY1381" fmla="*/ 647799 h 1849426"/>
                <a:gd name="connsiteX1382" fmla="*/ 2331156 w 6386648"/>
                <a:gd name="connsiteY1382" fmla="*/ 665824 h 1849426"/>
                <a:gd name="connsiteX1383" fmla="*/ 2313132 w 6386648"/>
                <a:gd name="connsiteY1383" fmla="*/ 647799 h 1849426"/>
                <a:gd name="connsiteX1384" fmla="*/ 2331156 w 6386648"/>
                <a:gd name="connsiteY1384" fmla="*/ 629775 h 1849426"/>
                <a:gd name="connsiteX1385" fmla="*/ 1514049 w 6386648"/>
                <a:gd name="connsiteY1385" fmla="*/ 629775 h 1849426"/>
                <a:gd name="connsiteX1386" fmla="*/ 1532074 w 6386648"/>
                <a:gd name="connsiteY1386" fmla="*/ 647799 h 1849426"/>
                <a:gd name="connsiteX1387" fmla="*/ 1514049 w 6386648"/>
                <a:gd name="connsiteY1387" fmla="*/ 665824 h 1849426"/>
                <a:gd name="connsiteX1388" fmla="*/ 1496025 w 6386648"/>
                <a:gd name="connsiteY1388" fmla="*/ 647799 h 1849426"/>
                <a:gd name="connsiteX1389" fmla="*/ 1514049 w 6386648"/>
                <a:gd name="connsiteY1389" fmla="*/ 629775 h 1849426"/>
                <a:gd name="connsiteX1390" fmla="*/ 901219 w 6386648"/>
                <a:gd name="connsiteY1390" fmla="*/ 629775 h 1849426"/>
                <a:gd name="connsiteX1391" fmla="*/ 919244 w 6386648"/>
                <a:gd name="connsiteY1391" fmla="*/ 647799 h 1849426"/>
                <a:gd name="connsiteX1392" fmla="*/ 901219 w 6386648"/>
                <a:gd name="connsiteY1392" fmla="*/ 665824 h 1849426"/>
                <a:gd name="connsiteX1393" fmla="*/ 883195 w 6386648"/>
                <a:gd name="connsiteY1393" fmla="*/ 647799 h 1849426"/>
                <a:gd name="connsiteX1394" fmla="*/ 901219 w 6386648"/>
                <a:gd name="connsiteY1394" fmla="*/ 629775 h 1849426"/>
                <a:gd name="connsiteX1395" fmla="*/ 5827891 w 6386648"/>
                <a:gd name="connsiteY1395" fmla="*/ 617758 h 1849426"/>
                <a:gd name="connsiteX1396" fmla="*/ 5845916 w 6386648"/>
                <a:gd name="connsiteY1396" fmla="*/ 635783 h 1849426"/>
                <a:gd name="connsiteX1397" fmla="*/ 5827891 w 6386648"/>
                <a:gd name="connsiteY1397" fmla="*/ 653807 h 1849426"/>
                <a:gd name="connsiteX1398" fmla="*/ 5809867 w 6386648"/>
                <a:gd name="connsiteY1398" fmla="*/ 635783 h 1849426"/>
                <a:gd name="connsiteX1399" fmla="*/ 5827891 w 6386648"/>
                <a:gd name="connsiteY1399" fmla="*/ 617758 h 1849426"/>
                <a:gd name="connsiteX1400" fmla="*/ 2469343 w 6386648"/>
                <a:gd name="connsiteY1400" fmla="*/ 617758 h 1849426"/>
                <a:gd name="connsiteX1401" fmla="*/ 2487368 w 6386648"/>
                <a:gd name="connsiteY1401" fmla="*/ 635783 h 1849426"/>
                <a:gd name="connsiteX1402" fmla="*/ 2469343 w 6386648"/>
                <a:gd name="connsiteY1402" fmla="*/ 653807 h 1849426"/>
                <a:gd name="connsiteX1403" fmla="*/ 2451319 w 6386648"/>
                <a:gd name="connsiteY1403" fmla="*/ 635783 h 1849426"/>
                <a:gd name="connsiteX1404" fmla="*/ 2469343 w 6386648"/>
                <a:gd name="connsiteY1404" fmla="*/ 617758 h 1849426"/>
                <a:gd name="connsiteX1405" fmla="*/ 6110273 w 6386648"/>
                <a:gd name="connsiteY1405" fmla="*/ 611750 h 1849426"/>
                <a:gd name="connsiteX1406" fmla="*/ 6128298 w 6386648"/>
                <a:gd name="connsiteY1406" fmla="*/ 629774 h 1849426"/>
                <a:gd name="connsiteX1407" fmla="*/ 6110273 w 6386648"/>
                <a:gd name="connsiteY1407" fmla="*/ 647799 h 1849426"/>
                <a:gd name="connsiteX1408" fmla="*/ 6092248 w 6386648"/>
                <a:gd name="connsiteY1408" fmla="*/ 629774 h 1849426"/>
                <a:gd name="connsiteX1409" fmla="*/ 6110273 w 6386648"/>
                <a:gd name="connsiteY1409" fmla="*/ 611750 h 1849426"/>
                <a:gd name="connsiteX1410" fmla="*/ 3598872 w 6386648"/>
                <a:gd name="connsiteY1410" fmla="*/ 611750 h 1849426"/>
                <a:gd name="connsiteX1411" fmla="*/ 3616897 w 6386648"/>
                <a:gd name="connsiteY1411" fmla="*/ 629774 h 1849426"/>
                <a:gd name="connsiteX1412" fmla="*/ 3598872 w 6386648"/>
                <a:gd name="connsiteY1412" fmla="*/ 647799 h 1849426"/>
                <a:gd name="connsiteX1413" fmla="*/ 3580848 w 6386648"/>
                <a:gd name="connsiteY1413" fmla="*/ 629774 h 1849426"/>
                <a:gd name="connsiteX1414" fmla="*/ 3598872 w 6386648"/>
                <a:gd name="connsiteY1414" fmla="*/ 611750 h 1849426"/>
                <a:gd name="connsiteX1415" fmla="*/ 2150912 w 6386648"/>
                <a:gd name="connsiteY1415" fmla="*/ 611750 h 1849426"/>
                <a:gd name="connsiteX1416" fmla="*/ 2168937 w 6386648"/>
                <a:gd name="connsiteY1416" fmla="*/ 629774 h 1849426"/>
                <a:gd name="connsiteX1417" fmla="*/ 2150912 w 6386648"/>
                <a:gd name="connsiteY1417" fmla="*/ 647799 h 1849426"/>
                <a:gd name="connsiteX1418" fmla="*/ 2132888 w 6386648"/>
                <a:gd name="connsiteY1418" fmla="*/ 629774 h 1849426"/>
                <a:gd name="connsiteX1419" fmla="*/ 2150912 w 6386648"/>
                <a:gd name="connsiteY1419" fmla="*/ 611750 h 1849426"/>
                <a:gd name="connsiteX1420" fmla="*/ 2036758 w 6386648"/>
                <a:gd name="connsiteY1420" fmla="*/ 605742 h 1849426"/>
                <a:gd name="connsiteX1421" fmla="*/ 2054782 w 6386648"/>
                <a:gd name="connsiteY1421" fmla="*/ 623766 h 1849426"/>
                <a:gd name="connsiteX1422" fmla="*/ 2036758 w 6386648"/>
                <a:gd name="connsiteY1422" fmla="*/ 641791 h 1849426"/>
                <a:gd name="connsiteX1423" fmla="*/ 2018733 w 6386648"/>
                <a:gd name="connsiteY1423" fmla="*/ 623766 h 1849426"/>
                <a:gd name="connsiteX1424" fmla="*/ 2036758 w 6386648"/>
                <a:gd name="connsiteY1424" fmla="*/ 605742 h 1849426"/>
                <a:gd name="connsiteX1425" fmla="*/ 1652236 w 6386648"/>
                <a:gd name="connsiteY1425" fmla="*/ 605742 h 1849426"/>
                <a:gd name="connsiteX1426" fmla="*/ 1670261 w 6386648"/>
                <a:gd name="connsiteY1426" fmla="*/ 623766 h 1849426"/>
                <a:gd name="connsiteX1427" fmla="*/ 1652236 w 6386648"/>
                <a:gd name="connsiteY1427" fmla="*/ 641791 h 1849426"/>
                <a:gd name="connsiteX1428" fmla="*/ 1634212 w 6386648"/>
                <a:gd name="connsiteY1428" fmla="*/ 623766 h 1849426"/>
                <a:gd name="connsiteX1429" fmla="*/ 1652236 w 6386648"/>
                <a:gd name="connsiteY1429" fmla="*/ 605742 h 1849426"/>
                <a:gd name="connsiteX1430" fmla="*/ 1027390 w 6386648"/>
                <a:gd name="connsiteY1430" fmla="*/ 605742 h 1849426"/>
                <a:gd name="connsiteX1431" fmla="*/ 1045415 w 6386648"/>
                <a:gd name="connsiteY1431" fmla="*/ 623766 h 1849426"/>
                <a:gd name="connsiteX1432" fmla="*/ 1027390 w 6386648"/>
                <a:gd name="connsiteY1432" fmla="*/ 641791 h 1849426"/>
                <a:gd name="connsiteX1433" fmla="*/ 1009366 w 6386648"/>
                <a:gd name="connsiteY1433" fmla="*/ 623766 h 1849426"/>
                <a:gd name="connsiteX1434" fmla="*/ 1027390 w 6386648"/>
                <a:gd name="connsiteY1434" fmla="*/ 605742 h 1849426"/>
                <a:gd name="connsiteX1435" fmla="*/ 504684 w 6386648"/>
                <a:gd name="connsiteY1435" fmla="*/ 605742 h 1849426"/>
                <a:gd name="connsiteX1436" fmla="*/ 522708 w 6386648"/>
                <a:gd name="connsiteY1436" fmla="*/ 623766 h 1849426"/>
                <a:gd name="connsiteX1437" fmla="*/ 504684 w 6386648"/>
                <a:gd name="connsiteY1437" fmla="*/ 641791 h 1849426"/>
                <a:gd name="connsiteX1438" fmla="*/ 486659 w 6386648"/>
                <a:gd name="connsiteY1438" fmla="*/ 623766 h 1849426"/>
                <a:gd name="connsiteX1439" fmla="*/ 504684 w 6386648"/>
                <a:gd name="connsiteY1439" fmla="*/ 605742 h 1849426"/>
                <a:gd name="connsiteX1440" fmla="*/ 378512 w 6386648"/>
                <a:gd name="connsiteY1440" fmla="*/ 605742 h 1849426"/>
                <a:gd name="connsiteX1441" fmla="*/ 396537 w 6386648"/>
                <a:gd name="connsiteY1441" fmla="*/ 623766 h 1849426"/>
                <a:gd name="connsiteX1442" fmla="*/ 378512 w 6386648"/>
                <a:gd name="connsiteY1442" fmla="*/ 641791 h 1849426"/>
                <a:gd name="connsiteX1443" fmla="*/ 360488 w 6386648"/>
                <a:gd name="connsiteY1443" fmla="*/ 623766 h 1849426"/>
                <a:gd name="connsiteX1444" fmla="*/ 378512 w 6386648"/>
                <a:gd name="connsiteY1444" fmla="*/ 605742 h 1849426"/>
                <a:gd name="connsiteX1445" fmla="*/ 3358547 w 6386648"/>
                <a:gd name="connsiteY1445" fmla="*/ 599734 h 1849426"/>
                <a:gd name="connsiteX1446" fmla="*/ 3376572 w 6386648"/>
                <a:gd name="connsiteY1446" fmla="*/ 617758 h 1849426"/>
                <a:gd name="connsiteX1447" fmla="*/ 3358547 w 6386648"/>
                <a:gd name="connsiteY1447" fmla="*/ 635783 h 1849426"/>
                <a:gd name="connsiteX1448" fmla="*/ 3340523 w 6386648"/>
                <a:gd name="connsiteY1448" fmla="*/ 617758 h 1849426"/>
                <a:gd name="connsiteX1449" fmla="*/ 3358547 w 6386648"/>
                <a:gd name="connsiteY1449" fmla="*/ 599734 h 1849426"/>
                <a:gd name="connsiteX1450" fmla="*/ 3887263 w 6386648"/>
                <a:gd name="connsiteY1450" fmla="*/ 593726 h 1849426"/>
                <a:gd name="connsiteX1451" fmla="*/ 3905288 w 6386648"/>
                <a:gd name="connsiteY1451" fmla="*/ 611750 h 1849426"/>
                <a:gd name="connsiteX1452" fmla="*/ 3887263 w 6386648"/>
                <a:gd name="connsiteY1452" fmla="*/ 629775 h 1849426"/>
                <a:gd name="connsiteX1453" fmla="*/ 3869238 w 6386648"/>
                <a:gd name="connsiteY1453" fmla="*/ 611750 h 1849426"/>
                <a:gd name="connsiteX1454" fmla="*/ 3887263 w 6386648"/>
                <a:gd name="connsiteY1454" fmla="*/ 593726 h 1849426"/>
                <a:gd name="connsiteX1455" fmla="*/ 5623614 w 6386648"/>
                <a:gd name="connsiteY1455" fmla="*/ 587718 h 1849426"/>
                <a:gd name="connsiteX1456" fmla="*/ 5641639 w 6386648"/>
                <a:gd name="connsiteY1456" fmla="*/ 605743 h 1849426"/>
                <a:gd name="connsiteX1457" fmla="*/ 5623614 w 6386648"/>
                <a:gd name="connsiteY1457" fmla="*/ 623767 h 1849426"/>
                <a:gd name="connsiteX1458" fmla="*/ 5605590 w 6386648"/>
                <a:gd name="connsiteY1458" fmla="*/ 605743 h 1849426"/>
                <a:gd name="connsiteX1459" fmla="*/ 5623614 w 6386648"/>
                <a:gd name="connsiteY1459" fmla="*/ 587718 h 1849426"/>
                <a:gd name="connsiteX1460" fmla="*/ 4157629 w 6386648"/>
                <a:gd name="connsiteY1460" fmla="*/ 587718 h 1849426"/>
                <a:gd name="connsiteX1461" fmla="*/ 4175654 w 6386648"/>
                <a:gd name="connsiteY1461" fmla="*/ 605743 h 1849426"/>
                <a:gd name="connsiteX1462" fmla="*/ 4157629 w 6386648"/>
                <a:gd name="connsiteY1462" fmla="*/ 623767 h 1849426"/>
                <a:gd name="connsiteX1463" fmla="*/ 4139604 w 6386648"/>
                <a:gd name="connsiteY1463" fmla="*/ 605743 h 1849426"/>
                <a:gd name="connsiteX1464" fmla="*/ 4157629 w 6386648"/>
                <a:gd name="connsiteY1464" fmla="*/ 587718 h 1849426"/>
                <a:gd name="connsiteX1465" fmla="*/ 1886555 w 6386648"/>
                <a:gd name="connsiteY1465" fmla="*/ 587718 h 1849426"/>
                <a:gd name="connsiteX1466" fmla="*/ 1904579 w 6386648"/>
                <a:gd name="connsiteY1466" fmla="*/ 605743 h 1849426"/>
                <a:gd name="connsiteX1467" fmla="*/ 1886555 w 6386648"/>
                <a:gd name="connsiteY1467" fmla="*/ 623767 h 1849426"/>
                <a:gd name="connsiteX1468" fmla="*/ 1868530 w 6386648"/>
                <a:gd name="connsiteY1468" fmla="*/ 605743 h 1849426"/>
                <a:gd name="connsiteX1469" fmla="*/ 1886555 w 6386648"/>
                <a:gd name="connsiteY1469" fmla="*/ 587718 h 1849426"/>
                <a:gd name="connsiteX1470" fmla="*/ 1147553 w 6386648"/>
                <a:gd name="connsiteY1470" fmla="*/ 587718 h 1849426"/>
                <a:gd name="connsiteX1471" fmla="*/ 1165578 w 6386648"/>
                <a:gd name="connsiteY1471" fmla="*/ 605743 h 1849426"/>
                <a:gd name="connsiteX1472" fmla="*/ 1147553 w 6386648"/>
                <a:gd name="connsiteY1472" fmla="*/ 623767 h 1849426"/>
                <a:gd name="connsiteX1473" fmla="*/ 1129529 w 6386648"/>
                <a:gd name="connsiteY1473" fmla="*/ 605743 h 1849426"/>
                <a:gd name="connsiteX1474" fmla="*/ 1147553 w 6386648"/>
                <a:gd name="connsiteY1474" fmla="*/ 587718 h 1849426"/>
                <a:gd name="connsiteX1475" fmla="*/ 6212411 w 6386648"/>
                <a:gd name="connsiteY1475" fmla="*/ 581710 h 1849426"/>
                <a:gd name="connsiteX1476" fmla="*/ 6230436 w 6386648"/>
                <a:gd name="connsiteY1476" fmla="*/ 599734 h 1849426"/>
                <a:gd name="connsiteX1477" fmla="*/ 6212411 w 6386648"/>
                <a:gd name="connsiteY1477" fmla="*/ 617759 h 1849426"/>
                <a:gd name="connsiteX1478" fmla="*/ 6194387 w 6386648"/>
                <a:gd name="connsiteY1478" fmla="*/ 599734 h 1849426"/>
                <a:gd name="connsiteX1479" fmla="*/ 6212411 w 6386648"/>
                <a:gd name="connsiteY1479" fmla="*/ 581710 h 1849426"/>
                <a:gd name="connsiteX1480" fmla="*/ 3478710 w 6386648"/>
                <a:gd name="connsiteY1480" fmla="*/ 581710 h 1849426"/>
                <a:gd name="connsiteX1481" fmla="*/ 3496735 w 6386648"/>
                <a:gd name="connsiteY1481" fmla="*/ 599734 h 1849426"/>
                <a:gd name="connsiteX1482" fmla="*/ 3478710 w 6386648"/>
                <a:gd name="connsiteY1482" fmla="*/ 617759 h 1849426"/>
                <a:gd name="connsiteX1483" fmla="*/ 3460686 w 6386648"/>
                <a:gd name="connsiteY1483" fmla="*/ 599734 h 1849426"/>
                <a:gd name="connsiteX1484" fmla="*/ 3478710 w 6386648"/>
                <a:gd name="connsiteY1484" fmla="*/ 581710 h 1849426"/>
                <a:gd name="connsiteX1485" fmla="*/ 2883904 w 6386648"/>
                <a:gd name="connsiteY1485" fmla="*/ 581710 h 1849426"/>
                <a:gd name="connsiteX1486" fmla="*/ 2901929 w 6386648"/>
                <a:gd name="connsiteY1486" fmla="*/ 599734 h 1849426"/>
                <a:gd name="connsiteX1487" fmla="*/ 2883904 w 6386648"/>
                <a:gd name="connsiteY1487" fmla="*/ 617759 h 1849426"/>
                <a:gd name="connsiteX1488" fmla="*/ 2865880 w 6386648"/>
                <a:gd name="connsiteY1488" fmla="*/ 599734 h 1849426"/>
                <a:gd name="connsiteX1489" fmla="*/ 2883904 w 6386648"/>
                <a:gd name="connsiteY1489" fmla="*/ 581710 h 1849426"/>
                <a:gd name="connsiteX1490" fmla="*/ 4488076 w 6386648"/>
                <a:gd name="connsiteY1490" fmla="*/ 575702 h 1849426"/>
                <a:gd name="connsiteX1491" fmla="*/ 4506101 w 6386648"/>
                <a:gd name="connsiteY1491" fmla="*/ 593726 h 1849426"/>
                <a:gd name="connsiteX1492" fmla="*/ 4488076 w 6386648"/>
                <a:gd name="connsiteY1492" fmla="*/ 611751 h 1849426"/>
                <a:gd name="connsiteX1493" fmla="*/ 4470051 w 6386648"/>
                <a:gd name="connsiteY1493" fmla="*/ 593726 h 1849426"/>
                <a:gd name="connsiteX1494" fmla="*/ 4488076 w 6386648"/>
                <a:gd name="connsiteY1494" fmla="*/ 575702 h 1849426"/>
                <a:gd name="connsiteX1495" fmla="*/ 4313840 w 6386648"/>
                <a:gd name="connsiteY1495" fmla="*/ 575702 h 1849426"/>
                <a:gd name="connsiteX1496" fmla="*/ 4331865 w 6386648"/>
                <a:gd name="connsiteY1496" fmla="*/ 593726 h 1849426"/>
                <a:gd name="connsiteX1497" fmla="*/ 4313840 w 6386648"/>
                <a:gd name="connsiteY1497" fmla="*/ 611751 h 1849426"/>
                <a:gd name="connsiteX1498" fmla="*/ 4295816 w 6386648"/>
                <a:gd name="connsiteY1498" fmla="*/ 593726 h 1849426"/>
                <a:gd name="connsiteX1499" fmla="*/ 4313840 w 6386648"/>
                <a:gd name="connsiteY1499" fmla="*/ 575702 h 1849426"/>
                <a:gd name="connsiteX1500" fmla="*/ 1381870 w 6386648"/>
                <a:gd name="connsiteY1500" fmla="*/ 569693 h 1849426"/>
                <a:gd name="connsiteX1501" fmla="*/ 1399895 w 6386648"/>
                <a:gd name="connsiteY1501" fmla="*/ 587717 h 1849426"/>
                <a:gd name="connsiteX1502" fmla="*/ 1381870 w 6386648"/>
                <a:gd name="connsiteY1502" fmla="*/ 605742 h 1849426"/>
                <a:gd name="connsiteX1503" fmla="*/ 1363846 w 6386648"/>
                <a:gd name="connsiteY1503" fmla="*/ 587717 h 1849426"/>
                <a:gd name="connsiteX1504" fmla="*/ 1381870 w 6386648"/>
                <a:gd name="connsiteY1504" fmla="*/ 569693 h 1849426"/>
                <a:gd name="connsiteX1505" fmla="*/ 126170 w 6386648"/>
                <a:gd name="connsiteY1505" fmla="*/ 563685 h 1849426"/>
                <a:gd name="connsiteX1506" fmla="*/ 144195 w 6386648"/>
                <a:gd name="connsiteY1506" fmla="*/ 581709 h 1849426"/>
                <a:gd name="connsiteX1507" fmla="*/ 126170 w 6386648"/>
                <a:gd name="connsiteY1507" fmla="*/ 599734 h 1849426"/>
                <a:gd name="connsiteX1508" fmla="*/ 108146 w 6386648"/>
                <a:gd name="connsiteY1508" fmla="*/ 581709 h 1849426"/>
                <a:gd name="connsiteX1509" fmla="*/ 126170 w 6386648"/>
                <a:gd name="connsiteY1509" fmla="*/ 563685 h 1849426"/>
                <a:gd name="connsiteX1510" fmla="*/ 2583497 w 6386648"/>
                <a:gd name="connsiteY1510" fmla="*/ 557677 h 1849426"/>
                <a:gd name="connsiteX1511" fmla="*/ 2601522 w 6386648"/>
                <a:gd name="connsiteY1511" fmla="*/ 575702 h 1849426"/>
                <a:gd name="connsiteX1512" fmla="*/ 2583497 w 6386648"/>
                <a:gd name="connsiteY1512" fmla="*/ 593726 h 1849426"/>
                <a:gd name="connsiteX1513" fmla="*/ 2565473 w 6386648"/>
                <a:gd name="connsiteY1513" fmla="*/ 575702 h 1849426"/>
                <a:gd name="connsiteX1514" fmla="*/ 2583497 w 6386648"/>
                <a:gd name="connsiteY1514" fmla="*/ 557677 h 1849426"/>
                <a:gd name="connsiteX1515" fmla="*/ 246333 w 6386648"/>
                <a:gd name="connsiteY1515" fmla="*/ 557677 h 1849426"/>
                <a:gd name="connsiteX1516" fmla="*/ 264358 w 6386648"/>
                <a:gd name="connsiteY1516" fmla="*/ 575702 h 1849426"/>
                <a:gd name="connsiteX1517" fmla="*/ 246333 w 6386648"/>
                <a:gd name="connsiteY1517" fmla="*/ 593726 h 1849426"/>
                <a:gd name="connsiteX1518" fmla="*/ 228309 w 6386648"/>
                <a:gd name="connsiteY1518" fmla="*/ 575702 h 1849426"/>
                <a:gd name="connsiteX1519" fmla="*/ 246333 w 6386648"/>
                <a:gd name="connsiteY1519" fmla="*/ 557677 h 1849426"/>
                <a:gd name="connsiteX1520" fmla="*/ 1736351 w 6386648"/>
                <a:gd name="connsiteY1520" fmla="*/ 551669 h 1849426"/>
                <a:gd name="connsiteX1521" fmla="*/ 1754375 w 6386648"/>
                <a:gd name="connsiteY1521" fmla="*/ 569693 h 1849426"/>
                <a:gd name="connsiteX1522" fmla="*/ 1736351 w 6386648"/>
                <a:gd name="connsiteY1522" fmla="*/ 587718 h 1849426"/>
                <a:gd name="connsiteX1523" fmla="*/ 1718326 w 6386648"/>
                <a:gd name="connsiteY1523" fmla="*/ 569693 h 1849426"/>
                <a:gd name="connsiteX1524" fmla="*/ 1736351 w 6386648"/>
                <a:gd name="connsiteY1524" fmla="*/ 551669 h 1849426"/>
                <a:gd name="connsiteX1525" fmla="*/ 3731051 w 6386648"/>
                <a:gd name="connsiteY1525" fmla="*/ 545661 h 1849426"/>
                <a:gd name="connsiteX1526" fmla="*/ 3749076 w 6386648"/>
                <a:gd name="connsiteY1526" fmla="*/ 563685 h 1849426"/>
                <a:gd name="connsiteX1527" fmla="*/ 3731051 w 6386648"/>
                <a:gd name="connsiteY1527" fmla="*/ 581710 h 1849426"/>
                <a:gd name="connsiteX1528" fmla="*/ 3713027 w 6386648"/>
                <a:gd name="connsiteY1528" fmla="*/ 563685 h 1849426"/>
                <a:gd name="connsiteX1529" fmla="*/ 3731051 w 6386648"/>
                <a:gd name="connsiteY1529" fmla="*/ 545661 h 1849426"/>
                <a:gd name="connsiteX1530" fmla="*/ 2763741 w 6386648"/>
                <a:gd name="connsiteY1530" fmla="*/ 545661 h 1849426"/>
                <a:gd name="connsiteX1531" fmla="*/ 2781766 w 6386648"/>
                <a:gd name="connsiteY1531" fmla="*/ 563685 h 1849426"/>
                <a:gd name="connsiteX1532" fmla="*/ 2763741 w 6386648"/>
                <a:gd name="connsiteY1532" fmla="*/ 581710 h 1849426"/>
                <a:gd name="connsiteX1533" fmla="*/ 2745717 w 6386648"/>
                <a:gd name="connsiteY1533" fmla="*/ 563685 h 1849426"/>
                <a:gd name="connsiteX1534" fmla="*/ 2763741 w 6386648"/>
                <a:gd name="connsiteY1534" fmla="*/ 545661 h 1849426"/>
                <a:gd name="connsiteX1535" fmla="*/ 726984 w 6386648"/>
                <a:gd name="connsiteY1535" fmla="*/ 545661 h 1849426"/>
                <a:gd name="connsiteX1536" fmla="*/ 745009 w 6386648"/>
                <a:gd name="connsiteY1536" fmla="*/ 563685 h 1849426"/>
                <a:gd name="connsiteX1537" fmla="*/ 726984 w 6386648"/>
                <a:gd name="connsiteY1537" fmla="*/ 581710 h 1849426"/>
                <a:gd name="connsiteX1538" fmla="*/ 708960 w 6386648"/>
                <a:gd name="connsiteY1538" fmla="*/ 563685 h 1849426"/>
                <a:gd name="connsiteX1539" fmla="*/ 726984 w 6386648"/>
                <a:gd name="connsiteY1539" fmla="*/ 545661 h 1849426"/>
                <a:gd name="connsiteX1540" fmla="*/ 3136246 w 6386648"/>
                <a:gd name="connsiteY1540" fmla="*/ 539653 h 1849426"/>
                <a:gd name="connsiteX1541" fmla="*/ 3154271 w 6386648"/>
                <a:gd name="connsiteY1541" fmla="*/ 557677 h 1849426"/>
                <a:gd name="connsiteX1542" fmla="*/ 3136246 w 6386648"/>
                <a:gd name="connsiteY1542" fmla="*/ 575702 h 1849426"/>
                <a:gd name="connsiteX1543" fmla="*/ 3118221 w 6386648"/>
                <a:gd name="connsiteY1543" fmla="*/ 557677 h 1849426"/>
                <a:gd name="connsiteX1544" fmla="*/ 3136246 w 6386648"/>
                <a:gd name="connsiteY1544" fmla="*/ 539653 h 1849426"/>
                <a:gd name="connsiteX1545" fmla="*/ 3004067 w 6386648"/>
                <a:gd name="connsiteY1545" fmla="*/ 539653 h 1849426"/>
                <a:gd name="connsiteX1546" fmla="*/ 3022092 w 6386648"/>
                <a:gd name="connsiteY1546" fmla="*/ 557677 h 1849426"/>
                <a:gd name="connsiteX1547" fmla="*/ 3004067 w 6386648"/>
                <a:gd name="connsiteY1547" fmla="*/ 575702 h 1849426"/>
                <a:gd name="connsiteX1548" fmla="*/ 2986043 w 6386648"/>
                <a:gd name="connsiteY1548" fmla="*/ 557677 h 1849426"/>
                <a:gd name="connsiteX1549" fmla="*/ 3004067 w 6386648"/>
                <a:gd name="connsiteY1549" fmla="*/ 539653 h 1849426"/>
                <a:gd name="connsiteX1550" fmla="*/ 835130 w 6386648"/>
                <a:gd name="connsiteY1550" fmla="*/ 539653 h 1849426"/>
                <a:gd name="connsiteX1551" fmla="*/ 847146 w 6386648"/>
                <a:gd name="connsiteY1551" fmla="*/ 551669 h 1849426"/>
                <a:gd name="connsiteX1552" fmla="*/ 835130 w 6386648"/>
                <a:gd name="connsiteY1552" fmla="*/ 563685 h 1849426"/>
                <a:gd name="connsiteX1553" fmla="*/ 823114 w 6386648"/>
                <a:gd name="connsiteY1553" fmla="*/ 551669 h 1849426"/>
                <a:gd name="connsiteX1554" fmla="*/ 835130 w 6386648"/>
                <a:gd name="connsiteY1554" fmla="*/ 539653 h 1849426"/>
                <a:gd name="connsiteX1555" fmla="*/ 612829 w 6386648"/>
                <a:gd name="connsiteY1555" fmla="*/ 539653 h 1849426"/>
                <a:gd name="connsiteX1556" fmla="*/ 630854 w 6386648"/>
                <a:gd name="connsiteY1556" fmla="*/ 557677 h 1849426"/>
                <a:gd name="connsiteX1557" fmla="*/ 612829 w 6386648"/>
                <a:gd name="connsiteY1557" fmla="*/ 575702 h 1849426"/>
                <a:gd name="connsiteX1558" fmla="*/ 594805 w 6386648"/>
                <a:gd name="connsiteY1558" fmla="*/ 557677 h 1849426"/>
                <a:gd name="connsiteX1559" fmla="*/ 612829 w 6386648"/>
                <a:gd name="connsiteY1559" fmla="*/ 539653 h 1849426"/>
                <a:gd name="connsiteX1560" fmla="*/ 6014143 w 6386648"/>
                <a:gd name="connsiteY1560" fmla="*/ 533645 h 1849426"/>
                <a:gd name="connsiteX1561" fmla="*/ 6032168 w 6386648"/>
                <a:gd name="connsiteY1561" fmla="*/ 551669 h 1849426"/>
                <a:gd name="connsiteX1562" fmla="*/ 6014143 w 6386648"/>
                <a:gd name="connsiteY1562" fmla="*/ 569694 h 1849426"/>
                <a:gd name="connsiteX1563" fmla="*/ 5996119 w 6386648"/>
                <a:gd name="connsiteY1563" fmla="*/ 551669 h 1849426"/>
                <a:gd name="connsiteX1564" fmla="*/ 6014143 w 6386648"/>
                <a:gd name="connsiteY1564" fmla="*/ 533645 h 1849426"/>
                <a:gd name="connsiteX1565" fmla="*/ 5725752 w 6386648"/>
                <a:gd name="connsiteY1565" fmla="*/ 533645 h 1849426"/>
                <a:gd name="connsiteX1566" fmla="*/ 5743777 w 6386648"/>
                <a:gd name="connsiteY1566" fmla="*/ 551669 h 1849426"/>
                <a:gd name="connsiteX1567" fmla="*/ 5725752 w 6386648"/>
                <a:gd name="connsiteY1567" fmla="*/ 569694 h 1849426"/>
                <a:gd name="connsiteX1568" fmla="*/ 5707728 w 6386648"/>
                <a:gd name="connsiteY1568" fmla="*/ 551669 h 1849426"/>
                <a:gd name="connsiteX1569" fmla="*/ 5725752 w 6386648"/>
                <a:gd name="connsiteY1569" fmla="*/ 533645 h 1849426"/>
                <a:gd name="connsiteX1570" fmla="*/ 4013434 w 6386648"/>
                <a:gd name="connsiteY1570" fmla="*/ 533645 h 1849426"/>
                <a:gd name="connsiteX1571" fmla="*/ 4031459 w 6386648"/>
                <a:gd name="connsiteY1571" fmla="*/ 551669 h 1849426"/>
                <a:gd name="connsiteX1572" fmla="*/ 4013434 w 6386648"/>
                <a:gd name="connsiteY1572" fmla="*/ 569694 h 1849426"/>
                <a:gd name="connsiteX1573" fmla="*/ 3995410 w 6386648"/>
                <a:gd name="connsiteY1573" fmla="*/ 551669 h 1849426"/>
                <a:gd name="connsiteX1574" fmla="*/ 4013434 w 6386648"/>
                <a:gd name="connsiteY1574" fmla="*/ 533645 h 1849426"/>
                <a:gd name="connsiteX1575" fmla="*/ 2223009 w 6386648"/>
                <a:gd name="connsiteY1575" fmla="*/ 533645 h 1849426"/>
                <a:gd name="connsiteX1576" fmla="*/ 2241034 w 6386648"/>
                <a:gd name="connsiteY1576" fmla="*/ 551669 h 1849426"/>
                <a:gd name="connsiteX1577" fmla="*/ 2223009 w 6386648"/>
                <a:gd name="connsiteY1577" fmla="*/ 569694 h 1849426"/>
                <a:gd name="connsiteX1578" fmla="*/ 2204985 w 6386648"/>
                <a:gd name="connsiteY1578" fmla="*/ 551669 h 1849426"/>
                <a:gd name="connsiteX1579" fmla="*/ 2223009 w 6386648"/>
                <a:gd name="connsiteY1579" fmla="*/ 533645 h 1849426"/>
                <a:gd name="connsiteX1580" fmla="*/ 1249691 w 6386648"/>
                <a:gd name="connsiteY1580" fmla="*/ 533645 h 1849426"/>
                <a:gd name="connsiteX1581" fmla="*/ 1267716 w 6386648"/>
                <a:gd name="connsiteY1581" fmla="*/ 551669 h 1849426"/>
                <a:gd name="connsiteX1582" fmla="*/ 1249691 w 6386648"/>
                <a:gd name="connsiteY1582" fmla="*/ 569694 h 1849426"/>
                <a:gd name="connsiteX1583" fmla="*/ 1231667 w 6386648"/>
                <a:gd name="connsiteY1583" fmla="*/ 551669 h 1849426"/>
                <a:gd name="connsiteX1584" fmla="*/ 1249691 w 6386648"/>
                <a:gd name="connsiteY1584" fmla="*/ 533645 h 1849426"/>
                <a:gd name="connsiteX1585" fmla="*/ 2409261 w 6386648"/>
                <a:gd name="connsiteY1585" fmla="*/ 527636 h 1849426"/>
                <a:gd name="connsiteX1586" fmla="*/ 2427286 w 6386648"/>
                <a:gd name="connsiteY1586" fmla="*/ 545661 h 1849426"/>
                <a:gd name="connsiteX1587" fmla="*/ 2409261 w 6386648"/>
                <a:gd name="connsiteY1587" fmla="*/ 563685 h 1849426"/>
                <a:gd name="connsiteX1588" fmla="*/ 2391237 w 6386648"/>
                <a:gd name="connsiteY1588" fmla="*/ 545661 h 1849426"/>
                <a:gd name="connsiteX1589" fmla="*/ 2409261 w 6386648"/>
                <a:gd name="connsiteY1589" fmla="*/ 527636 h 1849426"/>
                <a:gd name="connsiteX1590" fmla="*/ 5527484 w 6386648"/>
                <a:gd name="connsiteY1590" fmla="*/ 521628 h 1849426"/>
                <a:gd name="connsiteX1591" fmla="*/ 5545509 w 6386648"/>
                <a:gd name="connsiteY1591" fmla="*/ 539652 h 1849426"/>
                <a:gd name="connsiteX1592" fmla="*/ 5527484 w 6386648"/>
                <a:gd name="connsiteY1592" fmla="*/ 557677 h 1849426"/>
                <a:gd name="connsiteX1593" fmla="*/ 5509460 w 6386648"/>
                <a:gd name="connsiteY1593" fmla="*/ 539652 h 1849426"/>
                <a:gd name="connsiteX1594" fmla="*/ 5527484 w 6386648"/>
                <a:gd name="connsiteY1594" fmla="*/ 521628 h 1849426"/>
                <a:gd name="connsiteX1595" fmla="*/ 4830540 w 6386648"/>
                <a:gd name="connsiteY1595" fmla="*/ 521628 h 1849426"/>
                <a:gd name="connsiteX1596" fmla="*/ 4848565 w 6386648"/>
                <a:gd name="connsiteY1596" fmla="*/ 539652 h 1849426"/>
                <a:gd name="connsiteX1597" fmla="*/ 4830540 w 6386648"/>
                <a:gd name="connsiteY1597" fmla="*/ 557677 h 1849426"/>
                <a:gd name="connsiteX1598" fmla="*/ 4812516 w 6386648"/>
                <a:gd name="connsiteY1598" fmla="*/ 539652 h 1849426"/>
                <a:gd name="connsiteX1599" fmla="*/ 4830540 w 6386648"/>
                <a:gd name="connsiteY1599" fmla="*/ 521628 h 1849426"/>
                <a:gd name="connsiteX1600" fmla="*/ 1514049 w 6386648"/>
                <a:gd name="connsiteY1600" fmla="*/ 521628 h 1849426"/>
                <a:gd name="connsiteX1601" fmla="*/ 1532074 w 6386648"/>
                <a:gd name="connsiteY1601" fmla="*/ 539652 h 1849426"/>
                <a:gd name="connsiteX1602" fmla="*/ 1514049 w 6386648"/>
                <a:gd name="connsiteY1602" fmla="*/ 557677 h 1849426"/>
                <a:gd name="connsiteX1603" fmla="*/ 1496025 w 6386648"/>
                <a:gd name="connsiteY1603" fmla="*/ 539652 h 1849426"/>
                <a:gd name="connsiteX1604" fmla="*/ 1514049 w 6386648"/>
                <a:gd name="connsiteY1604" fmla="*/ 521628 h 1849426"/>
                <a:gd name="connsiteX1605" fmla="*/ 6332574 w 6386648"/>
                <a:gd name="connsiteY1605" fmla="*/ 515620 h 1849426"/>
                <a:gd name="connsiteX1606" fmla="*/ 6350598 w 6386648"/>
                <a:gd name="connsiteY1606" fmla="*/ 533644 h 1849426"/>
                <a:gd name="connsiteX1607" fmla="*/ 6332574 w 6386648"/>
                <a:gd name="connsiteY1607" fmla="*/ 551669 h 1849426"/>
                <a:gd name="connsiteX1608" fmla="*/ 6314549 w 6386648"/>
                <a:gd name="connsiteY1608" fmla="*/ 533644 h 1849426"/>
                <a:gd name="connsiteX1609" fmla="*/ 6332574 w 6386648"/>
                <a:gd name="connsiteY1609" fmla="*/ 515620 h 1849426"/>
                <a:gd name="connsiteX1610" fmla="*/ 5893980 w 6386648"/>
                <a:gd name="connsiteY1610" fmla="*/ 509612 h 1849426"/>
                <a:gd name="connsiteX1611" fmla="*/ 5912005 w 6386648"/>
                <a:gd name="connsiteY1611" fmla="*/ 527636 h 1849426"/>
                <a:gd name="connsiteX1612" fmla="*/ 5893980 w 6386648"/>
                <a:gd name="connsiteY1612" fmla="*/ 545661 h 1849426"/>
                <a:gd name="connsiteX1613" fmla="*/ 5875956 w 6386648"/>
                <a:gd name="connsiteY1613" fmla="*/ 527636 h 1849426"/>
                <a:gd name="connsiteX1614" fmla="*/ 5893980 w 6386648"/>
                <a:gd name="connsiteY1614" fmla="*/ 509612 h 1849426"/>
                <a:gd name="connsiteX1615" fmla="*/ 3244392 w 6386648"/>
                <a:gd name="connsiteY1615" fmla="*/ 509612 h 1849426"/>
                <a:gd name="connsiteX1616" fmla="*/ 3262417 w 6386648"/>
                <a:gd name="connsiteY1616" fmla="*/ 527636 h 1849426"/>
                <a:gd name="connsiteX1617" fmla="*/ 3244392 w 6386648"/>
                <a:gd name="connsiteY1617" fmla="*/ 545661 h 1849426"/>
                <a:gd name="connsiteX1618" fmla="*/ 3226368 w 6386648"/>
                <a:gd name="connsiteY1618" fmla="*/ 527636 h 1849426"/>
                <a:gd name="connsiteX1619" fmla="*/ 3244392 w 6386648"/>
                <a:gd name="connsiteY1619" fmla="*/ 509612 h 1849426"/>
                <a:gd name="connsiteX1620" fmla="*/ 1982684 w 6386648"/>
                <a:gd name="connsiteY1620" fmla="*/ 509612 h 1849426"/>
                <a:gd name="connsiteX1621" fmla="*/ 2000709 w 6386648"/>
                <a:gd name="connsiteY1621" fmla="*/ 527636 h 1849426"/>
                <a:gd name="connsiteX1622" fmla="*/ 1982684 w 6386648"/>
                <a:gd name="connsiteY1622" fmla="*/ 545661 h 1849426"/>
                <a:gd name="connsiteX1623" fmla="*/ 1964660 w 6386648"/>
                <a:gd name="connsiteY1623" fmla="*/ 527636 h 1849426"/>
                <a:gd name="connsiteX1624" fmla="*/ 1982684 w 6386648"/>
                <a:gd name="connsiteY1624" fmla="*/ 509612 h 1849426"/>
                <a:gd name="connsiteX1625" fmla="*/ 5040825 w 6386648"/>
                <a:gd name="connsiteY1625" fmla="*/ 503604 h 1849426"/>
                <a:gd name="connsiteX1626" fmla="*/ 5058850 w 6386648"/>
                <a:gd name="connsiteY1626" fmla="*/ 521628 h 1849426"/>
                <a:gd name="connsiteX1627" fmla="*/ 5040825 w 6386648"/>
                <a:gd name="connsiteY1627" fmla="*/ 539653 h 1849426"/>
                <a:gd name="connsiteX1628" fmla="*/ 5022801 w 6386648"/>
                <a:gd name="connsiteY1628" fmla="*/ 521628 h 1849426"/>
                <a:gd name="connsiteX1629" fmla="*/ 5040825 w 6386648"/>
                <a:gd name="connsiteY1629" fmla="*/ 503604 h 1849426"/>
                <a:gd name="connsiteX1630" fmla="*/ 4926670 w 6386648"/>
                <a:gd name="connsiteY1630" fmla="*/ 503604 h 1849426"/>
                <a:gd name="connsiteX1631" fmla="*/ 4944695 w 6386648"/>
                <a:gd name="connsiteY1631" fmla="*/ 521628 h 1849426"/>
                <a:gd name="connsiteX1632" fmla="*/ 4926670 w 6386648"/>
                <a:gd name="connsiteY1632" fmla="*/ 539653 h 1849426"/>
                <a:gd name="connsiteX1633" fmla="*/ 4908646 w 6386648"/>
                <a:gd name="connsiteY1633" fmla="*/ 521628 h 1849426"/>
                <a:gd name="connsiteX1634" fmla="*/ 4926670 w 6386648"/>
                <a:gd name="connsiteY1634" fmla="*/ 503604 h 1849426"/>
                <a:gd name="connsiteX1635" fmla="*/ 5419337 w 6386648"/>
                <a:gd name="connsiteY1635" fmla="*/ 497596 h 1849426"/>
                <a:gd name="connsiteX1636" fmla="*/ 5437362 w 6386648"/>
                <a:gd name="connsiteY1636" fmla="*/ 515621 h 1849426"/>
                <a:gd name="connsiteX1637" fmla="*/ 5419337 w 6386648"/>
                <a:gd name="connsiteY1637" fmla="*/ 533645 h 1849426"/>
                <a:gd name="connsiteX1638" fmla="*/ 5401312 w 6386648"/>
                <a:gd name="connsiteY1638" fmla="*/ 515621 h 1849426"/>
                <a:gd name="connsiteX1639" fmla="*/ 5419337 w 6386648"/>
                <a:gd name="connsiteY1639" fmla="*/ 497596 h 1849426"/>
                <a:gd name="connsiteX1640" fmla="*/ 3610889 w 6386648"/>
                <a:gd name="connsiteY1640" fmla="*/ 497596 h 1849426"/>
                <a:gd name="connsiteX1641" fmla="*/ 3628914 w 6386648"/>
                <a:gd name="connsiteY1641" fmla="*/ 515621 h 1849426"/>
                <a:gd name="connsiteX1642" fmla="*/ 3610889 w 6386648"/>
                <a:gd name="connsiteY1642" fmla="*/ 533645 h 1849426"/>
                <a:gd name="connsiteX1643" fmla="*/ 3592865 w 6386648"/>
                <a:gd name="connsiteY1643" fmla="*/ 515621 h 1849426"/>
                <a:gd name="connsiteX1644" fmla="*/ 3610889 w 6386648"/>
                <a:gd name="connsiteY1644" fmla="*/ 497596 h 1849426"/>
                <a:gd name="connsiteX1645" fmla="*/ 967309 w 6386648"/>
                <a:gd name="connsiteY1645" fmla="*/ 497596 h 1849426"/>
                <a:gd name="connsiteX1646" fmla="*/ 985334 w 6386648"/>
                <a:gd name="connsiteY1646" fmla="*/ 515621 h 1849426"/>
                <a:gd name="connsiteX1647" fmla="*/ 967309 w 6386648"/>
                <a:gd name="connsiteY1647" fmla="*/ 533645 h 1849426"/>
                <a:gd name="connsiteX1648" fmla="*/ 949285 w 6386648"/>
                <a:gd name="connsiteY1648" fmla="*/ 515621 h 1849426"/>
                <a:gd name="connsiteX1649" fmla="*/ 967309 w 6386648"/>
                <a:gd name="connsiteY1649" fmla="*/ 497596 h 1849426"/>
                <a:gd name="connsiteX1650" fmla="*/ 450609 w 6386648"/>
                <a:gd name="connsiteY1650" fmla="*/ 497596 h 1849426"/>
                <a:gd name="connsiteX1651" fmla="*/ 468634 w 6386648"/>
                <a:gd name="connsiteY1651" fmla="*/ 515621 h 1849426"/>
                <a:gd name="connsiteX1652" fmla="*/ 450609 w 6386648"/>
                <a:gd name="connsiteY1652" fmla="*/ 533645 h 1849426"/>
                <a:gd name="connsiteX1653" fmla="*/ 432585 w 6386648"/>
                <a:gd name="connsiteY1653" fmla="*/ 515621 h 1849426"/>
                <a:gd name="connsiteX1654" fmla="*/ 450609 w 6386648"/>
                <a:gd name="connsiteY1654" fmla="*/ 497596 h 1849426"/>
                <a:gd name="connsiteX1655" fmla="*/ 4632272 w 6386648"/>
                <a:gd name="connsiteY1655" fmla="*/ 485580 h 1849426"/>
                <a:gd name="connsiteX1656" fmla="*/ 4650297 w 6386648"/>
                <a:gd name="connsiteY1656" fmla="*/ 503604 h 1849426"/>
                <a:gd name="connsiteX1657" fmla="*/ 4632272 w 6386648"/>
                <a:gd name="connsiteY1657" fmla="*/ 521629 h 1849426"/>
                <a:gd name="connsiteX1658" fmla="*/ 4614248 w 6386648"/>
                <a:gd name="connsiteY1658" fmla="*/ 503604 h 1849426"/>
                <a:gd name="connsiteX1659" fmla="*/ 4632272 w 6386648"/>
                <a:gd name="connsiteY1659" fmla="*/ 485580 h 1849426"/>
                <a:gd name="connsiteX1660" fmla="*/ 4379930 w 6386648"/>
                <a:gd name="connsiteY1660" fmla="*/ 485580 h 1849426"/>
                <a:gd name="connsiteX1661" fmla="*/ 4397955 w 6386648"/>
                <a:gd name="connsiteY1661" fmla="*/ 503604 h 1849426"/>
                <a:gd name="connsiteX1662" fmla="*/ 4379930 w 6386648"/>
                <a:gd name="connsiteY1662" fmla="*/ 521629 h 1849426"/>
                <a:gd name="connsiteX1663" fmla="*/ 4361906 w 6386648"/>
                <a:gd name="connsiteY1663" fmla="*/ 503604 h 1849426"/>
                <a:gd name="connsiteX1664" fmla="*/ 4379930 w 6386648"/>
                <a:gd name="connsiteY1664" fmla="*/ 485580 h 1849426"/>
                <a:gd name="connsiteX1665" fmla="*/ 5160987 w 6386648"/>
                <a:gd name="connsiteY1665" fmla="*/ 479571 h 1849426"/>
                <a:gd name="connsiteX1666" fmla="*/ 5179012 w 6386648"/>
                <a:gd name="connsiteY1666" fmla="*/ 497595 h 1849426"/>
                <a:gd name="connsiteX1667" fmla="*/ 5160987 w 6386648"/>
                <a:gd name="connsiteY1667" fmla="*/ 515620 h 1849426"/>
                <a:gd name="connsiteX1668" fmla="*/ 5142963 w 6386648"/>
                <a:gd name="connsiteY1668" fmla="*/ 497595 h 1849426"/>
                <a:gd name="connsiteX1669" fmla="*/ 5160987 w 6386648"/>
                <a:gd name="connsiteY1669" fmla="*/ 479571 h 1849426"/>
                <a:gd name="connsiteX1670" fmla="*/ 4241743 w 6386648"/>
                <a:gd name="connsiteY1670" fmla="*/ 479571 h 1849426"/>
                <a:gd name="connsiteX1671" fmla="*/ 4259768 w 6386648"/>
                <a:gd name="connsiteY1671" fmla="*/ 497595 h 1849426"/>
                <a:gd name="connsiteX1672" fmla="*/ 4241743 w 6386648"/>
                <a:gd name="connsiteY1672" fmla="*/ 515620 h 1849426"/>
                <a:gd name="connsiteX1673" fmla="*/ 4223719 w 6386648"/>
                <a:gd name="connsiteY1673" fmla="*/ 497595 h 1849426"/>
                <a:gd name="connsiteX1674" fmla="*/ 4241743 w 6386648"/>
                <a:gd name="connsiteY1674" fmla="*/ 479571 h 1849426"/>
                <a:gd name="connsiteX1675" fmla="*/ 3821173 w 6386648"/>
                <a:gd name="connsiteY1675" fmla="*/ 479571 h 1849426"/>
                <a:gd name="connsiteX1676" fmla="*/ 3839198 w 6386648"/>
                <a:gd name="connsiteY1676" fmla="*/ 497595 h 1849426"/>
                <a:gd name="connsiteX1677" fmla="*/ 3821173 w 6386648"/>
                <a:gd name="connsiteY1677" fmla="*/ 515620 h 1849426"/>
                <a:gd name="connsiteX1678" fmla="*/ 3803149 w 6386648"/>
                <a:gd name="connsiteY1678" fmla="*/ 497595 h 1849426"/>
                <a:gd name="connsiteX1679" fmla="*/ 3821173 w 6386648"/>
                <a:gd name="connsiteY1679" fmla="*/ 479571 h 1849426"/>
                <a:gd name="connsiteX1680" fmla="*/ 3364555 w 6386648"/>
                <a:gd name="connsiteY1680" fmla="*/ 479571 h 1849426"/>
                <a:gd name="connsiteX1681" fmla="*/ 3382580 w 6386648"/>
                <a:gd name="connsiteY1681" fmla="*/ 497595 h 1849426"/>
                <a:gd name="connsiteX1682" fmla="*/ 3364555 w 6386648"/>
                <a:gd name="connsiteY1682" fmla="*/ 515620 h 1849426"/>
                <a:gd name="connsiteX1683" fmla="*/ 3346531 w 6386648"/>
                <a:gd name="connsiteY1683" fmla="*/ 497595 h 1849426"/>
                <a:gd name="connsiteX1684" fmla="*/ 3364555 w 6386648"/>
                <a:gd name="connsiteY1684" fmla="*/ 479571 h 1849426"/>
                <a:gd name="connsiteX1685" fmla="*/ 1093480 w 6386648"/>
                <a:gd name="connsiteY1685" fmla="*/ 479571 h 1849426"/>
                <a:gd name="connsiteX1686" fmla="*/ 1111505 w 6386648"/>
                <a:gd name="connsiteY1686" fmla="*/ 497595 h 1849426"/>
                <a:gd name="connsiteX1687" fmla="*/ 1093480 w 6386648"/>
                <a:gd name="connsiteY1687" fmla="*/ 515620 h 1849426"/>
                <a:gd name="connsiteX1688" fmla="*/ 1075456 w 6386648"/>
                <a:gd name="connsiteY1688" fmla="*/ 497595 h 1849426"/>
                <a:gd name="connsiteX1689" fmla="*/ 1093480 w 6386648"/>
                <a:gd name="connsiteY1689" fmla="*/ 479571 h 1849426"/>
                <a:gd name="connsiteX1690" fmla="*/ 5299175 w 6386648"/>
                <a:gd name="connsiteY1690" fmla="*/ 473563 h 1849426"/>
                <a:gd name="connsiteX1691" fmla="*/ 5317200 w 6386648"/>
                <a:gd name="connsiteY1691" fmla="*/ 491587 h 1849426"/>
                <a:gd name="connsiteX1692" fmla="*/ 5299175 w 6386648"/>
                <a:gd name="connsiteY1692" fmla="*/ 509612 h 1849426"/>
                <a:gd name="connsiteX1693" fmla="*/ 5281150 w 6386648"/>
                <a:gd name="connsiteY1693" fmla="*/ 491587 h 1849426"/>
                <a:gd name="connsiteX1694" fmla="*/ 5299175 w 6386648"/>
                <a:gd name="connsiteY1694" fmla="*/ 473563 h 1849426"/>
                <a:gd name="connsiteX1695" fmla="*/ 4506101 w 6386648"/>
                <a:gd name="connsiteY1695" fmla="*/ 473563 h 1849426"/>
                <a:gd name="connsiteX1696" fmla="*/ 4524126 w 6386648"/>
                <a:gd name="connsiteY1696" fmla="*/ 491587 h 1849426"/>
                <a:gd name="connsiteX1697" fmla="*/ 4506101 w 6386648"/>
                <a:gd name="connsiteY1697" fmla="*/ 509612 h 1849426"/>
                <a:gd name="connsiteX1698" fmla="*/ 4488077 w 6386648"/>
                <a:gd name="connsiteY1698" fmla="*/ 491587 h 1849426"/>
                <a:gd name="connsiteX1699" fmla="*/ 4506101 w 6386648"/>
                <a:gd name="connsiteY1699" fmla="*/ 473563 h 1849426"/>
                <a:gd name="connsiteX1700" fmla="*/ 4115572 w 6386648"/>
                <a:gd name="connsiteY1700" fmla="*/ 473563 h 1849426"/>
                <a:gd name="connsiteX1701" fmla="*/ 4133597 w 6386648"/>
                <a:gd name="connsiteY1701" fmla="*/ 491587 h 1849426"/>
                <a:gd name="connsiteX1702" fmla="*/ 4115572 w 6386648"/>
                <a:gd name="connsiteY1702" fmla="*/ 509612 h 1849426"/>
                <a:gd name="connsiteX1703" fmla="*/ 4097548 w 6386648"/>
                <a:gd name="connsiteY1703" fmla="*/ 491587 h 1849426"/>
                <a:gd name="connsiteX1704" fmla="*/ 4115572 w 6386648"/>
                <a:gd name="connsiteY1704" fmla="*/ 473563 h 1849426"/>
                <a:gd name="connsiteX1705" fmla="*/ 2295107 w 6386648"/>
                <a:gd name="connsiteY1705" fmla="*/ 473563 h 1849426"/>
                <a:gd name="connsiteX1706" fmla="*/ 2313132 w 6386648"/>
                <a:gd name="connsiteY1706" fmla="*/ 491587 h 1849426"/>
                <a:gd name="connsiteX1707" fmla="*/ 2295107 w 6386648"/>
                <a:gd name="connsiteY1707" fmla="*/ 509612 h 1849426"/>
                <a:gd name="connsiteX1708" fmla="*/ 2277083 w 6386648"/>
                <a:gd name="connsiteY1708" fmla="*/ 491587 h 1849426"/>
                <a:gd name="connsiteX1709" fmla="*/ 2295107 w 6386648"/>
                <a:gd name="connsiteY1709" fmla="*/ 473563 h 1849426"/>
                <a:gd name="connsiteX1710" fmla="*/ 1838489 w 6386648"/>
                <a:gd name="connsiteY1710" fmla="*/ 473563 h 1849426"/>
                <a:gd name="connsiteX1711" fmla="*/ 1856514 w 6386648"/>
                <a:gd name="connsiteY1711" fmla="*/ 491587 h 1849426"/>
                <a:gd name="connsiteX1712" fmla="*/ 1838489 w 6386648"/>
                <a:gd name="connsiteY1712" fmla="*/ 509612 h 1849426"/>
                <a:gd name="connsiteX1713" fmla="*/ 1820465 w 6386648"/>
                <a:gd name="connsiteY1713" fmla="*/ 491587 h 1849426"/>
                <a:gd name="connsiteX1714" fmla="*/ 1838489 w 6386648"/>
                <a:gd name="connsiteY1714" fmla="*/ 473563 h 1849426"/>
                <a:gd name="connsiteX1715" fmla="*/ 2889912 w 6386648"/>
                <a:gd name="connsiteY1715" fmla="*/ 467555 h 1849426"/>
                <a:gd name="connsiteX1716" fmla="*/ 2907937 w 6386648"/>
                <a:gd name="connsiteY1716" fmla="*/ 485580 h 1849426"/>
                <a:gd name="connsiteX1717" fmla="*/ 2889912 w 6386648"/>
                <a:gd name="connsiteY1717" fmla="*/ 503604 h 1849426"/>
                <a:gd name="connsiteX1718" fmla="*/ 2871888 w 6386648"/>
                <a:gd name="connsiteY1718" fmla="*/ 485580 h 1849426"/>
                <a:gd name="connsiteX1719" fmla="*/ 2889912 w 6386648"/>
                <a:gd name="connsiteY1719" fmla="*/ 467555 h 1849426"/>
                <a:gd name="connsiteX1720" fmla="*/ 2108855 w 6386648"/>
                <a:gd name="connsiteY1720" fmla="*/ 467555 h 1849426"/>
                <a:gd name="connsiteX1721" fmla="*/ 2126880 w 6386648"/>
                <a:gd name="connsiteY1721" fmla="*/ 485580 h 1849426"/>
                <a:gd name="connsiteX1722" fmla="*/ 2108855 w 6386648"/>
                <a:gd name="connsiteY1722" fmla="*/ 503604 h 1849426"/>
                <a:gd name="connsiteX1723" fmla="*/ 2090831 w 6386648"/>
                <a:gd name="connsiteY1723" fmla="*/ 485580 h 1849426"/>
                <a:gd name="connsiteX1724" fmla="*/ 2108855 w 6386648"/>
                <a:gd name="connsiteY1724" fmla="*/ 467555 h 1849426"/>
                <a:gd name="connsiteX1725" fmla="*/ 1616189 w 6386648"/>
                <a:gd name="connsiteY1725" fmla="*/ 467555 h 1849426"/>
                <a:gd name="connsiteX1726" fmla="*/ 1634213 w 6386648"/>
                <a:gd name="connsiteY1726" fmla="*/ 485580 h 1849426"/>
                <a:gd name="connsiteX1727" fmla="*/ 1616189 w 6386648"/>
                <a:gd name="connsiteY1727" fmla="*/ 503604 h 1849426"/>
                <a:gd name="connsiteX1728" fmla="*/ 1598164 w 6386648"/>
                <a:gd name="connsiteY1728" fmla="*/ 485580 h 1849426"/>
                <a:gd name="connsiteX1729" fmla="*/ 1616189 w 6386648"/>
                <a:gd name="connsiteY1729" fmla="*/ 467555 h 1849426"/>
                <a:gd name="connsiteX1730" fmla="*/ 330447 w 6386648"/>
                <a:gd name="connsiteY1730" fmla="*/ 467555 h 1849426"/>
                <a:gd name="connsiteX1731" fmla="*/ 348472 w 6386648"/>
                <a:gd name="connsiteY1731" fmla="*/ 485580 h 1849426"/>
                <a:gd name="connsiteX1732" fmla="*/ 330447 w 6386648"/>
                <a:gd name="connsiteY1732" fmla="*/ 503604 h 1849426"/>
                <a:gd name="connsiteX1733" fmla="*/ 312423 w 6386648"/>
                <a:gd name="connsiteY1733" fmla="*/ 485580 h 1849426"/>
                <a:gd name="connsiteX1734" fmla="*/ 330447 w 6386648"/>
                <a:gd name="connsiteY1734" fmla="*/ 467555 h 1849426"/>
                <a:gd name="connsiteX1735" fmla="*/ 3935328 w 6386648"/>
                <a:gd name="connsiteY1735" fmla="*/ 461547 h 1849426"/>
                <a:gd name="connsiteX1736" fmla="*/ 3953353 w 6386648"/>
                <a:gd name="connsiteY1736" fmla="*/ 479571 h 1849426"/>
                <a:gd name="connsiteX1737" fmla="*/ 3935328 w 6386648"/>
                <a:gd name="connsiteY1737" fmla="*/ 497596 h 1849426"/>
                <a:gd name="connsiteX1738" fmla="*/ 3917304 w 6386648"/>
                <a:gd name="connsiteY1738" fmla="*/ 479571 h 1849426"/>
                <a:gd name="connsiteX1739" fmla="*/ 3935328 w 6386648"/>
                <a:gd name="connsiteY1739" fmla="*/ 461547 h 1849426"/>
                <a:gd name="connsiteX1740" fmla="*/ 6224427 w 6386648"/>
                <a:gd name="connsiteY1740" fmla="*/ 455539 h 1849426"/>
                <a:gd name="connsiteX1741" fmla="*/ 6242452 w 6386648"/>
                <a:gd name="connsiteY1741" fmla="*/ 473563 h 1849426"/>
                <a:gd name="connsiteX1742" fmla="*/ 6224427 w 6386648"/>
                <a:gd name="connsiteY1742" fmla="*/ 491588 h 1849426"/>
                <a:gd name="connsiteX1743" fmla="*/ 6206403 w 6386648"/>
                <a:gd name="connsiteY1743" fmla="*/ 473563 h 1849426"/>
                <a:gd name="connsiteX1744" fmla="*/ 6224427 w 6386648"/>
                <a:gd name="connsiteY1744" fmla="*/ 455539 h 1849426"/>
                <a:gd name="connsiteX1745" fmla="*/ 6110273 w 6386648"/>
                <a:gd name="connsiteY1745" fmla="*/ 455539 h 1849426"/>
                <a:gd name="connsiteX1746" fmla="*/ 6128298 w 6386648"/>
                <a:gd name="connsiteY1746" fmla="*/ 473563 h 1849426"/>
                <a:gd name="connsiteX1747" fmla="*/ 6110273 w 6386648"/>
                <a:gd name="connsiteY1747" fmla="*/ 491588 h 1849426"/>
                <a:gd name="connsiteX1748" fmla="*/ 6092248 w 6386648"/>
                <a:gd name="connsiteY1748" fmla="*/ 473563 h 1849426"/>
                <a:gd name="connsiteX1749" fmla="*/ 6110273 w 6386648"/>
                <a:gd name="connsiteY1749" fmla="*/ 455539 h 1849426"/>
                <a:gd name="connsiteX1750" fmla="*/ 3496734 w 6386648"/>
                <a:gd name="connsiteY1750" fmla="*/ 455539 h 1849426"/>
                <a:gd name="connsiteX1751" fmla="*/ 3514759 w 6386648"/>
                <a:gd name="connsiteY1751" fmla="*/ 473563 h 1849426"/>
                <a:gd name="connsiteX1752" fmla="*/ 3496734 w 6386648"/>
                <a:gd name="connsiteY1752" fmla="*/ 491588 h 1849426"/>
                <a:gd name="connsiteX1753" fmla="*/ 3478709 w 6386648"/>
                <a:gd name="connsiteY1753" fmla="*/ 473563 h 1849426"/>
                <a:gd name="connsiteX1754" fmla="*/ 3496734 w 6386648"/>
                <a:gd name="connsiteY1754" fmla="*/ 455539 h 1849426"/>
                <a:gd name="connsiteX1755" fmla="*/ 1333805 w 6386648"/>
                <a:gd name="connsiteY1755" fmla="*/ 455539 h 1849426"/>
                <a:gd name="connsiteX1756" fmla="*/ 1351830 w 6386648"/>
                <a:gd name="connsiteY1756" fmla="*/ 473563 h 1849426"/>
                <a:gd name="connsiteX1757" fmla="*/ 1333805 w 6386648"/>
                <a:gd name="connsiteY1757" fmla="*/ 491588 h 1849426"/>
                <a:gd name="connsiteX1758" fmla="*/ 1315781 w 6386648"/>
                <a:gd name="connsiteY1758" fmla="*/ 473563 h 1849426"/>
                <a:gd name="connsiteX1759" fmla="*/ 1333805 w 6386648"/>
                <a:gd name="connsiteY1759" fmla="*/ 455539 h 1849426"/>
                <a:gd name="connsiteX1760" fmla="*/ 2727693 w 6386648"/>
                <a:gd name="connsiteY1760" fmla="*/ 449531 h 1849426"/>
                <a:gd name="connsiteX1761" fmla="*/ 2745718 w 6386648"/>
                <a:gd name="connsiteY1761" fmla="*/ 467555 h 1849426"/>
                <a:gd name="connsiteX1762" fmla="*/ 2727693 w 6386648"/>
                <a:gd name="connsiteY1762" fmla="*/ 485580 h 1849426"/>
                <a:gd name="connsiteX1763" fmla="*/ 2709669 w 6386648"/>
                <a:gd name="connsiteY1763" fmla="*/ 467555 h 1849426"/>
                <a:gd name="connsiteX1764" fmla="*/ 2727693 w 6386648"/>
                <a:gd name="connsiteY1764" fmla="*/ 449531 h 1849426"/>
                <a:gd name="connsiteX1765" fmla="*/ 2607530 w 6386648"/>
                <a:gd name="connsiteY1765" fmla="*/ 449531 h 1849426"/>
                <a:gd name="connsiteX1766" fmla="*/ 2625555 w 6386648"/>
                <a:gd name="connsiteY1766" fmla="*/ 467555 h 1849426"/>
                <a:gd name="connsiteX1767" fmla="*/ 2607530 w 6386648"/>
                <a:gd name="connsiteY1767" fmla="*/ 485580 h 1849426"/>
                <a:gd name="connsiteX1768" fmla="*/ 2589506 w 6386648"/>
                <a:gd name="connsiteY1768" fmla="*/ 467555 h 1849426"/>
                <a:gd name="connsiteX1769" fmla="*/ 2607530 w 6386648"/>
                <a:gd name="connsiteY1769" fmla="*/ 449531 h 1849426"/>
                <a:gd name="connsiteX1770" fmla="*/ 5797850 w 6386648"/>
                <a:gd name="connsiteY1770" fmla="*/ 443523 h 1849426"/>
                <a:gd name="connsiteX1771" fmla="*/ 5815875 w 6386648"/>
                <a:gd name="connsiteY1771" fmla="*/ 461547 h 1849426"/>
                <a:gd name="connsiteX1772" fmla="*/ 5797850 w 6386648"/>
                <a:gd name="connsiteY1772" fmla="*/ 479572 h 1849426"/>
                <a:gd name="connsiteX1773" fmla="*/ 5779826 w 6386648"/>
                <a:gd name="connsiteY1773" fmla="*/ 461547 h 1849426"/>
                <a:gd name="connsiteX1774" fmla="*/ 5797850 w 6386648"/>
                <a:gd name="connsiteY1774" fmla="*/ 443523 h 1849426"/>
                <a:gd name="connsiteX1775" fmla="*/ 5653655 w 6386648"/>
                <a:gd name="connsiteY1775" fmla="*/ 443523 h 1849426"/>
                <a:gd name="connsiteX1776" fmla="*/ 5671680 w 6386648"/>
                <a:gd name="connsiteY1776" fmla="*/ 461547 h 1849426"/>
                <a:gd name="connsiteX1777" fmla="*/ 5653655 w 6386648"/>
                <a:gd name="connsiteY1777" fmla="*/ 479572 h 1849426"/>
                <a:gd name="connsiteX1778" fmla="*/ 5635631 w 6386648"/>
                <a:gd name="connsiteY1778" fmla="*/ 461547 h 1849426"/>
                <a:gd name="connsiteX1779" fmla="*/ 5653655 w 6386648"/>
                <a:gd name="connsiteY1779" fmla="*/ 443523 h 1849426"/>
                <a:gd name="connsiteX1780" fmla="*/ 96129 w 6386648"/>
                <a:gd name="connsiteY1780" fmla="*/ 437514 h 1849426"/>
                <a:gd name="connsiteX1781" fmla="*/ 114154 w 6386648"/>
                <a:gd name="connsiteY1781" fmla="*/ 455539 h 1849426"/>
                <a:gd name="connsiteX1782" fmla="*/ 96129 w 6386648"/>
                <a:gd name="connsiteY1782" fmla="*/ 473563 h 1849426"/>
                <a:gd name="connsiteX1783" fmla="*/ 78105 w 6386648"/>
                <a:gd name="connsiteY1783" fmla="*/ 455539 h 1849426"/>
                <a:gd name="connsiteX1784" fmla="*/ 96129 w 6386648"/>
                <a:gd name="connsiteY1784" fmla="*/ 437514 h 1849426"/>
                <a:gd name="connsiteX1785" fmla="*/ 3058140 w 6386648"/>
                <a:gd name="connsiteY1785" fmla="*/ 431506 h 1849426"/>
                <a:gd name="connsiteX1786" fmla="*/ 3076165 w 6386648"/>
                <a:gd name="connsiteY1786" fmla="*/ 449530 h 1849426"/>
                <a:gd name="connsiteX1787" fmla="*/ 3058140 w 6386648"/>
                <a:gd name="connsiteY1787" fmla="*/ 467555 h 1849426"/>
                <a:gd name="connsiteX1788" fmla="*/ 3040116 w 6386648"/>
                <a:gd name="connsiteY1788" fmla="*/ 449530 h 1849426"/>
                <a:gd name="connsiteX1789" fmla="*/ 3058140 w 6386648"/>
                <a:gd name="connsiteY1789" fmla="*/ 431506 h 1849426"/>
                <a:gd name="connsiteX1790" fmla="*/ 2493375 w 6386648"/>
                <a:gd name="connsiteY1790" fmla="*/ 431506 h 1849426"/>
                <a:gd name="connsiteX1791" fmla="*/ 2511400 w 6386648"/>
                <a:gd name="connsiteY1791" fmla="*/ 449530 h 1849426"/>
                <a:gd name="connsiteX1792" fmla="*/ 2493375 w 6386648"/>
                <a:gd name="connsiteY1792" fmla="*/ 467555 h 1849426"/>
                <a:gd name="connsiteX1793" fmla="*/ 2475351 w 6386648"/>
                <a:gd name="connsiteY1793" fmla="*/ 449530 h 1849426"/>
                <a:gd name="connsiteX1794" fmla="*/ 2493375 w 6386648"/>
                <a:gd name="connsiteY1794" fmla="*/ 431506 h 1849426"/>
                <a:gd name="connsiteX1795" fmla="*/ 216292 w 6386648"/>
                <a:gd name="connsiteY1795" fmla="*/ 431506 h 1849426"/>
                <a:gd name="connsiteX1796" fmla="*/ 234317 w 6386648"/>
                <a:gd name="connsiteY1796" fmla="*/ 449530 h 1849426"/>
                <a:gd name="connsiteX1797" fmla="*/ 216292 w 6386648"/>
                <a:gd name="connsiteY1797" fmla="*/ 467555 h 1849426"/>
                <a:gd name="connsiteX1798" fmla="*/ 198268 w 6386648"/>
                <a:gd name="connsiteY1798" fmla="*/ 449530 h 1849426"/>
                <a:gd name="connsiteX1799" fmla="*/ 216292 w 6386648"/>
                <a:gd name="connsiteY1799" fmla="*/ 431506 h 1849426"/>
                <a:gd name="connsiteX1800" fmla="*/ 4758442 w 6386648"/>
                <a:gd name="connsiteY1800" fmla="*/ 425498 h 1849426"/>
                <a:gd name="connsiteX1801" fmla="*/ 4776467 w 6386648"/>
                <a:gd name="connsiteY1801" fmla="*/ 443522 h 1849426"/>
                <a:gd name="connsiteX1802" fmla="*/ 4758442 w 6386648"/>
                <a:gd name="connsiteY1802" fmla="*/ 461547 h 1849426"/>
                <a:gd name="connsiteX1803" fmla="*/ 4740417 w 6386648"/>
                <a:gd name="connsiteY1803" fmla="*/ 443522 h 1849426"/>
                <a:gd name="connsiteX1804" fmla="*/ 4758442 w 6386648"/>
                <a:gd name="connsiteY1804" fmla="*/ 425498 h 1849426"/>
                <a:gd name="connsiteX1805" fmla="*/ 1453968 w 6386648"/>
                <a:gd name="connsiteY1805" fmla="*/ 425498 h 1849426"/>
                <a:gd name="connsiteX1806" fmla="*/ 1471993 w 6386648"/>
                <a:gd name="connsiteY1806" fmla="*/ 443522 h 1849426"/>
                <a:gd name="connsiteX1807" fmla="*/ 1453968 w 6386648"/>
                <a:gd name="connsiteY1807" fmla="*/ 461547 h 1849426"/>
                <a:gd name="connsiteX1808" fmla="*/ 1435944 w 6386648"/>
                <a:gd name="connsiteY1808" fmla="*/ 443522 h 1849426"/>
                <a:gd name="connsiteX1809" fmla="*/ 1453968 w 6386648"/>
                <a:gd name="connsiteY1809" fmla="*/ 425498 h 1849426"/>
                <a:gd name="connsiteX1810" fmla="*/ 552748 w 6386648"/>
                <a:gd name="connsiteY1810" fmla="*/ 425498 h 1849426"/>
                <a:gd name="connsiteX1811" fmla="*/ 570773 w 6386648"/>
                <a:gd name="connsiteY1811" fmla="*/ 443522 h 1849426"/>
                <a:gd name="connsiteX1812" fmla="*/ 552748 w 6386648"/>
                <a:gd name="connsiteY1812" fmla="*/ 461547 h 1849426"/>
                <a:gd name="connsiteX1813" fmla="*/ 534724 w 6386648"/>
                <a:gd name="connsiteY1813" fmla="*/ 443522 h 1849426"/>
                <a:gd name="connsiteX1814" fmla="*/ 552748 w 6386648"/>
                <a:gd name="connsiteY1814" fmla="*/ 425498 h 1849426"/>
                <a:gd name="connsiteX1815" fmla="*/ 1742358 w 6386648"/>
                <a:gd name="connsiteY1815" fmla="*/ 419490 h 1849426"/>
                <a:gd name="connsiteX1816" fmla="*/ 1760383 w 6386648"/>
                <a:gd name="connsiteY1816" fmla="*/ 437514 h 1849426"/>
                <a:gd name="connsiteX1817" fmla="*/ 1742358 w 6386648"/>
                <a:gd name="connsiteY1817" fmla="*/ 455539 h 1849426"/>
                <a:gd name="connsiteX1818" fmla="*/ 1724334 w 6386648"/>
                <a:gd name="connsiteY1818" fmla="*/ 437514 h 1849426"/>
                <a:gd name="connsiteX1819" fmla="*/ 1742358 w 6386648"/>
                <a:gd name="connsiteY1819" fmla="*/ 419490 h 1849426"/>
                <a:gd name="connsiteX1820" fmla="*/ 1183602 w 6386648"/>
                <a:gd name="connsiteY1820" fmla="*/ 413482 h 1849426"/>
                <a:gd name="connsiteX1821" fmla="*/ 1201627 w 6386648"/>
                <a:gd name="connsiteY1821" fmla="*/ 431506 h 1849426"/>
                <a:gd name="connsiteX1822" fmla="*/ 1183602 w 6386648"/>
                <a:gd name="connsiteY1822" fmla="*/ 449531 h 1849426"/>
                <a:gd name="connsiteX1823" fmla="*/ 1165578 w 6386648"/>
                <a:gd name="connsiteY1823" fmla="*/ 431506 h 1849426"/>
                <a:gd name="connsiteX1824" fmla="*/ 1183602 w 6386648"/>
                <a:gd name="connsiteY1824" fmla="*/ 413482 h 1849426"/>
                <a:gd name="connsiteX1825" fmla="*/ 895212 w 6386648"/>
                <a:gd name="connsiteY1825" fmla="*/ 413482 h 1849426"/>
                <a:gd name="connsiteX1826" fmla="*/ 913236 w 6386648"/>
                <a:gd name="connsiteY1826" fmla="*/ 431506 h 1849426"/>
                <a:gd name="connsiteX1827" fmla="*/ 895212 w 6386648"/>
                <a:gd name="connsiteY1827" fmla="*/ 449531 h 1849426"/>
                <a:gd name="connsiteX1828" fmla="*/ 877187 w 6386648"/>
                <a:gd name="connsiteY1828" fmla="*/ 431506 h 1849426"/>
                <a:gd name="connsiteX1829" fmla="*/ 895212 w 6386648"/>
                <a:gd name="connsiteY1829" fmla="*/ 413482 h 1849426"/>
                <a:gd name="connsiteX1830" fmla="*/ 672910 w 6386648"/>
                <a:gd name="connsiteY1830" fmla="*/ 413482 h 1849426"/>
                <a:gd name="connsiteX1831" fmla="*/ 690935 w 6386648"/>
                <a:gd name="connsiteY1831" fmla="*/ 431506 h 1849426"/>
                <a:gd name="connsiteX1832" fmla="*/ 672910 w 6386648"/>
                <a:gd name="connsiteY1832" fmla="*/ 449531 h 1849426"/>
                <a:gd name="connsiteX1833" fmla="*/ 654886 w 6386648"/>
                <a:gd name="connsiteY1833" fmla="*/ 431506 h 1849426"/>
                <a:gd name="connsiteX1834" fmla="*/ 672910 w 6386648"/>
                <a:gd name="connsiteY1834" fmla="*/ 413482 h 1849426"/>
                <a:gd name="connsiteX1835" fmla="*/ 3719035 w 6386648"/>
                <a:gd name="connsiteY1835" fmla="*/ 407474 h 1849426"/>
                <a:gd name="connsiteX1836" fmla="*/ 3737060 w 6386648"/>
                <a:gd name="connsiteY1836" fmla="*/ 425499 h 1849426"/>
                <a:gd name="connsiteX1837" fmla="*/ 3719035 w 6386648"/>
                <a:gd name="connsiteY1837" fmla="*/ 443523 h 1849426"/>
                <a:gd name="connsiteX1838" fmla="*/ 3701011 w 6386648"/>
                <a:gd name="connsiteY1838" fmla="*/ 425499 h 1849426"/>
                <a:gd name="connsiteX1839" fmla="*/ 3719035 w 6386648"/>
                <a:gd name="connsiteY1839" fmla="*/ 407474 h 1849426"/>
                <a:gd name="connsiteX1840" fmla="*/ 6002126 w 6386648"/>
                <a:gd name="connsiteY1840" fmla="*/ 401466 h 1849426"/>
                <a:gd name="connsiteX1841" fmla="*/ 6020151 w 6386648"/>
                <a:gd name="connsiteY1841" fmla="*/ 419490 h 1849426"/>
                <a:gd name="connsiteX1842" fmla="*/ 6002126 w 6386648"/>
                <a:gd name="connsiteY1842" fmla="*/ 437515 h 1849426"/>
                <a:gd name="connsiteX1843" fmla="*/ 5984102 w 6386648"/>
                <a:gd name="connsiteY1843" fmla="*/ 419490 h 1849426"/>
                <a:gd name="connsiteX1844" fmla="*/ 6002126 w 6386648"/>
                <a:gd name="connsiteY1844" fmla="*/ 401466 h 1849426"/>
                <a:gd name="connsiteX1845" fmla="*/ 1970668 w 6386648"/>
                <a:gd name="connsiteY1845" fmla="*/ 401466 h 1849426"/>
                <a:gd name="connsiteX1846" fmla="*/ 1988693 w 6386648"/>
                <a:gd name="connsiteY1846" fmla="*/ 419490 h 1849426"/>
                <a:gd name="connsiteX1847" fmla="*/ 1970668 w 6386648"/>
                <a:gd name="connsiteY1847" fmla="*/ 437515 h 1849426"/>
                <a:gd name="connsiteX1848" fmla="*/ 1952644 w 6386648"/>
                <a:gd name="connsiteY1848" fmla="*/ 419490 h 1849426"/>
                <a:gd name="connsiteX1849" fmla="*/ 1970668 w 6386648"/>
                <a:gd name="connsiteY1849" fmla="*/ 401466 h 1849426"/>
                <a:gd name="connsiteX1850" fmla="*/ 5533492 w 6386648"/>
                <a:gd name="connsiteY1850" fmla="*/ 395457 h 1849426"/>
                <a:gd name="connsiteX1851" fmla="*/ 5551517 w 6386648"/>
                <a:gd name="connsiteY1851" fmla="*/ 413481 h 1849426"/>
                <a:gd name="connsiteX1852" fmla="*/ 5533492 w 6386648"/>
                <a:gd name="connsiteY1852" fmla="*/ 431506 h 1849426"/>
                <a:gd name="connsiteX1853" fmla="*/ 5515468 w 6386648"/>
                <a:gd name="connsiteY1853" fmla="*/ 413481 h 1849426"/>
                <a:gd name="connsiteX1854" fmla="*/ 5533492 w 6386648"/>
                <a:gd name="connsiteY1854" fmla="*/ 395457 h 1849426"/>
                <a:gd name="connsiteX1855" fmla="*/ 3166287 w 6386648"/>
                <a:gd name="connsiteY1855" fmla="*/ 395457 h 1849426"/>
                <a:gd name="connsiteX1856" fmla="*/ 3184312 w 6386648"/>
                <a:gd name="connsiteY1856" fmla="*/ 413481 h 1849426"/>
                <a:gd name="connsiteX1857" fmla="*/ 3166287 w 6386648"/>
                <a:gd name="connsiteY1857" fmla="*/ 431506 h 1849426"/>
                <a:gd name="connsiteX1858" fmla="*/ 3148262 w 6386648"/>
                <a:gd name="connsiteY1858" fmla="*/ 413481 h 1849426"/>
                <a:gd name="connsiteX1859" fmla="*/ 3166287 w 6386648"/>
                <a:gd name="connsiteY1859" fmla="*/ 395457 h 1849426"/>
                <a:gd name="connsiteX1860" fmla="*/ 2373213 w 6386648"/>
                <a:gd name="connsiteY1860" fmla="*/ 395457 h 1849426"/>
                <a:gd name="connsiteX1861" fmla="*/ 2391238 w 6386648"/>
                <a:gd name="connsiteY1861" fmla="*/ 413481 h 1849426"/>
                <a:gd name="connsiteX1862" fmla="*/ 2373213 w 6386648"/>
                <a:gd name="connsiteY1862" fmla="*/ 431506 h 1849426"/>
                <a:gd name="connsiteX1863" fmla="*/ 2355189 w 6386648"/>
                <a:gd name="connsiteY1863" fmla="*/ 413481 h 1849426"/>
                <a:gd name="connsiteX1864" fmla="*/ 2373213 w 6386648"/>
                <a:gd name="connsiteY1864" fmla="*/ 395457 h 1849426"/>
                <a:gd name="connsiteX1865" fmla="*/ 787065 w 6386648"/>
                <a:gd name="connsiteY1865" fmla="*/ 395457 h 1849426"/>
                <a:gd name="connsiteX1866" fmla="*/ 805090 w 6386648"/>
                <a:gd name="connsiteY1866" fmla="*/ 413481 h 1849426"/>
                <a:gd name="connsiteX1867" fmla="*/ 787065 w 6386648"/>
                <a:gd name="connsiteY1867" fmla="*/ 431506 h 1849426"/>
                <a:gd name="connsiteX1868" fmla="*/ 769041 w 6386648"/>
                <a:gd name="connsiteY1868" fmla="*/ 413481 h 1849426"/>
                <a:gd name="connsiteX1869" fmla="*/ 787065 w 6386648"/>
                <a:gd name="connsiteY1869" fmla="*/ 395457 h 1849426"/>
                <a:gd name="connsiteX1870" fmla="*/ 6344591 w 6386648"/>
                <a:gd name="connsiteY1870" fmla="*/ 389449 h 1849426"/>
                <a:gd name="connsiteX1871" fmla="*/ 6362615 w 6386648"/>
                <a:gd name="connsiteY1871" fmla="*/ 407473 h 1849426"/>
                <a:gd name="connsiteX1872" fmla="*/ 6344591 w 6386648"/>
                <a:gd name="connsiteY1872" fmla="*/ 425498 h 1849426"/>
                <a:gd name="connsiteX1873" fmla="*/ 6326566 w 6386648"/>
                <a:gd name="connsiteY1873" fmla="*/ 407473 h 1849426"/>
                <a:gd name="connsiteX1874" fmla="*/ 6344591 w 6386648"/>
                <a:gd name="connsiteY1874" fmla="*/ 389449 h 1849426"/>
                <a:gd name="connsiteX1875" fmla="*/ 5407321 w 6386648"/>
                <a:gd name="connsiteY1875" fmla="*/ 383441 h 1849426"/>
                <a:gd name="connsiteX1876" fmla="*/ 5425346 w 6386648"/>
                <a:gd name="connsiteY1876" fmla="*/ 401465 h 1849426"/>
                <a:gd name="connsiteX1877" fmla="*/ 5407321 w 6386648"/>
                <a:gd name="connsiteY1877" fmla="*/ 419490 h 1849426"/>
                <a:gd name="connsiteX1878" fmla="*/ 5389297 w 6386648"/>
                <a:gd name="connsiteY1878" fmla="*/ 401465 h 1849426"/>
                <a:gd name="connsiteX1879" fmla="*/ 5407321 w 6386648"/>
                <a:gd name="connsiteY1879" fmla="*/ 383441 h 1849426"/>
                <a:gd name="connsiteX1880" fmla="*/ 5233085 w 6386648"/>
                <a:gd name="connsiteY1880" fmla="*/ 383441 h 1849426"/>
                <a:gd name="connsiteX1881" fmla="*/ 5251110 w 6386648"/>
                <a:gd name="connsiteY1881" fmla="*/ 401465 h 1849426"/>
                <a:gd name="connsiteX1882" fmla="*/ 5233085 w 6386648"/>
                <a:gd name="connsiteY1882" fmla="*/ 419490 h 1849426"/>
                <a:gd name="connsiteX1883" fmla="*/ 5215061 w 6386648"/>
                <a:gd name="connsiteY1883" fmla="*/ 401465 h 1849426"/>
                <a:gd name="connsiteX1884" fmla="*/ 5233085 w 6386648"/>
                <a:gd name="connsiteY1884" fmla="*/ 383441 h 1849426"/>
                <a:gd name="connsiteX1885" fmla="*/ 4956711 w 6386648"/>
                <a:gd name="connsiteY1885" fmla="*/ 383441 h 1849426"/>
                <a:gd name="connsiteX1886" fmla="*/ 4974736 w 6386648"/>
                <a:gd name="connsiteY1886" fmla="*/ 401465 h 1849426"/>
                <a:gd name="connsiteX1887" fmla="*/ 4956711 w 6386648"/>
                <a:gd name="connsiteY1887" fmla="*/ 419490 h 1849426"/>
                <a:gd name="connsiteX1888" fmla="*/ 4938687 w 6386648"/>
                <a:gd name="connsiteY1888" fmla="*/ 401465 h 1849426"/>
                <a:gd name="connsiteX1889" fmla="*/ 4956711 w 6386648"/>
                <a:gd name="connsiteY1889" fmla="*/ 383441 h 1849426"/>
                <a:gd name="connsiteX1890" fmla="*/ 3604880 w 6386648"/>
                <a:gd name="connsiteY1890" fmla="*/ 377433 h 1849426"/>
                <a:gd name="connsiteX1891" fmla="*/ 3622905 w 6386648"/>
                <a:gd name="connsiteY1891" fmla="*/ 395458 h 1849426"/>
                <a:gd name="connsiteX1892" fmla="*/ 3604880 w 6386648"/>
                <a:gd name="connsiteY1892" fmla="*/ 413482 h 1849426"/>
                <a:gd name="connsiteX1893" fmla="*/ 3586856 w 6386648"/>
                <a:gd name="connsiteY1893" fmla="*/ 395458 h 1849426"/>
                <a:gd name="connsiteX1894" fmla="*/ 3604880 w 6386648"/>
                <a:gd name="connsiteY1894" fmla="*/ 377433 h 1849426"/>
                <a:gd name="connsiteX1895" fmla="*/ 5082882 w 6386648"/>
                <a:gd name="connsiteY1895" fmla="*/ 371425 h 1849426"/>
                <a:gd name="connsiteX1896" fmla="*/ 5100907 w 6386648"/>
                <a:gd name="connsiteY1896" fmla="*/ 389449 h 1849426"/>
                <a:gd name="connsiteX1897" fmla="*/ 5082882 w 6386648"/>
                <a:gd name="connsiteY1897" fmla="*/ 407474 h 1849426"/>
                <a:gd name="connsiteX1898" fmla="*/ 5064858 w 6386648"/>
                <a:gd name="connsiteY1898" fmla="*/ 389449 h 1849426"/>
                <a:gd name="connsiteX1899" fmla="*/ 5082882 w 6386648"/>
                <a:gd name="connsiteY1899" fmla="*/ 371425 h 1849426"/>
                <a:gd name="connsiteX1900" fmla="*/ 4638280 w 6386648"/>
                <a:gd name="connsiteY1900" fmla="*/ 371425 h 1849426"/>
                <a:gd name="connsiteX1901" fmla="*/ 4656305 w 6386648"/>
                <a:gd name="connsiteY1901" fmla="*/ 389449 h 1849426"/>
                <a:gd name="connsiteX1902" fmla="*/ 4638280 w 6386648"/>
                <a:gd name="connsiteY1902" fmla="*/ 407474 h 1849426"/>
                <a:gd name="connsiteX1903" fmla="*/ 4620255 w 6386648"/>
                <a:gd name="connsiteY1903" fmla="*/ 389449 h 1849426"/>
                <a:gd name="connsiteX1904" fmla="*/ 4638280 w 6386648"/>
                <a:gd name="connsiteY1904" fmla="*/ 371425 h 1849426"/>
                <a:gd name="connsiteX1905" fmla="*/ 4289808 w 6386648"/>
                <a:gd name="connsiteY1905" fmla="*/ 371425 h 1849426"/>
                <a:gd name="connsiteX1906" fmla="*/ 4307833 w 6386648"/>
                <a:gd name="connsiteY1906" fmla="*/ 389449 h 1849426"/>
                <a:gd name="connsiteX1907" fmla="*/ 4289808 w 6386648"/>
                <a:gd name="connsiteY1907" fmla="*/ 407474 h 1849426"/>
                <a:gd name="connsiteX1908" fmla="*/ 4271784 w 6386648"/>
                <a:gd name="connsiteY1908" fmla="*/ 389449 h 1849426"/>
                <a:gd name="connsiteX1909" fmla="*/ 4289808 w 6386648"/>
                <a:gd name="connsiteY1909" fmla="*/ 371425 h 1849426"/>
                <a:gd name="connsiteX1910" fmla="*/ 3412620 w 6386648"/>
                <a:gd name="connsiteY1910" fmla="*/ 371425 h 1849426"/>
                <a:gd name="connsiteX1911" fmla="*/ 3430645 w 6386648"/>
                <a:gd name="connsiteY1911" fmla="*/ 389449 h 1849426"/>
                <a:gd name="connsiteX1912" fmla="*/ 3412620 w 6386648"/>
                <a:gd name="connsiteY1912" fmla="*/ 407474 h 1849426"/>
                <a:gd name="connsiteX1913" fmla="*/ 3394596 w 6386648"/>
                <a:gd name="connsiteY1913" fmla="*/ 389449 h 1849426"/>
                <a:gd name="connsiteX1914" fmla="*/ 3412620 w 6386648"/>
                <a:gd name="connsiteY1914" fmla="*/ 371425 h 1849426"/>
                <a:gd name="connsiteX1915" fmla="*/ 3286449 w 6386648"/>
                <a:gd name="connsiteY1915" fmla="*/ 371425 h 1849426"/>
                <a:gd name="connsiteX1916" fmla="*/ 3304474 w 6386648"/>
                <a:gd name="connsiteY1916" fmla="*/ 389449 h 1849426"/>
                <a:gd name="connsiteX1917" fmla="*/ 3286449 w 6386648"/>
                <a:gd name="connsiteY1917" fmla="*/ 407474 h 1849426"/>
                <a:gd name="connsiteX1918" fmla="*/ 3268424 w 6386648"/>
                <a:gd name="connsiteY1918" fmla="*/ 389449 h 1849426"/>
                <a:gd name="connsiteX1919" fmla="*/ 3286449 w 6386648"/>
                <a:gd name="connsiteY1919" fmla="*/ 371425 h 1849426"/>
                <a:gd name="connsiteX1920" fmla="*/ 2204985 w 6386648"/>
                <a:gd name="connsiteY1920" fmla="*/ 371425 h 1849426"/>
                <a:gd name="connsiteX1921" fmla="*/ 2223010 w 6386648"/>
                <a:gd name="connsiteY1921" fmla="*/ 389449 h 1849426"/>
                <a:gd name="connsiteX1922" fmla="*/ 2204985 w 6386648"/>
                <a:gd name="connsiteY1922" fmla="*/ 407474 h 1849426"/>
                <a:gd name="connsiteX1923" fmla="*/ 2186961 w 6386648"/>
                <a:gd name="connsiteY1923" fmla="*/ 389449 h 1849426"/>
                <a:gd name="connsiteX1924" fmla="*/ 2204985 w 6386648"/>
                <a:gd name="connsiteY1924" fmla="*/ 371425 h 1849426"/>
                <a:gd name="connsiteX1925" fmla="*/ 1033398 w 6386648"/>
                <a:gd name="connsiteY1925" fmla="*/ 371425 h 1849426"/>
                <a:gd name="connsiteX1926" fmla="*/ 1051423 w 6386648"/>
                <a:gd name="connsiteY1926" fmla="*/ 389449 h 1849426"/>
                <a:gd name="connsiteX1927" fmla="*/ 1033398 w 6386648"/>
                <a:gd name="connsiteY1927" fmla="*/ 407474 h 1849426"/>
                <a:gd name="connsiteX1928" fmla="*/ 1015374 w 6386648"/>
                <a:gd name="connsiteY1928" fmla="*/ 389449 h 1849426"/>
                <a:gd name="connsiteX1929" fmla="*/ 1033398 w 6386648"/>
                <a:gd name="connsiteY1929" fmla="*/ 371425 h 1849426"/>
                <a:gd name="connsiteX1930" fmla="*/ 432585 w 6386648"/>
                <a:gd name="connsiteY1930" fmla="*/ 371425 h 1849426"/>
                <a:gd name="connsiteX1931" fmla="*/ 450610 w 6386648"/>
                <a:gd name="connsiteY1931" fmla="*/ 389449 h 1849426"/>
                <a:gd name="connsiteX1932" fmla="*/ 432585 w 6386648"/>
                <a:gd name="connsiteY1932" fmla="*/ 407474 h 1849426"/>
                <a:gd name="connsiteX1933" fmla="*/ 414561 w 6386648"/>
                <a:gd name="connsiteY1933" fmla="*/ 389449 h 1849426"/>
                <a:gd name="connsiteX1934" fmla="*/ 432585 w 6386648"/>
                <a:gd name="connsiteY1934" fmla="*/ 371425 h 1849426"/>
                <a:gd name="connsiteX1935" fmla="*/ 4037466 w 6386648"/>
                <a:gd name="connsiteY1935" fmla="*/ 365417 h 1849426"/>
                <a:gd name="connsiteX1936" fmla="*/ 4055491 w 6386648"/>
                <a:gd name="connsiteY1936" fmla="*/ 383441 h 1849426"/>
                <a:gd name="connsiteX1937" fmla="*/ 4037466 w 6386648"/>
                <a:gd name="connsiteY1937" fmla="*/ 401466 h 1849426"/>
                <a:gd name="connsiteX1938" fmla="*/ 4019441 w 6386648"/>
                <a:gd name="connsiteY1938" fmla="*/ 383441 h 1849426"/>
                <a:gd name="connsiteX1939" fmla="*/ 4037466 w 6386648"/>
                <a:gd name="connsiteY1939" fmla="*/ 365417 h 1849426"/>
                <a:gd name="connsiteX1940" fmla="*/ 2943986 w 6386648"/>
                <a:gd name="connsiteY1940" fmla="*/ 365417 h 1849426"/>
                <a:gd name="connsiteX1941" fmla="*/ 2962011 w 6386648"/>
                <a:gd name="connsiteY1941" fmla="*/ 383441 h 1849426"/>
                <a:gd name="connsiteX1942" fmla="*/ 2943986 w 6386648"/>
                <a:gd name="connsiteY1942" fmla="*/ 401466 h 1849426"/>
                <a:gd name="connsiteX1943" fmla="*/ 2925962 w 6386648"/>
                <a:gd name="connsiteY1943" fmla="*/ 383441 h 1849426"/>
                <a:gd name="connsiteX1944" fmla="*/ 2943986 w 6386648"/>
                <a:gd name="connsiteY1944" fmla="*/ 365417 h 1849426"/>
                <a:gd name="connsiteX1945" fmla="*/ 2811807 w 6386648"/>
                <a:gd name="connsiteY1945" fmla="*/ 365417 h 1849426"/>
                <a:gd name="connsiteX1946" fmla="*/ 2829832 w 6386648"/>
                <a:gd name="connsiteY1946" fmla="*/ 383441 h 1849426"/>
                <a:gd name="connsiteX1947" fmla="*/ 2811807 w 6386648"/>
                <a:gd name="connsiteY1947" fmla="*/ 401466 h 1849426"/>
                <a:gd name="connsiteX1948" fmla="*/ 2793783 w 6386648"/>
                <a:gd name="connsiteY1948" fmla="*/ 383441 h 1849426"/>
                <a:gd name="connsiteX1949" fmla="*/ 2811807 w 6386648"/>
                <a:gd name="connsiteY1949" fmla="*/ 365417 h 1849426"/>
                <a:gd name="connsiteX1950" fmla="*/ 5899988 w 6386648"/>
                <a:gd name="connsiteY1950" fmla="*/ 353401 h 1849426"/>
                <a:gd name="connsiteX1951" fmla="*/ 5918013 w 6386648"/>
                <a:gd name="connsiteY1951" fmla="*/ 371425 h 1849426"/>
                <a:gd name="connsiteX1952" fmla="*/ 5899988 w 6386648"/>
                <a:gd name="connsiteY1952" fmla="*/ 389450 h 1849426"/>
                <a:gd name="connsiteX1953" fmla="*/ 5881963 w 6386648"/>
                <a:gd name="connsiteY1953" fmla="*/ 371425 h 1849426"/>
                <a:gd name="connsiteX1954" fmla="*/ 5899988 w 6386648"/>
                <a:gd name="connsiteY1954" fmla="*/ 353401 h 1849426"/>
                <a:gd name="connsiteX1955" fmla="*/ 4842556 w 6386648"/>
                <a:gd name="connsiteY1955" fmla="*/ 353401 h 1849426"/>
                <a:gd name="connsiteX1956" fmla="*/ 4860581 w 6386648"/>
                <a:gd name="connsiteY1956" fmla="*/ 371425 h 1849426"/>
                <a:gd name="connsiteX1957" fmla="*/ 4842556 w 6386648"/>
                <a:gd name="connsiteY1957" fmla="*/ 389450 h 1849426"/>
                <a:gd name="connsiteX1958" fmla="*/ 4824532 w 6386648"/>
                <a:gd name="connsiteY1958" fmla="*/ 371425 h 1849426"/>
                <a:gd name="connsiteX1959" fmla="*/ 4842556 w 6386648"/>
                <a:gd name="connsiteY1959" fmla="*/ 353401 h 1849426"/>
                <a:gd name="connsiteX1960" fmla="*/ 4518117 w 6386648"/>
                <a:gd name="connsiteY1960" fmla="*/ 353401 h 1849426"/>
                <a:gd name="connsiteX1961" fmla="*/ 4536142 w 6386648"/>
                <a:gd name="connsiteY1961" fmla="*/ 371425 h 1849426"/>
                <a:gd name="connsiteX1962" fmla="*/ 4518117 w 6386648"/>
                <a:gd name="connsiteY1962" fmla="*/ 389450 h 1849426"/>
                <a:gd name="connsiteX1963" fmla="*/ 4500092 w 6386648"/>
                <a:gd name="connsiteY1963" fmla="*/ 371425 h 1849426"/>
                <a:gd name="connsiteX1964" fmla="*/ 4518117 w 6386648"/>
                <a:gd name="connsiteY1964" fmla="*/ 353401 h 1849426"/>
                <a:gd name="connsiteX1965" fmla="*/ 4403962 w 6386648"/>
                <a:gd name="connsiteY1965" fmla="*/ 353401 h 1849426"/>
                <a:gd name="connsiteX1966" fmla="*/ 4421987 w 6386648"/>
                <a:gd name="connsiteY1966" fmla="*/ 371425 h 1849426"/>
                <a:gd name="connsiteX1967" fmla="*/ 4403962 w 6386648"/>
                <a:gd name="connsiteY1967" fmla="*/ 389450 h 1849426"/>
                <a:gd name="connsiteX1968" fmla="*/ 4385938 w 6386648"/>
                <a:gd name="connsiteY1968" fmla="*/ 371425 h 1849426"/>
                <a:gd name="connsiteX1969" fmla="*/ 4403962 w 6386648"/>
                <a:gd name="connsiteY1969" fmla="*/ 353401 h 1849426"/>
                <a:gd name="connsiteX1970" fmla="*/ 4151621 w 6386648"/>
                <a:gd name="connsiteY1970" fmla="*/ 353401 h 1849426"/>
                <a:gd name="connsiteX1971" fmla="*/ 4169646 w 6386648"/>
                <a:gd name="connsiteY1971" fmla="*/ 371425 h 1849426"/>
                <a:gd name="connsiteX1972" fmla="*/ 4151621 w 6386648"/>
                <a:gd name="connsiteY1972" fmla="*/ 389450 h 1849426"/>
                <a:gd name="connsiteX1973" fmla="*/ 4133597 w 6386648"/>
                <a:gd name="connsiteY1973" fmla="*/ 371425 h 1849426"/>
                <a:gd name="connsiteX1974" fmla="*/ 4151621 w 6386648"/>
                <a:gd name="connsiteY1974" fmla="*/ 353401 h 1849426"/>
                <a:gd name="connsiteX1975" fmla="*/ 3911295 w 6386648"/>
                <a:gd name="connsiteY1975" fmla="*/ 347392 h 1849426"/>
                <a:gd name="connsiteX1976" fmla="*/ 3929320 w 6386648"/>
                <a:gd name="connsiteY1976" fmla="*/ 365417 h 1849426"/>
                <a:gd name="connsiteX1977" fmla="*/ 3911295 w 6386648"/>
                <a:gd name="connsiteY1977" fmla="*/ 383441 h 1849426"/>
                <a:gd name="connsiteX1978" fmla="*/ 3893271 w 6386648"/>
                <a:gd name="connsiteY1978" fmla="*/ 365417 h 1849426"/>
                <a:gd name="connsiteX1979" fmla="*/ 3911295 w 6386648"/>
                <a:gd name="connsiteY1979" fmla="*/ 347392 h 1849426"/>
                <a:gd name="connsiteX1980" fmla="*/ 2078814 w 6386648"/>
                <a:gd name="connsiteY1980" fmla="*/ 347392 h 1849426"/>
                <a:gd name="connsiteX1981" fmla="*/ 2096839 w 6386648"/>
                <a:gd name="connsiteY1981" fmla="*/ 365417 h 1849426"/>
                <a:gd name="connsiteX1982" fmla="*/ 2078814 w 6386648"/>
                <a:gd name="connsiteY1982" fmla="*/ 383441 h 1849426"/>
                <a:gd name="connsiteX1983" fmla="*/ 2060790 w 6386648"/>
                <a:gd name="connsiteY1983" fmla="*/ 365417 h 1849426"/>
                <a:gd name="connsiteX1984" fmla="*/ 2078814 w 6386648"/>
                <a:gd name="connsiteY1984" fmla="*/ 347392 h 1849426"/>
                <a:gd name="connsiteX1985" fmla="*/ 1345823 w 6386648"/>
                <a:gd name="connsiteY1985" fmla="*/ 347392 h 1849426"/>
                <a:gd name="connsiteX1986" fmla="*/ 1363847 w 6386648"/>
                <a:gd name="connsiteY1986" fmla="*/ 365417 h 1849426"/>
                <a:gd name="connsiteX1987" fmla="*/ 1345823 w 6386648"/>
                <a:gd name="connsiteY1987" fmla="*/ 383441 h 1849426"/>
                <a:gd name="connsiteX1988" fmla="*/ 1327798 w 6386648"/>
                <a:gd name="connsiteY1988" fmla="*/ 365417 h 1849426"/>
                <a:gd name="connsiteX1989" fmla="*/ 1345823 w 6386648"/>
                <a:gd name="connsiteY1989" fmla="*/ 347392 h 1849426"/>
                <a:gd name="connsiteX1990" fmla="*/ 1556107 w 6386648"/>
                <a:gd name="connsiteY1990" fmla="*/ 341384 h 1849426"/>
                <a:gd name="connsiteX1991" fmla="*/ 1574131 w 6386648"/>
                <a:gd name="connsiteY1991" fmla="*/ 359408 h 1849426"/>
                <a:gd name="connsiteX1992" fmla="*/ 1556107 w 6386648"/>
                <a:gd name="connsiteY1992" fmla="*/ 377433 h 1849426"/>
                <a:gd name="connsiteX1993" fmla="*/ 1538082 w 6386648"/>
                <a:gd name="connsiteY1993" fmla="*/ 359408 h 1849426"/>
                <a:gd name="connsiteX1994" fmla="*/ 1556107 w 6386648"/>
                <a:gd name="connsiteY1994" fmla="*/ 341384 h 1849426"/>
                <a:gd name="connsiteX1995" fmla="*/ 306414 w 6386648"/>
                <a:gd name="connsiteY1995" fmla="*/ 341384 h 1849426"/>
                <a:gd name="connsiteX1996" fmla="*/ 324439 w 6386648"/>
                <a:gd name="connsiteY1996" fmla="*/ 359408 h 1849426"/>
                <a:gd name="connsiteX1997" fmla="*/ 306414 w 6386648"/>
                <a:gd name="connsiteY1997" fmla="*/ 377433 h 1849426"/>
                <a:gd name="connsiteX1998" fmla="*/ 288390 w 6386648"/>
                <a:gd name="connsiteY1998" fmla="*/ 359408 h 1849426"/>
                <a:gd name="connsiteX1999" fmla="*/ 306414 w 6386648"/>
                <a:gd name="connsiteY1999" fmla="*/ 341384 h 1849426"/>
                <a:gd name="connsiteX2000" fmla="*/ 6206403 w 6386648"/>
                <a:gd name="connsiteY2000" fmla="*/ 335376 h 1849426"/>
                <a:gd name="connsiteX2001" fmla="*/ 6224428 w 6386648"/>
                <a:gd name="connsiteY2001" fmla="*/ 353400 h 1849426"/>
                <a:gd name="connsiteX2002" fmla="*/ 6206403 w 6386648"/>
                <a:gd name="connsiteY2002" fmla="*/ 371425 h 1849426"/>
                <a:gd name="connsiteX2003" fmla="*/ 6188379 w 6386648"/>
                <a:gd name="connsiteY2003" fmla="*/ 353400 h 1849426"/>
                <a:gd name="connsiteX2004" fmla="*/ 6206403 w 6386648"/>
                <a:gd name="connsiteY2004" fmla="*/ 335376 h 1849426"/>
                <a:gd name="connsiteX2005" fmla="*/ 1670261 w 6386648"/>
                <a:gd name="connsiteY2005" fmla="*/ 335376 h 1849426"/>
                <a:gd name="connsiteX2006" fmla="*/ 1688286 w 6386648"/>
                <a:gd name="connsiteY2006" fmla="*/ 353400 h 1849426"/>
                <a:gd name="connsiteX2007" fmla="*/ 1670261 w 6386648"/>
                <a:gd name="connsiteY2007" fmla="*/ 371425 h 1849426"/>
                <a:gd name="connsiteX2008" fmla="*/ 1652237 w 6386648"/>
                <a:gd name="connsiteY2008" fmla="*/ 353400 h 1849426"/>
                <a:gd name="connsiteX2009" fmla="*/ 1670261 w 6386648"/>
                <a:gd name="connsiteY2009" fmla="*/ 335376 h 1849426"/>
                <a:gd name="connsiteX2010" fmla="*/ 5767809 w 6386648"/>
                <a:gd name="connsiteY2010" fmla="*/ 329368 h 1849426"/>
                <a:gd name="connsiteX2011" fmla="*/ 5785834 w 6386648"/>
                <a:gd name="connsiteY2011" fmla="*/ 347392 h 1849426"/>
                <a:gd name="connsiteX2012" fmla="*/ 5767809 w 6386648"/>
                <a:gd name="connsiteY2012" fmla="*/ 365417 h 1849426"/>
                <a:gd name="connsiteX2013" fmla="*/ 5749785 w 6386648"/>
                <a:gd name="connsiteY2013" fmla="*/ 347392 h 1849426"/>
                <a:gd name="connsiteX2014" fmla="*/ 5767809 w 6386648"/>
                <a:gd name="connsiteY2014" fmla="*/ 329368 h 1849426"/>
                <a:gd name="connsiteX2015" fmla="*/ 3797141 w 6386648"/>
                <a:gd name="connsiteY2015" fmla="*/ 329368 h 1849426"/>
                <a:gd name="connsiteX2016" fmla="*/ 3815166 w 6386648"/>
                <a:gd name="connsiteY2016" fmla="*/ 347392 h 1849426"/>
                <a:gd name="connsiteX2017" fmla="*/ 3797141 w 6386648"/>
                <a:gd name="connsiteY2017" fmla="*/ 365417 h 1849426"/>
                <a:gd name="connsiteX2018" fmla="*/ 3779116 w 6386648"/>
                <a:gd name="connsiteY2018" fmla="*/ 347392 h 1849426"/>
                <a:gd name="connsiteX2019" fmla="*/ 3797141 w 6386648"/>
                <a:gd name="connsiteY2019" fmla="*/ 329368 h 1849426"/>
                <a:gd name="connsiteX2020" fmla="*/ 2673619 w 6386648"/>
                <a:gd name="connsiteY2020" fmla="*/ 329368 h 1849426"/>
                <a:gd name="connsiteX2021" fmla="*/ 2691644 w 6386648"/>
                <a:gd name="connsiteY2021" fmla="*/ 347392 h 1849426"/>
                <a:gd name="connsiteX2022" fmla="*/ 2673619 w 6386648"/>
                <a:gd name="connsiteY2022" fmla="*/ 365417 h 1849426"/>
                <a:gd name="connsiteX2023" fmla="*/ 2655595 w 6386648"/>
                <a:gd name="connsiteY2023" fmla="*/ 347392 h 1849426"/>
                <a:gd name="connsiteX2024" fmla="*/ 2673619 w 6386648"/>
                <a:gd name="connsiteY2024" fmla="*/ 329368 h 1849426"/>
                <a:gd name="connsiteX2025" fmla="*/ 1898570 w 6386648"/>
                <a:gd name="connsiteY2025" fmla="*/ 329368 h 1849426"/>
                <a:gd name="connsiteX2026" fmla="*/ 1916595 w 6386648"/>
                <a:gd name="connsiteY2026" fmla="*/ 347392 h 1849426"/>
                <a:gd name="connsiteX2027" fmla="*/ 1898570 w 6386648"/>
                <a:gd name="connsiteY2027" fmla="*/ 365417 h 1849426"/>
                <a:gd name="connsiteX2028" fmla="*/ 1880546 w 6386648"/>
                <a:gd name="connsiteY2028" fmla="*/ 347392 h 1849426"/>
                <a:gd name="connsiteX2029" fmla="*/ 1898570 w 6386648"/>
                <a:gd name="connsiteY2029" fmla="*/ 329368 h 1849426"/>
                <a:gd name="connsiteX2030" fmla="*/ 66089 w 6386648"/>
                <a:gd name="connsiteY2030" fmla="*/ 323360 h 1849426"/>
                <a:gd name="connsiteX2031" fmla="*/ 84114 w 6386648"/>
                <a:gd name="connsiteY2031" fmla="*/ 341384 h 1849426"/>
                <a:gd name="connsiteX2032" fmla="*/ 66089 w 6386648"/>
                <a:gd name="connsiteY2032" fmla="*/ 359409 h 1849426"/>
                <a:gd name="connsiteX2033" fmla="*/ 48065 w 6386648"/>
                <a:gd name="connsiteY2033" fmla="*/ 341384 h 1849426"/>
                <a:gd name="connsiteX2034" fmla="*/ 66089 w 6386648"/>
                <a:gd name="connsiteY2034" fmla="*/ 323360 h 1849426"/>
                <a:gd name="connsiteX2035" fmla="*/ 5647646 w 6386648"/>
                <a:gd name="connsiteY2035" fmla="*/ 317352 h 1849426"/>
                <a:gd name="connsiteX2036" fmla="*/ 5665671 w 6386648"/>
                <a:gd name="connsiteY2036" fmla="*/ 335377 h 1849426"/>
                <a:gd name="connsiteX2037" fmla="*/ 5647646 w 6386648"/>
                <a:gd name="connsiteY2037" fmla="*/ 353401 h 1849426"/>
                <a:gd name="connsiteX2038" fmla="*/ 5629622 w 6386648"/>
                <a:gd name="connsiteY2038" fmla="*/ 335377 h 1849426"/>
                <a:gd name="connsiteX2039" fmla="*/ 5647646 w 6386648"/>
                <a:gd name="connsiteY2039" fmla="*/ 317352 h 1849426"/>
                <a:gd name="connsiteX2040" fmla="*/ 3064148 w 6386648"/>
                <a:gd name="connsiteY2040" fmla="*/ 311344 h 1849426"/>
                <a:gd name="connsiteX2041" fmla="*/ 3082173 w 6386648"/>
                <a:gd name="connsiteY2041" fmla="*/ 329368 h 1849426"/>
                <a:gd name="connsiteX2042" fmla="*/ 3064148 w 6386648"/>
                <a:gd name="connsiteY2042" fmla="*/ 347393 h 1849426"/>
                <a:gd name="connsiteX2043" fmla="*/ 3046124 w 6386648"/>
                <a:gd name="connsiteY2043" fmla="*/ 329368 h 1849426"/>
                <a:gd name="connsiteX2044" fmla="*/ 3064148 w 6386648"/>
                <a:gd name="connsiteY2044" fmla="*/ 311344 h 1849426"/>
                <a:gd name="connsiteX2045" fmla="*/ 2553457 w 6386648"/>
                <a:gd name="connsiteY2045" fmla="*/ 311344 h 1849426"/>
                <a:gd name="connsiteX2046" fmla="*/ 2571482 w 6386648"/>
                <a:gd name="connsiteY2046" fmla="*/ 329368 h 1849426"/>
                <a:gd name="connsiteX2047" fmla="*/ 2553457 w 6386648"/>
                <a:gd name="connsiteY2047" fmla="*/ 347393 h 1849426"/>
                <a:gd name="connsiteX2048" fmla="*/ 2535433 w 6386648"/>
                <a:gd name="connsiteY2048" fmla="*/ 329368 h 1849426"/>
                <a:gd name="connsiteX2049" fmla="*/ 2553457 w 6386648"/>
                <a:gd name="connsiteY2049" fmla="*/ 311344 h 1849426"/>
                <a:gd name="connsiteX2050" fmla="*/ 6098257 w 6386648"/>
                <a:gd name="connsiteY2050" fmla="*/ 305335 h 1849426"/>
                <a:gd name="connsiteX2051" fmla="*/ 6116282 w 6386648"/>
                <a:gd name="connsiteY2051" fmla="*/ 323359 h 1849426"/>
                <a:gd name="connsiteX2052" fmla="*/ 6098257 w 6386648"/>
                <a:gd name="connsiteY2052" fmla="*/ 341384 h 1849426"/>
                <a:gd name="connsiteX2053" fmla="*/ 6080233 w 6386648"/>
                <a:gd name="connsiteY2053" fmla="*/ 323359 h 1849426"/>
                <a:gd name="connsiteX2054" fmla="*/ 6098257 w 6386648"/>
                <a:gd name="connsiteY2054" fmla="*/ 305335 h 1849426"/>
                <a:gd name="connsiteX2055" fmla="*/ 1231667 w 6386648"/>
                <a:gd name="connsiteY2055" fmla="*/ 305335 h 1849426"/>
                <a:gd name="connsiteX2056" fmla="*/ 1249692 w 6386648"/>
                <a:gd name="connsiteY2056" fmla="*/ 323359 h 1849426"/>
                <a:gd name="connsiteX2057" fmla="*/ 1231667 w 6386648"/>
                <a:gd name="connsiteY2057" fmla="*/ 341384 h 1849426"/>
                <a:gd name="connsiteX2058" fmla="*/ 1213643 w 6386648"/>
                <a:gd name="connsiteY2058" fmla="*/ 323359 h 1849426"/>
                <a:gd name="connsiteX2059" fmla="*/ 1231667 w 6386648"/>
                <a:gd name="connsiteY2059" fmla="*/ 305335 h 1849426"/>
                <a:gd name="connsiteX2060" fmla="*/ 174235 w 6386648"/>
                <a:gd name="connsiteY2060" fmla="*/ 305335 h 1849426"/>
                <a:gd name="connsiteX2061" fmla="*/ 192260 w 6386648"/>
                <a:gd name="connsiteY2061" fmla="*/ 323359 h 1849426"/>
                <a:gd name="connsiteX2062" fmla="*/ 174235 w 6386648"/>
                <a:gd name="connsiteY2062" fmla="*/ 341384 h 1849426"/>
                <a:gd name="connsiteX2063" fmla="*/ 156211 w 6386648"/>
                <a:gd name="connsiteY2063" fmla="*/ 323359 h 1849426"/>
                <a:gd name="connsiteX2064" fmla="*/ 174235 w 6386648"/>
                <a:gd name="connsiteY2064" fmla="*/ 305335 h 1849426"/>
                <a:gd name="connsiteX2065" fmla="*/ 3520767 w 6386648"/>
                <a:gd name="connsiteY2065" fmla="*/ 299327 h 1849426"/>
                <a:gd name="connsiteX2066" fmla="*/ 3538792 w 6386648"/>
                <a:gd name="connsiteY2066" fmla="*/ 317351 h 1849426"/>
                <a:gd name="connsiteX2067" fmla="*/ 3520767 w 6386648"/>
                <a:gd name="connsiteY2067" fmla="*/ 335376 h 1849426"/>
                <a:gd name="connsiteX2068" fmla="*/ 3502743 w 6386648"/>
                <a:gd name="connsiteY2068" fmla="*/ 317351 h 1849426"/>
                <a:gd name="connsiteX2069" fmla="*/ 3520767 w 6386648"/>
                <a:gd name="connsiteY2069" fmla="*/ 299327 h 1849426"/>
                <a:gd name="connsiteX2070" fmla="*/ 5347240 w 6386648"/>
                <a:gd name="connsiteY2070" fmla="*/ 293319 h 1849426"/>
                <a:gd name="connsiteX2071" fmla="*/ 5365265 w 6386648"/>
                <a:gd name="connsiteY2071" fmla="*/ 311343 h 1849426"/>
                <a:gd name="connsiteX2072" fmla="*/ 5347240 w 6386648"/>
                <a:gd name="connsiteY2072" fmla="*/ 329368 h 1849426"/>
                <a:gd name="connsiteX2073" fmla="*/ 5329216 w 6386648"/>
                <a:gd name="connsiteY2073" fmla="*/ 311343 h 1849426"/>
                <a:gd name="connsiteX2074" fmla="*/ 5347240 w 6386648"/>
                <a:gd name="connsiteY2074" fmla="*/ 293319 h 1849426"/>
                <a:gd name="connsiteX2075" fmla="*/ 2439302 w 6386648"/>
                <a:gd name="connsiteY2075" fmla="*/ 293319 h 1849426"/>
                <a:gd name="connsiteX2076" fmla="*/ 2457327 w 6386648"/>
                <a:gd name="connsiteY2076" fmla="*/ 311343 h 1849426"/>
                <a:gd name="connsiteX2077" fmla="*/ 2439302 w 6386648"/>
                <a:gd name="connsiteY2077" fmla="*/ 329368 h 1849426"/>
                <a:gd name="connsiteX2078" fmla="*/ 2421278 w 6386648"/>
                <a:gd name="connsiteY2078" fmla="*/ 311343 h 1849426"/>
                <a:gd name="connsiteX2079" fmla="*/ 2439302 w 6386648"/>
                <a:gd name="connsiteY2079" fmla="*/ 293319 h 1849426"/>
                <a:gd name="connsiteX2080" fmla="*/ 2301115 w 6386648"/>
                <a:gd name="connsiteY2080" fmla="*/ 293319 h 1849426"/>
                <a:gd name="connsiteX2081" fmla="*/ 2319140 w 6386648"/>
                <a:gd name="connsiteY2081" fmla="*/ 311343 h 1849426"/>
                <a:gd name="connsiteX2082" fmla="*/ 2301115 w 6386648"/>
                <a:gd name="connsiteY2082" fmla="*/ 329368 h 1849426"/>
                <a:gd name="connsiteX2083" fmla="*/ 2283091 w 6386648"/>
                <a:gd name="connsiteY2083" fmla="*/ 311343 h 1849426"/>
                <a:gd name="connsiteX2084" fmla="*/ 2301115 w 6386648"/>
                <a:gd name="connsiteY2084" fmla="*/ 293319 h 1849426"/>
                <a:gd name="connsiteX2085" fmla="*/ 1447960 w 6386648"/>
                <a:gd name="connsiteY2085" fmla="*/ 293319 h 1849426"/>
                <a:gd name="connsiteX2086" fmla="*/ 1465985 w 6386648"/>
                <a:gd name="connsiteY2086" fmla="*/ 311343 h 1849426"/>
                <a:gd name="connsiteX2087" fmla="*/ 1447960 w 6386648"/>
                <a:gd name="connsiteY2087" fmla="*/ 329368 h 1849426"/>
                <a:gd name="connsiteX2088" fmla="*/ 1429936 w 6386648"/>
                <a:gd name="connsiteY2088" fmla="*/ 311343 h 1849426"/>
                <a:gd name="connsiteX2089" fmla="*/ 1447960 w 6386648"/>
                <a:gd name="connsiteY2089" fmla="*/ 293319 h 1849426"/>
                <a:gd name="connsiteX2090" fmla="*/ 901219 w 6386648"/>
                <a:gd name="connsiteY2090" fmla="*/ 293319 h 1849426"/>
                <a:gd name="connsiteX2091" fmla="*/ 919244 w 6386648"/>
                <a:gd name="connsiteY2091" fmla="*/ 311343 h 1849426"/>
                <a:gd name="connsiteX2092" fmla="*/ 901219 w 6386648"/>
                <a:gd name="connsiteY2092" fmla="*/ 329368 h 1849426"/>
                <a:gd name="connsiteX2093" fmla="*/ 883195 w 6386648"/>
                <a:gd name="connsiteY2093" fmla="*/ 311343 h 1849426"/>
                <a:gd name="connsiteX2094" fmla="*/ 901219 w 6386648"/>
                <a:gd name="connsiteY2094" fmla="*/ 293319 h 1849426"/>
                <a:gd name="connsiteX2095" fmla="*/ 552748 w 6386648"/>
                <a:gd name="connsiteY2095" fmla="*/ 293319 h 1849426"/>
                <a:gd name="connsiteX2096" fmla="*/ 570773 w 6386648"/>
                <a:gd name="connsiteY2096" fmla="*/ 311343 h 1849426"/>
                <a:gd name="connsiteX2097" fmla="*/ 552748 w 6386648"/>
                <a:gd name="connsiteY2097" fmla="*/ 329368 h 1849426"/>
                <a:gd name="connsiteX2098" fmla="*/ 534724 w 6386648"/>
                <a:gd name="connsiteY2098" fmla="*/ 311343 h 1849426"/>
                <a:gd name="connsiteX2099" fmla="*/ 552748 w 6386648"/>
                <a:gd name="connsiteY2099" fmla="*/ 293319 h 1849426"/>
                <a:gd name="connsiteX2100" fmla="*/ 6326566 w 6386648"/>
                <a:gd name="connsiteY2100" fmla="*/ 287311 h 1849426"/>
                <a:gd name="connsiteX2101" fmla="*/ 6344591 w 6386648"/>
                <a:gd name="connsiteY2101" fmla="*/ 305336 h 1849426"/>
                <a:gd name="connsiteX2102" fmla="*/ 6326566 w 6386648"/>
                <a:gd name="connsiteY2102" fmla="*/ 323360 h 1849426"/>
                <a:gd name="connsiteX2103" fmla="*/ 6308542 w 6386648"/>
                <a:gd name="connsiteY2103" fmla="*/ 305336 h 1849426"/>
                <a:gd name="connsiteX2104" fmla="*/ 6326566 w 6386648"/>
                <a:gd name="connsiteY2104" fmla="*/ 287311 h 1849426"/>
                <a:gd name="connsiteX2105" fmla="*/ 5503451 w 6386648"/>
                <a:gd name="connsiteY2105" fmla="*/ 287311 h 1849426"/>
                <a:gd name="connsiteX2106" fmla="*/ 5521476 w 6386648"/>
                <a:gd name="connsiteY2106" fmla="*/ 305336 h 1849426"/>
                <a:gd name="connsiteX2107" fmla="*/ 5503451 w 6386648"/>
                <a:gd name="connsiteY2107" fmla="*/ 323360 h 1849426"/>
                <a:gd name="connsiteX2108" fmla="*/ 5485427 w 6386648"/>
                <a:gd name="connsiteY2108" fmla="*/ 305336 h 1849426"/>
                <a:gd name="connsiteX2109" fmla="*/ 5503451 w 6386648"/>
                <a:gd name="connsiteY2109" fmla="*/ 287311 h 1849426"/>
                <a:gd name="connsiteX2110" fmla="*/ 1808448 w 6386648"/>
                <a:gd name="connsiteY2110" fmla="*/ 287311 h 1849426"/>
                <a:gd name="connsiteX2111" fmla="*/ 1826473 w 6386648"/>
                <a:gd name="connsiteY2111" fmla="*/ 305336 h 1849426"/>
                <a:gd name="connsiteX2112" fmla="*/ 1808448 w 6386648"/>
                <a:gd name="connsiteY2112" fmla="*/ 323360 h 1849426"/>
                <a:gd name="connsiteX2113" fmla="*/ 1790424 w 6386648"/>
                <a:gd name="connsiteY2113" fmla="*/ 305336 h 1849426"/>
                <a:gd name="connsiteX2114" fmla="*/ 1808448 w 6386648"/>
                <a:gd name="connsiteY2114" fmla="*/ 287311 h 1849426"/>
                <a:gd name="connsiteX2115" fmla="*/ 672910 w 6386648"/>
                <a:gd name="connsiteY2115" fmla="*/ 287311 h 1849426"/>
                <a:gd name="connsiteX2116" fmla="*/ 690935 w 6386648"/>
                <a:gd name="connsiteY2116" fmla="*/ 305336 h 1849426"/>
                <a:gd name="connsiteX2117" fmla="*/ 672910 w 6386648"/>
                <a:gd name="connsiteY2117" fmla="*/ 323360 h 1849426"/>
                <a:gd name="connsiteX2118" fmla="*/ 654886 w 6386648"/>
                <a:gd name="connsiteY2118" fmla="*/ 305336 h 1849426"/>
                <a:gd name="connsiteX2119" fmla="*/ 672910 w 6386648"/>
                <a:gd name="connsiteY2119" fmla="*/ 287311 h 1849426"/>
                <a:gd name="connsiteX2120" fmla="*/ 4710377 w 6386648"/>
                <a:gd name="connsiteY2120" fmla="*/ 275295 h 1849426"/>
                <a:gd name="connsiteX2121" fmla="*/ 4728402 w 6386648"/>
                <a:gd name="connsiteY2121" fmla="*/ 293319 h 1849426"/>
                <a:gd name="connsiteX2122" fmla="*/ 4710377 w 6386648"/>
                <a:gd name="connsiteY2122" fmla="*/ 311344 h 1849426"/>
                <a:gd name="connsiteX2123" fmla="*/ 4692353 w 6386648"/>
                <a:gd name="connsiteY2123" fmla="*/ 293319 h 1849426"/>
                <a:gd name="connsiteX2124" fmla="*/ 4710377 w 6386648"/>
                <a:gd name="connsiteY2124" fmla="*/ 275295 h 1849426"/>
                <a:gd name="connsiteX2125" fmla="*/ 4962719 w 6386648"/>
                <a:gd name="connsiteY2125" fmla="*/ 269287 h 1849426"/>
                <a:gd name="connsiteX2126" fmla="*/ 4980744 w 6386648"/>
                <a:gd name="connsiteY2126" fmla="*/ 287311 h 1849426"/>
                <a:gd name="connsiteX2127" fmla="*/ 4962719 w 6386648"/>
                <a:gd name="connsiteY2127" fmla="*/ 305336 h 1849426"/>
                <a:gd name="connsiteX2128" fmla="*/ 4944695 w 6386648"/>
                <a:gd name="connsiteY2128" fmla="*/ 287311 h 1849426"/>
                <a:gd name="connsiteX2129" fmla="*/ 4962719 w 6386648"/>
                <a:gd name="connsiteY2129" fmla="*/ 269287 h 1849426"/>
                <a:gd name="connsiteX2130" fmla="*/ 3652945 w 6386648"/>
                <a:gd name="connsiteY2130" fmla="*/ 269287 h 1849426"/>
                <a:gd name="connsiteX2131" fmla="*/ 3670970 w 6386648"/>
                <a:gd name="connsiteY2131" fmla="*/ 287311 h 1849426"/>
                <a:gd name="connsiteX2132" fmla="*/ 3652945 w 6386648"/>
                <a:gd name="connsiteY2132" fmla="*/ 305336 h 1849426"/>
                <a:gd name="connsiteX2133" fmla="*/ 3634921 w 6386648"/>
                <a:gd name="connsiteY2133" fmla="*/ 287311 h 1849426"/>
                <a:gd name="connsiteX2134" fmla="*/ 3652945 w 6386648"/>
                <a:gd name="connsiteY2134" fmla="*/ 269287 h 1849426"/>
                <a:gd name="connsiteX2135" fmla="*/ 1123520 w 6386648"/>
                <a:gd name="connsiteY2135" fmla="*/ 269287 h 1849426"/>
                <a:gd name="connsiteX2136" fmla="*/ 1141545 w 6386648"/>
                <a:gd name="connsiteY2136" fmla="*/ 287311 h 1849426"/>
                <a:gd name="connsiteX2137" fmla="*/ 1123520 w 6386648"/>
                <a:gd name="connsiteY2137" fmla="*/ 305336 h 1849426"/>
                <a:gd name="connsiteX2138" fmla="*/ 1105496 w 6386648"/>
                <a:gd name="connsiteY2138" fmla="*/ 287311 h 1849426"/>
                <a:gd name="connsiteX2139" fmla="*/ 1123520 w 6386648"/>
                <a:gd name="connsiteY2139" fmla="*/ 269287 h 1849426"/>
                <a:gd name="connsiteX2140" fmla="*/ 5112922 w 6386648"/>
                <a:gd name="connsiteY2140" fmla="*/ 263279 h 1849426"/>
                <a:gd name="connsiteX2141" fmla="*/ 5130947 w 6386648"/>
                <a:gd name="connsiteY2141" fmla="*/ 281303 h 1849426"/>
                <a:gd name="connsiteX2142" fmla="*/ 5112922 w 6386648"/>
                <a:gd name="connsiteY2142" fmla="*/ 299328 h 1849426"/>
                <a:gd name="connsiteX2143" fmla="*/ 5094898 w 6386648"/>
                <a:gd name="connsiteY2143" fmla="*/ 281303 h 1849426"/>
                <a:gd name="connsiteX2144" fmla="*/ 5112922 w 6386648"/>
                <a:gd name="connsiteY2144" fmla="*/ 263279 h 1849426"/>
                <a:gd name="connsiteX2145" fmla="*/ 4217710 w 6386648"/>
                <a:gd name="connsiteY2145" fmla="*/ 263279 h 1849426"/>
                <a:gd name="connsiteX2146" fmla="*/ 4235735 w 6386648"/>
                <a:gd name="connsiteY2146" fmla="*/ 281303 h 1849426"/>
                <a:gd name="connsiteX2147" fmla="*/ 4217710 w 6386648"/>
                <a:gd name="connsiteY2147" fmla="*/ 299328 h 1849426"/>
                <a:gd name="connsiteX2148" fmla="*/ 4199685 w 6386648"/>
                <a:gd name="connsiteY2148" fmla="*/ 281303 h 1849426"/>
                <a:gd name="connsiteX2149" fmla="*/ 4217710 w 6386648"/>
                <a:gd name="connsiteY2149" fmla="*/ 263279 h 1849426"/>
                <a:gd name="connsiteX2150" fmla="*/ 3190319 w 6386648"/>
                <a:gd name="connsiteY2150" fmla="*/ 263279 h 1849426"/>
                <a:gd name="connsiteX2151" fmla="*/ 3208344 w 6386648"/>
                <a:gd name="connsiteY2151" fmla="*/ 281303 h 1849426"/>
                <a:gd name="connsiteX2152" fmla="*/ 3190319 w 6386648"/>
                <a:gd name="connsiteY2152" fmla="*/ 299328 h 1849426"/>
                <a:gd name="connsiteX2153" fmla="*/ 3172295 w 6386648"/>
                <a:gd name="connsiteY2153" fmla="*/ 281303 h 1849426"/>
                <a:gd name="connsiteX2154" fmla="*/ 3190319 w 6386648"/>
                <a:gd name="connsiteY2154" fmla="*/ 263279 h 1849426"/>
                <a:gd name="connsiteX2155" fmla="*/ 5996118 w 6386648"/>
                <a:gd name="connsiteY2155" fmla="*/ 257270 h 1849426"/>
                <a:gd name="connsiteX2156" fmla="*/ 6014143 w 6386648"/>
                <a:gd name="connsiteY2156" fmla="*/ 275295 h 1849426"/>
                <a:gd name="connsiteX2157" fmla="*/ 5996118 w 6386648"/>
                <a:gd name="connsiteY2157" fmla="*/ 293319 h 1849426"/>
                <a:gd name="connsiteX2158" fmla="*/ 5978094 w 6386648"/>
                <a:gd name="connsiteY2158" fmla="*/ 275295 h 1849426"/>
                <a:gd name="connsiteX2159" fmla="*/ 5996118 w 6386648"/>
                <a:gd name="connsiteY2159" fmla="*/ 257270 h 1849426"/>
                <a:gd name="connsiteX2160" fmla="*/ 5233085 w 6386648"/>
                <a:gd name="connsiteY2160" fmla="*/ 257270 h 1849426"/>
                <a:gd name="connsiteX2161" fmla="*/ 5251110 w 6386648"/>
                <a:gd name="connsiteY2161" fmla="*/ 275295 h 1849426"/>
                <a:gd name="connsiteX2162" fmla="*/ 5233085 w 6386648"/>
                <a:gd name="connsiteY2162" fmla="*/ 293319 h 1849426"/>
                <a:gd name="connsiteX2163" fmla="*/ 5215061 w 6386648"/>
                <a:gd name="connsiteY2163" fmla="*/ 275295 h 1849426"/>
                <a:gd name="connsiteX2164" fmla="*/ 5233085 w 6386648"/>
                <a:gd name="connsiteY2164" fmla="*/ 257270 h 1849426"/>
                <a:gd name="connsiteX2165" fmla="*/ 4584206 w 6386648"/>
                <a:gd name="connsiteY2165" fmla="*/ 257270 h 1849426"/>
                <a:gd name="connsiteX2166" fmla="*/ 4602231 w 6386648"/>
                <a:gd name="connsiteY2166" fmla="*/ 275295 h 1849426"/>
                <a:gd name="connsiteX2167" fmla="*/ 4584206 w 6386648"/>
                <a:gd name="connsiteY2167" fmla="*/ 293319 h 1849426"/>
                <a:gd name="connsiteX2168" fmla="*/ 4566182 w 6386648"/>
                <a:gd name="connsiteY2168" fmla="*/ 275295 h 1849426"/>
                <a:gd name="connsiteX2169" fmla="*/ 4584206 w 6386648"/>
                <a:gd name="connsiteY2169" fmla="*/ 257270 h 1849426"/>
                <a:gd name="connsiteX2170" fmla="*/ 2156921 w 6386648"/>
                <a:gd name="connsiteY2170" fmla="*/ 257270 h 1849426"/>
                <a:gd name="connsiteX2171" fmla="*/ 2174945 w 6386648"/>
                <a:gd name="connsiteY2171" fmla="*/ 275295 h 1849426"/>
                <a:gd name="connsiteX2172" fmla="*/ 2156921 w 6386648"/>
                <a:gd name="connsiteY2172" fmla="*/ 293319 h 1849426"/>
                <a:gd name="connsiteX2173" fmla="*/ 2138896 w 6386648"/>
                <a:gd name="connsiteY2173" fmla="*/ 275295 h 1849426"/>
                <a:gd name="connsiteX2174" fmla="*/ 2156921 w 6386648"/>
                <a:gd name="connsiteY2174" fmla="*/ 257270 h 1849426"/>
                <a:gd name="connsiteX2175" fmla="*/ 781057 w 6386648"/>
                <a:gd name="connsiteY2175" fmla="*/ 257270 h 1849426"/>
                <a:gd name="connsiteX2176" fmla="*/ 799082 w 6386648"/>
                <a:gd name="connsiteY2176" fmla="*/ 275295 h 1849426"/>
                <a:gd name="connsiteX2177" fmla="*/ 781057 w 6386648"/>
                <a:gd name="connsiteY2177" fmla="*/ 293319 h 1849426"/>
                <a:gd name="connsiteX2178" fmla="*/ 763033 w 6386648"/>
                <a:gd name="connsiteY2178" fmla="*/ 275295 h 1849426"/>
                <a:gd name="connsiteX2179" fmla="*/ 781057 w 6386648"/>
                <a:gd name="connsiteY2179" fmla="*/ 257270 h 1849426"/>
                <a:gd name="connsiteX2180" fmla="*/ 420569 w 6386648"/>
                <a:gd name="connsiteY2180" fmla="*/ 257270 h 1849426"/>
                <a:gd name="connsiteX2181" fmla="*/ 438594 w 6386648"/>
                <a:gd name="connsiteY2181" fmla="*/ 275295 h 1849426"/>
                <a:gd name="connsiteX2182" fmla="*/ 420569 w 6386648"/>
                <a:gd name="connsiteY2182" fmla="*/ 293319 h 1849426"/>
                <a:gd name="connsiteX2183" fmla="*/ 402545 w 6386648"/>
                <a:gd name="connsiteY2183" fmla="*/ 275295 h 1849426"/>
                <a:gd name="connsiteX2184" fmla="*/ 420569 w 6386648"/>
                <a:gd name="connsiteY2184" fmla="*/ 257270 h 1849426"/>
                <a:gd name="connsiteX2185" fmla="*/ 5845915 w 6386648"/>
                <a:gd name="connsiteY2185" fmla="*/ 245254 h 1849426"/>
                <a:gd name="connsiteX2186" fmla="*/ 5863940 w 6386648"/>
                <a:gd name="connsiteY2186" fmla="*/ 263278 h 1849426"/>
                <a:gd name="connsiteX2187" fmla="*/ 5845915 w 6386648"/>
                <a:gd name="connsiteY2187" fmla="*/ 281303 h 1849426"/>
                <a:gd name="connsiteX2188" fmla="*/ 5827891 w 6386648"/>
                <a:gd name="connsiteY2188" fmla="*/ 263278 h 1849426"/>
                <a:gd name="connsiteX2189" fmla="*/ 5845915 w 6386648"/>
                <a:gd name="connsiteY2189" fmla="*/ 245254 h 1849426"/>
                <a:gd name="connsiteX2190" fmla="*/ 4013434 w 6386648"/>
                <a:gd name="connsiteY2190" fmla="*/ 245254 h 1849426"/>
                <a:gd name="connsiteX2191" fmla="*/ 4031459 w 6386648"/>
                <a:gd name="connsiteY2191" fmla="*/ 263278 h 1849426"/>
                <a:gd name="connsiteX2192" fmla="*/ 4013434 w 6386648"/>
                <a:gd name="connsiteY2192" fmla="*/ 281303 h 1849426"/>
                <a:gd name="connsiteX2193" fmla="*/ 3995410 w 6386648"/>
                <a:gd name="connsiteY2193" fmla="*/ 263278 h 1849426"/>
                <a:gd name="connsiteX2194" fmla="*/ 4013434 w 6386648"/>
                <a:gd name="connsiteY2194" fmla="*/ 245254 h 1849426"/>
                <a:gd name="connsiteX2195" fmla="*/ 2841847 w 6386648"/>
                <a:gd name="connsiteY2195" fmla="*/ 245254 h 1849426"/>
                <a:gd name="connsiteX2196" fmla="*/ 2859872 w 6386648"/>
                <a:gd name="connsiteY2196" fmla="*/ 263278 h 1849426"/>
                <a:gd name="connsiteX2197" fmla="*/ 2841847 w 6386648"/>
                <a:gd name="connsiteY2197" fmla="*/ 281303 h 1849426"/>
                <a:gd name="connsiteX2198" fmla="*/ 2823823 w 6386648"/>
                <a:gd name="connsiteY2198" fmla="*/ 263278 h 1849426"/>
                <a:gd name="connsiteX2199" fmla="*/ 2841847 w 6386648"/>
                <a:gd name="connsiteY2199" fmla="*/ 245254 h 1849426"/>
                <a:gd name="connsiteX2200" fmla="*/ 2006717 w 6386648"/>
                <a:gd name="connsiteY2200" fmla="*/ 245254 h 1849426"/>
                <a:gd name="connsiteX2201" fmla="*/ 2024741 w 6386648"/>
                <a:gd name="connsiteY2201" fmla="*/ 263278 h 1849426"/>
                <a:gd name="connsiteX2202" fmla="*/ 2006717 w 6386648"/>
                <a:gd name="connsiteY2202" fmla="*/ 281303 h 1849426"/>
                <a:gd name="connsiteX2203" fmla="*/ 1988692 w 6386648"/>
                <a:gd name="connsiteY2203" fmla="*/ 263278 h 1849426"/>
                <a:gd name="connsiteX2204" fmla="*/ 2006717 w 6386648"/>
                <a:gd name="connsiteY2204" fmla="*/ 245254 h 1849426"/>
                <a:gd name="connsiteX2205" fmla="*/ 1009366 w 6386648"/>
                <a:gd name="connsiteY2205" fmla="*/ 245254 h 1849426"/>
                <a:gd name="connsiteX2206" fmla="*/ 1027391 w 6386648"/>
                <a:gd name="connsiteY2206" fmla="*/ 263278 h 1849426"/>
                <a:gd name="connsiteX2207" fmla="*/ 1009366 w 6386648"/>
                <a:gd name="connsiteY2207" fmla="*/ 281303 h 1849426"/>
                <a:gd name="connsiteX2208" fmla="*/ 991342 w 6386648"/>
                <a:gd name="connsiteY2208" fmla="*/ 263278 h 1849426"/>
                <a:gd name="connsiteX2209" fmla="*/ 1009366 w 6386648"/>
                <a:gd name="connsiteY2209" fmla="*/ 245254 h 1849426"/>
                <a:gd name="connsiteX2210" fmla="*/ 4337873 w 6386648"/>
                <a:gd name="connsiteY2210" fmla="*/ 239246 h 1849426"/>
                <a:gd name="connsiteX2211" fmla="*/ 4355898 w 6386648"/>
                <a:gd name="connsiteY2211" fmla="*/ 257270 h 1849426"/>
                <a:gd name="connsiteX2212" fmla="*/ 4337873 w 6386648"/>
                <a:gd name="connsiteY2212" fmla="*/ 275295 h 1849426"/>
                <a:gd name="connsiteX2213" fmla="*/ 4319848 w 6386648"/>
                <a:gd name="connsiteY2213" fmla="*/ 257270 h 1849426"/>
                <a:gd name="connsiteX2214" fmla="*/ 4337873 w 6386648"/>
                <a:gd name="connsiteY2214" fmla="*/ 239246 h 1849426"/>
                <a:gd name="connsiteX2215" fmla="*/ 3310482 w 6386648"/>
                <a:gd name="connsiteY2215" fmla="*/ 239246 h 1849426"/>
                <a:gd name="connsiteX2216" fmla="*/ 3328507 w 6386648"/>
                <a:gd name="connsiteY2216" fmla="*/ 257270 h 1849426"/>
                <a:gd name="connsiteX2217" fmla="*/ 3310482 w 6386648"/>
                <a:gd name="connsiteY2217" fmla="*/ 275295 h 1849426"/>
                <a:gd name="connsiteX2218" fmla="*/ 3292458 w 6386648"/>
                <a:gd name="connsiteY2218" fmla="*/ 257270 h 1849426"/>
                <a:gd name="connsiteX2219" fmla="*/ 3310482 w 6386648"/>
                <a:gd name="connsiteY2219" fmla="*/ 239246 h 1849426"/>
                <a:gd name="connsiteX2220" fmla="*/ 3418628 w 6386648"/>
                <a:gd name="connsiteY2220" fmla="*/ 233238 h 1849426"/>
                <a:gd name="connsiteX2221" fmla="*/ 3436653 w 6386648"/>
                <a:gd name="connsiteY2221" fmla="*/ 251262 h 1849426"/>
                <a:gd name="connsiteX2222" fmla="*/ 3418628 w 6386648"/>
                <a:gd name="connsiteY2222" fmla="*/ 269287 h 1849426"/>
                <a:gd name="connsiteX2223" fmla="*/ 3400604 w 6386648"/>
                <a:gd name="connsiteY2223" fmla="*/ 251262 h 1849426"/>
                <a:gd name="connsiteX2224" fmla="*/ 3418628 w 6386648"/>
                <a:gd name="connsiteY2224" fmla="*/ 233238 h 1849426"/>
                <a:gd name="connsiteX2225" fmla="*/ 4836548 w 6386648"/>
                <a:gd name="connsiteY2225" fmla="*/ 227230 h 1849426"/>
                <a:gd name="connsiteX2226" fmla="*/ 4854573 w 6386648"/>
                <a:gd name="connsiteY2226" fmla="*/ 245255 h 1849426"/>
                <a:gd name="connsiteX2227" fmla="*/ 4836548 w 6386648"/>
                <a:gd name="connsiteY2227" fmla="*/ 263279 h 1849426"/>
                <a:gd name="connsiteX2228" fmla="*/ 4818524 w 6386648"/>
                <a:gd name="connsiteY2228" fmla="*/ 245255 h 1849426"/>
                <a:gd name="connsiteX2229" fmla="*/ 4836548 w 6386648"/>
                <a:gd name="connsiteY2229" fmla="*/ 227230 h 1849426"/>
                <a:gd name="connsiteX2230" fmla="*/ 2949994 w 6386648"/>
                <a:gd name="connsiteY2230" fmla="*/ 227230 h 1849426"/>
                <a:gd name="connsiteX2231" fmla="*/ 2968019 w 6386648"/>
                <a:gd name="connsiteY2231" fmla="*/ 245255 h 1849426"/>
                <a:gd name="connsiteX2232" fmla="*/ 2949994 w 6386648"/>
                <a:gd name="connsiteY2232" fmla="*/ 263279 h 1849426"/>
                <a:gd name="connsiteX2233" fmla="*/ 2931970 w 6386648"/>
                <a:gd name="connsiteY2233" fmla="*/ 245255 h 1849426"/>
                <a:gd name="connsiteX2234" fmla="*/ 2949994 w 6386648"/>
                <a:gd name="connsiteY2234" fmla="*/ 227230 h 1849426"/>
                <a:gd name="connsiteX2235" fmla="*/ 2727693 w 6386648"/>
                <a:gd name="connsiteY2235" fmla="*/ 227230 h 1849426"/>
                <a:gd name="connsiteX2236" fmla="*/ 2745718 w 6386648"/>
                <a:gd name="connsiteY2236" fmla="*/ 245255 h 1849426"/>
                <a:gd name="connsiteX2237" fmla="*/ 2727693 w 6386648"/>
                <a:gd name="connsiteY2237" fmla="*/ 263279 h 1849426"/>
                <a:gd name="connsiteX2238" fmla="*/ 2709669 w 6386648"/>
                <a:gd name="connsiteY2238" fmla="*/ 245255 h 1849426"/>
                <a:gd name="connsiteX2239" fmla="*/ 2727693 w 6386648"/>
                <a:gd name="connsiteY2239" fmla="*/ 227230 h 1849426"/>
                <a:gd name="connsiteX2240" fmla="*/ 270365 w 6386648"/>
                <a:gd name="connsiteY2240" fmla="*/ 227230 h 1849426"/>
                <a:gd name="connsiteX2241" fmla="*/ 288390 w 6386648"/>
                <a:gd name="connsiteY2241" fmla="*/ 245255 h 1849426"/>
                <a:gd name="connsiteX2242" fmla="*/ 270365 w 6386648"/>
                <a:gd name="connsiteY2242" fmla="*/ 263279 h 1849426"/>
                <a:gd name="connsiteX2243" fmla="*/ 252341 w 6386648"/>
                <a:gd name="connsiteY2243" fmla="*/ 245255 h 1849426"/>
                <a:gd name="connsiteX2244" fmla="*/ 270365 w 6386648"/>
                <a:gd name="connsiteY2244" fmla="*/ 227230 h 1849426"/>
                <a:gd name="connsiteX2245" fmla="*/ 3893271 w 6386648"/>
                <a:gd name="connsiteY2245" fmla="*/ 221222 h 1849426"/>
                <a:gd name="connsiteX2246" fmla="*/ 3911296 w 6386648"/>
                <a:gd name="connsiteY2246" fmla="*/ 239246 h 1849426"/>
                <a:gd name="connsiteX2247" fmla="*/ 3893271 w 6386648"/>
                <a:gd name="connsiteY2247" fmla="*/ 257271 h 1849426"/>
                <a:gd name="connsiteX2248" fmla="*/ 3875247 w 6386648"/>
                <a:gd name="connsiteY2248" fmla="*/ 239246 h 1849426"/>
                <a:gd name="connsiteX2249" fmla="*/ 3893271 w 6386648"/>
                <a:gd name="connsiteY2249" fmla="*/ 221222 h 1849426"/>
                <a:gd name="connsiteX2250" fmla="*/ 1682277 w 6386648"/>
                <a:gd name="connsiteY2250" fmla="*/ 221222 h 1849426"/>
                <a:gd name="connsiteX2251" fmla="*/ 1700302 w 6386648"/>
                <a:gd name="connsiteY2251" fmla="*/ 239246 h 1849426"/>
                <a:gd name="connsiteX2252" fmla="*/ 1682277 w 6386648"/>
                <a:gd name="connsiteY2252" fmla="*/ 257271 h 1849426"/>
                <a:gd name="connsiteX2253" fmla="*/ 1664253 w 6386648"/>
                <a:gd name="connsiteY2253" fmla="*/ 239246 h 1849426"/>
                <a:gd name="connsiteX2254" fmla="*/ 1682277 w 6386648"/>
                <a:gd name="connsiteY2254" fmla="*/ 221222 h 1849426"/>
                <a:gd name="connsiteX2255" fmla="*/ 4458036 w 6386648"/>
                <a:gd name="connsiteY2255" fmla="*/ 215213 h 1849426"/>
                <a:gd name="connsiteX2256" fmla="*/ 4476061 w 6386648"/>
                <a:gd name="connsiteY2256" fmla="*/ 233237 h 1849426"/>
                <a:gd name="connsiteX2257" fmla="*/ 4458036 w 6386648"/>
                <a:gd name="connsiteY2257" fmla="*/ 251262 h 1849426"/>
                <a:gd name="connsiteX2258" fmla="*/ 4440011 w 6386648"/>
                <a:gd name="connsiteY2258" fmla="*/ 233237 h 1849426"/>
                <a:gd name="connsiteX2259" fmla="*/ 4458036 w 6386648"/>
                <a:gd name="connsiteY2259" fmla="*/ 215213 h 1849426"/>
                <a:gd name="connsiteX2260" fmla="*/ 3767100 w 6386648"/>
                <a:gd name="connsiteY2260" fmla="*/ 215213 h 1849426"/>
                <a:gd name="connsiteX2261" fmla="*/ 3785125 w 6386648"/>
                <a:gd name="connsiteY2261" fmla="*/ 233237 h 1849426"/>
                <a:gd name="connsiteX2262" fmla="*/ 3767100 w 6386648"/>
                <a:gd name="connsiteY2262" fmla="*/ 251262 h 1849426"/>
                <a:gd name="connsiteX2263" fmla="*/ 3749075 w 6386648"/>
                <a:gd name="connsiteY2263" fmla="*/ 233237 h 1849426"/>
                <a:gd name="connsiteX2264" fmla="*/ 3767100 w 6386648"/>
                <a:gd name="connsiteY2264" fmla="*/ 215213 h 1849426"/>
                <a:gd name="connsiteX2265" fmla="*/ 6224427 w 6386648"/>
                <a:gd name="connsiteY2265" fmla="*/ 209205 h 1849426"/>
                <a:gd name="connsiteX2266" fmla="*/ 6242452 w 6386648"/>
                <a:gd name="connsiteY2266" fmla="*/ 227229 h 1849426"/>
                <a:gd name="connsiteX2267" fmla="*/ 6224427 w 6386648"/>
                <a:gd name="connsiteY2267" fmla="*/ 245254 h 1849426"/>
                <a:gd name="connsiteX2268" fmla="*/ 6206403 w 6386648"/>
                <a:gd name="connsiteY2268" fmla="*/ 227229 h 1849426"/>
                <a:gd name="connsiteX2269" fmla="*/ 6224427 w 6386648"/>
                <a:gd name="connsiteY2269" fmla="*/ 209205 h 1849426"/>
                <a:gd name="connsiteX2270" fmla="*/ 1315782 w 6386648"/>
                <a:gd name="connsiteY2270" fmla="*/ 209205 h 1849426"/>
                <a:gd name="connsiteX2271" fmla="*/ 1333806 w 6386648"/>
                <a:gd name="connsiteY2271" fmla="*/ 227229 h 1849426"/>
                <a:gd name="connsiteX2272" fmla="*/ 1315782 w 6386648"/>
                <a:gd name="connsiteY2272" fmla="*/ 245254 h 1849426"/>
                <a:gd name="connsiteX2273" fmla="*/ 1297757 w 6386648"/>
                <a:gd name="connsiteY2273" fmla="*/ 227229 h 1849426"/>
                <a:gd name="connsiteX2274" fmla="*/ 1315782 w 6386648"/>
                <a:gd name="connsiteY2274" fmla="*/ 209205 h 1849426"/>
                <a:gd name="connsiteX2275" fmla="*/ 5713736 w 6386648"/>
                <a:gd name="connsiteY2275" fmla="*/ 203197 h 1849426"/>
                <a:gd name="connsiteX2276" fmla="*/ 5731761 w 6386648"/>
                <a:gd name="connsiteY2276" fmla="*/ 221221 h 1849426"/>
                <a:gd name="connsiteX2277" fmla="*/ 5713736 w 6386648"/>
                <a:gd name="connsiteY2277" fmla="*/ 239246 h 1849426"/>
                <a:gd name="connsiteX2278" fmla="*/ 5695712 w 6386648"/>
                <a:gd name="connsiteY2278" fmla="*/ 221221 h 1849426"/>
                <a:gd name="connsiteX2279" fmla="*/ 5713736 w 6386648"/>
                <a:gd name="connsiteY2279" fmla="*/ 203197 h 1849426"/>
                <a:gd name="connsiteX2280" fmla="*/ 1550098 w 6386648"/>
                <a:gd name="connsiteY2280" fmla="*/ 203197 h 1849426"/>
                <a:gd name="connsiteX2281" fmla="*/ 1568123 w 6386648"/>
                <a:gd name="connsiteY2281" fmla="*/ 221221 h 1849426"/>
                <a:gd name="connsiteX2282" fmla="*/ 1550098 w 6386648"/>
                <a:gd name="connsiteY2282" fmla="*/ 239246 h 1849426"/>
                <a:gd name="connsiteX2283" fmla="*/ 1532074 w 6386648"/>
                <a:gd name="connsiteY2283" fmla="*/ 221221 h 1849426"/>
                <a:gd name="connsiteX2284" fmla="*/ 1550098 w 6386648"/>
                <a:gd name="connsiteY2284" fmla="*/ 203197 h 1849426"/>
                <a:gd name="connsiteX2285" fmla="*/ 5587565 w 6386648"/>
                <a:gd name="connsiteY2285" fmla="*/ 197189 h 1849426"/>
                <a:gd name="connsiteX2286" fmla="*/ 5605590 w 6386648"/>
                <a:gd name="connsiteY2286" fmla="*/ 215214 h 1849426"/>
                <a:gd name="connsiteX2287" fmla="*/ 5587565 w 6386648"/>
                <a:gd name="connsiteY2287" fmla="*/ 233238 h 1849426"/>
                <a:gd name="connsiteX2288" fmla="*/ 5569541 w 6386648"/>
                <a:gd name="connsiteY2288" fmla="*/ 215214 h 1849426"/>
                <a:gd name="connsiteX2289" fmla="*/ 5587565 w 6386648"/>
                <a:gd name="connsiteY2289" fmla="*/ 197189 h 1849426"/>
                <a:gd name="connsiteX2290" fmla="*/ 4121580 w 6386648"/>
                <a:gd name="connsiteY2290" fmla="*/ 197189 h 1849426"/>
                <a:gd name="connsiteX2291" fmla="*/ 4139605 w 6386648"/>
                <a:gd name="connsiteY2291" fmla="*/ 215214 h 1849426"/>
                <a:gd name="connsiteX2292" fmla="*/ 4121580 w 6386648"/>
                <a:gd name="connsiteY2292" fmla="*/ 233238 h 1849426"/>
                <a:gd name="connsiteX2293" fmla="*/ 4103556 w 6386648"/>
                <a:gd name="connsiteY2293" fmla="*/ 215214 h 1849426"/>
                <a:gd name="connsiteX2294" fmla="*/ 4121580 w 6386648"/>
                <a:gd name="connsiteY2294" fmla="*/ 197189 h 1849426"/>
                <a:gd name="connsiteX2295" fmla="*/ 3076164 w 6386648"/>
                <a:gd name="connsiteY2295" fmla="*/ 197189 h 1849426"/>
                <a:gd name="connsiteX2296" fmla="*/ 3094189 w 6386648"/>
                <a:gd name="connsiteY2296" fmla="*/ 215214 h 1849426"/>
                <a:gd name="connsiteX2297" fmla="*/ 3076164 w 6386648"/>
                <a:gd name="connsiteY2297" fmla="*/ 233238 h 1849426"/>
                <a:gd name="connsiteX2298" fmla="*/ 3058139 w 6386648"/>
                <a:gd name="connsiteY2298" fmla="*/ 215214 h 1849426"/>
                <a:gd name="connsiteX2299" fmla="*/ 3076164 w 6386648"/>
                <a:gd name="connsiteY2299" fmla="*/ 197189 h 1849426"/>
                <a:gd name="connsiteX2300" fmla="*/ 5449378 w 6386648"/>
                <a:gd name="connsiteY2300" fmla="*/ 191181 h 1849426"/>
                <a:gd name="connsiteX2301" fmla="*/ 5467403 w 6386648"/>
                <a:gd name="connsiteY2301" fmla="*/ 209205 h 1849426"/>
                <a:gd name="connsiteX2302" fmla="*/ 5449378 w 6386648"/>
                <a:gd name="connsiteY2302" fmla="*/ 227230 h 1849426"/>
                <a:gd name="connsiteX2303" fmla="*/ 5431353 w 6386648"/>
                <a:gd name="connsiteY2303" fmla="*/ 209205 h 1849426"/>
                <a:gd name="connsiteX2304" fmla="*/ 5449378 w 6386648"/>
                <a:gd name="connsiteY2304" fmla="*/ 191181 h 1849426"/>
                <a:gd name="connsiteX2305" fmla="*/ 2607530 w 6386648"/>
                <a:gd name="connsiteY2305" fmla="*/ 191181 h 1849426"/>
                <a:gd name="connsiteX2306" fmla="*/ 2625555 w 6386648"/>
                <a:gd name="connsiteY2306" fmla="*/ 209205 h 1849426"/>
                <a:gd name="connsiteX2307" fmla="*/ 2607530 w 6386648"/>
                <a:gd name="connsiteY2307" fmla="*/ 227230 h 1849426"/>
                <a:gd name="connsiteX2308" fmla="*/ 2589506 w 6386648"/>
                <a:gd name="connsiteY2308" fmla="*/ 209205 h 1849426"/>
                <a:gd name="connsiteX2309" fmla="*/ 2607530 w 6386648"/>
                <a:gd name="connsiteY2309" fmla="*/ 191181 h 1849426"/>
                <a:gd name="connsiteX2310" fmla="*/ 30040 w 6386648"/>
                <a:gd name="connsiteY2310" fmla="*/ 191181 h 1849426"/>
                <a:gd name="connsiteX2311" fmla="*/ 48065 w 6386648"/>
                <a:gd name="connsiteY2311" fmla="*/ 209205 h 1849426"/>
                <a:gd name="connsiteX2312" fmla="*/ 30040 w 6386648"/>
                <a:gd name="connsiteY2312" fmla="*/ 227230 h 1849426"/>
                <a:gd name="connsiteX2313" fmla="*/ 12016 w 6386648"/>
                <a:gd name="connsiteY2313" fmla="*/ 209205 h 1849426"/>
                <a:gd name="connsiteX2314" fmla="*/ 30040 w 6386648"/>
                <a:gd name="connsiteY2314" fmla="*/ 191181 h 1849426"/>
                <a:gd name="connsiteX2315" fmla="*/ 6368623 w 6386648"/>
                <a:gd name="connsiteY2315" fmla="*/ 185173 h 1849426"/>
                <a:gd name="connsiteX2316" fmla="*/ 6386648 w 6386648"/>
                <a:gd name="connsiteY2316" fmla="*/ 203197 h 1849426"/>
                <a:gd name="connsiteX2317" fmla="*/ 6368623 w 6386648"/>
                <a:gd name="connsiteY2317" fmla="*/ 221222 h 1849426"/>
                <a:gd name="connsiteX2318" fmla="*/ 6350599 w 6386648"/>
                <a:gd name="connsiteY2318" fmla="*/ 203197 h 1849426"/>
                <a:gd name="connsiteX2319" fmla="*/ 6368623 w 6386648"/>
                <a:gd name="connsiteY2319" fmla="*/ 185173 h 1849426"/>
                <a:gd name="connsiteX2320" fmla="*/ 2379221 w 6386648"/>
                <a:gd name="connsiteY2320" fmla="*/ 179165 h 1849426"/>
                <a:gd name="connsiteX2321" fmla="*/ 2397246 w 6386648"/>
                <a:gd name="connsiteY2321" fmla="*/ 197189 h 1849426"/>
                <a:gd name="connsiteX2322" fmla="*/ 2379221 w 6386648"/>
                <a:gd name="connsiteY2322" fmla="*/ 215214 h 1849426"/>
                <a:gd name="connsiteX2323" fmla="*/ 2361197 w 6386648"/>
                <a:gd name="connsiteY2323" fmla="*/ 197189 h 1849426"/>
                <a:gd name="connsiteX2324" fmla="*/ 2379221 w 6386648"/>
                <a:gd name="connsiteY2324" fmla="*/ 179165 h 1849426"/>
                <a:gd name="connsiteX2325" fmla="*/ 2253050 w 6386648"/>
                <a:gd name="connsiteY2325" fmla="*/ 179165 h 1849426"/>
                <a:gd name="connsiteX2326" fmla="*/ 2271075 w 6386648"/>
                <a:gd name="connsiteY2326" fmla="*/ 197189 h 1849426"/>
                <a:gd name="connsiteX2327" fmla="*/ 2253050 w 6386648"/>
                <a:gd name="connsiteY2327" fmla="*/ 215214 h 1849426"/>
                <a:gd name="connsiteX2328" fmla="*/ 2235026 w 6386648"/>
                <a:gd name="connsiteY2328" fmla="*/ 197189 h 1849426"/>
                <a:gd name="connsiteX2329" fmla="*/ 2253050 w 6386648"/>
                <a:gd name="connsiteY2329" fmla="*/ 179165 h 1849426"/>
                <a:gd name="connsiteX2330" fmla="*/ 624846 w 6386648"/>
                <a:gd name="connsiteY2330" fmla="*/ 179165 h 1849426"/>
                <a:gd name="connsiteX2331" fmla="*/ 642870 w 6386648"/>
                <a:gd name="connsiteY2331" fmla="*/ 197189 h 1849426"/>
                <a:gd name="connsiteX2332" fmla="*/ 624846 w 6386648"/>
                <a:gd name="connsiteY2332" fmla="*/ 215214 h 1849426"/>
                <a:gd name="connsiteX2333" fmla="*/ 606821 w 6386648"/>
                <a:gd name="connsiteY2333" fmla="*/ 197189 h 1849426"/>
                <a:gd name="connsiteX2334" fmla="*/ 624846 w 6386648"/>
                <a:gd name="connsiteY2334" fmla="*/ 179165 h 1849426"/>
                <a:gd name="connsiteX2335" fmla="*/ 6116281 w 6386648"/>
                <a:gd name="connsiteY2335" fmla="*/ 167148 h 1849426"/>
                <a:gd name="connsiteX2336" fmla="*/ 6134306 w 6386648"/>
                <a:gd name="connsiteY2336" fmla="*/ 185173 h 1849426"/>
                <a:gd name="connsiteX2337" fmla="*/ 6116281 w 6386648"/>
                <a:gd name="connsiteY2337" fmla="*/ 203197 h 1849426"/>
                <a:gd name="connsiteX2338" fmla="*/ 6098257 w 6386648"/>
                <a:gd name="connsiteY2338" fmla="*/ 185173 h 1849426"/>
                <a:gd name="connsiteX2339" fmla="*/ 6116281 w 6386648"/>
                <a:gd name="connsiteY2339" fmla="*/ 167148 h 1849426"/>
                <a:gd name="connsiteX2340" fmla="*/ 5311191 w 6386648"/>
                <a:gd name="connsiteY2340" fmla="*/ 167148 h 1849426"/>
                <a:gd name="connsiteX2341" fmla="*/ 5329216 w 6386648"/>
                <a:gd name="connsiteY2341" fmla="*/ 185173 h 1849426"/>
                <a:gd name="connsiteX2342" fmla="*/ 5311191 w 6386648"/>
                <a:gd name="connsiteY2342" fmla="*/ 203197 h 1849426"/>
                <a:gd name="connsiteX2343" fmla="*/ 5293167 w 6386648"/>
                <a:gd name="connsiteY2343" fmla="*/ 185173 h 1849426"/>
                <a:gd name="connsiteX2344" fmla="*/ 5311191 w 6386648"/>
                <a:gd name="connsiteY2344" fmla="*/ 167148 h 1849426"/>
                <a:gd name="connsiteX2345" fmla="*/ 3508750 w 6386648"/>
                <a:gd name="connsiteY2345" fmla="*/ 167148 h 1849426"/>
                <a:gd name="connsiteX2346" fmla="*/ 3526775 w 6386648"/>
                <a:gd name="connsiteY2346" fmla="*/ 185173 h 1849426"/>
                <a:gd name="connsiteX2347" fmla="*/ 3508750 w 6386648"/>
                <a:gd name="connsiteY2347" fmla="*/ 203197 h 1849426"/>
                <a:gd name="connsiteX2348" fmla="*/ 3490726 w 6386648"/>
                <a:gd name="connsiteY2348" fmla="*/ 185173 h 1849426"/>
                <a:gd name="connsiteX2349" fmla="*/ 3508750 w 6386648"/>
                <a:gd name="connsiteY2349" fmla="*/ 167148 h 1849426"/>
                <a:gd name="connsiteX2350" fmla="*/ 1820464 w 6386648"/>
                <a:gd name="connsiteY2350" fmla="*/ 167148 h 1849426"/>
                <a:gd name="connsiteX2351" fmla="*/ 1838489 w 6386648"/>
                <a:gd name="connsiteY2351" fmla="*/ 185173 h 1849426"/>
                <a:gd name="connsiteX2352" fmla="*/ 1820464 w 6386648"/>
                <a:gd name="connsiteY2352" fmla="*/ 203197 h 1849426"/>
                <a:gd name="connsiteX2353" fmla="*/ 1802440 w 6386648"/>
                <a:gd name="connsiteY2353" fmla="*/ 185173 h 1849426"/>
                <a:gd name="connsiteX2354" fmla="*/ 1820464 w 6386648"/>
                <a:gd name="connsiteY2354" fmla="*/ 167148 h 1849426"/>
                <a:gd name="connsiteX2355" fmla="*/ 1423927 w 6386648"/>
                <a:gd name="connsiteY2355" fmla="*/ 167148 h 1849426"/>
                <a:gd name="connsiteX2356" fmla="*/ 1441952 w 6386648"/>
                <a:gd name="connsiteY2356" fmla="*/ 185173 h 1849426"/>
                <a:gd name="connsiteX2357" fmla="*/ 1423927 w 6386648"/>
                <a:gd name="connsiteY2357" fmla="*/ 203197 h 1849426"/>
                <a:gd name="connsiteX2358" fmla="*/ 1405903 w 6386648"/>
                <a:gd name="connsiteY2358" fmla="*/ 185173 h 1849426"/>
                <a:gd name="connsiteX2359" fmla="*/ 1423927 w 6386648"/>
                <a:gd name="connsiteY2359" fmla="*/ 167148 h 1849426"/>
                <a:gd name="connsiteX2360" fmla="*/ 5100906 w 6386648"/>
                <a:gd name="connsiteY2360" fmla="*/ 161140 h 1849426"/>
                <a:gd name="connsiteX2361" fmla="*/ 5118931 w 6386648"/>
                <a:gd name="connsiteY2361" fmla="*/ 179164 h 1849426"/>
                <a:gd name="connsiteX2362" fmla="*/ 5100906 w 6386648"/>
                <a:gd name="connsiteY2362" fmla="*/ 197189 h 1849426"/>
                <a:gd name="connsiteX2363" fmla="*/ 5082882 w 6386648"/>
                <a:gd name="connsiteY2363" fmla="*/ 179164 h 1849426"/>
                <a:gd name="connsiteX2364" fmla="*/ 5100906 w 6386648"/>
                <a:gd name="connsiteY2364" fmla="*/ 161140 h 1849426"/>
                <a:gd name="connsiteX2365" fmla="*/ 1189610 w 6386648"/>
                <a:gd name="connsiteY2365" fmla="*/ 161140 h 1849426"/>
                <a:gd name="connsiteX2366" fmla="*/ 1207635 w 6386648"/>
                <a:gd name="connsiteY2366" fmla="*/ 179164 h 1849426"/>
                <a:gd name="connsiteX2367" fmla="*/ 1189610 w 6386648"/>
                <a:gd name="connsiteY2367" fmla="*/ 197189 h 1849426"/>
                <a:gd name="connsiteX2368" fmla="*/ 1171586 w 6386648"/>
                <a:gd name="connsiteY2368" fmla="*/ 179164 h 1849426"/>
                <a:gd name="connsiteX2369" fmla="*/ 1189610 w 6386648"/>
                <a:gd name="connsiteY2369" fmla="*/ 161140 h 1849426"/>
                <a:gd name="connsiteX2370" fmla="*/ 492666 w 6386648"/>
                <a:gd name="connsiteY2370" fmla="*/ 161140 h 1849426"/>
                <a:gd name="connsiteX2371" fmla="*/ 510691 w 6386648"/>
                <a:gd name="connsiteY2371" fmla="*/ 179164 h 1849426"/>
                <a:gd name="connsiteX2372" fmla="*/ 492666 w 6386648"/>
                <a:gd name="connsiteY2372" fmla="*/ 197189 h 1849426"/>
                <a:gd name="connsiteX2373" fmla="*/ 474642 w 6386648"/>
                <a:gd name="connsiteY2373" fmla="*/ 179164 h 1849426"/>
                <a:gd name="connsiteX2374" fmla="*/ 492666 w 6386648"/>
                <a:gd name="connsiteY2374" fmla="*/ 161140 h 1849426"/>
                <a:gd name="connsiteX2375" fmla="*/ 132178 w 6386648"/>
                <a:gd name="connsiteY2375" fmla="*/ 161140 h 1849426"/>
                <a:gd name="connsiteX2376" fmla="*/ 150203 w 6386648"/>
                <a:gd name="connsiteY2376" fmla="*/ 179164 h 1849426"/>
                <a:gd name="connsiteX2377" fmla="*/ 132178 w 6386648"/>
                <a:gd name="connsiteY2377" fmla="*/ 197189 h 1849426"/>
                <a:gd name="connsiteX2378" fmla="*/ 114154 w 6386648"/>
                <a:gd name="connsiteY2378" fmla="*/ 179164 h 1849426"/>
                <a:gd name="connsiteX2379" fmla="*/ 132178 w 6386648"/>
                <a:gd name="connsiteY2379" fmla="*/ 161140 h 1849426"/>
                <a:gd name="connsiteX2380" fmla="*/ 4968727 w 6386648"/>
                <a:gd name="connsiteY2380" fmla="*/ 155132 h 1849426"/>
                <a:gd name="connsiteX2381" fmla="*/ 4986752 w 6386648"/>
                <a:gd name="connsiteY2381" fmla="*/ 173156 h 1849426"/>
                <a:gd name="connsiteX2382" fmla="*/ 4968727 w 6386648"/>
                <a:gd name="connsiteY2382" fmla="*/ 191181 h 1849426"/>
                <a:gd name="connsiteX2383" fmla="*/ 4950702 w 6386648"/>
                <a:gd name="connsiteY2383" fmla="*/ 173156 h 1849426"/>
                <a:gd name="connsiteX2384" fmla="*/ 4968727 w 6386648"/>
                <a:gd name="connsiteY2384" fmla="*/ 155132 h 1849426"/>
                <a:gd name="connsiteX2385" fmla="*/ 3634921 w 6386648"/>
                <a:gd name="connsiteY2385" fmla="*/ 155132 h 1849426"/>
                <a:gd name="connsiteX2386" fmla="*/ 3652946 w 6386648"/>
                <a:gd name="connsiteY2386" fmla="*/ 173156 h 1849426"/>
                <a:gd name="connsiteX2387" fmla="*/ 3634921 w 6386648"/>
                <a:gd name="connsiteY2387" fmla="*/ 191181 h 1849426"/>
                <a:gd name="connsiteX2388" fmla="*/ 3616897 w 6386648"/>
                <a:gd name="connsiteY2388" fmla="*/ 173156 h 1849426"/>
                <a:gd name="connsiteX2389" fmla="*/ 3634921 w 6386648"/>
                <a:gd name="connsiteY2389" fmla="*/ 155132 h 1849426"/>
                <a:gd name="connsiteX2390" fmla="*/ 2493375 w 6386648"/>
                <a:gd name="connsiteY2390" fmla="*/ 155132 h 1849426"/>
                <a:gd name="connsiteX2391" fmla="*/ 2511400 w 6386648"/>
                <a:gd name="connsiteY2391" fmla="*/ 173156 h 1849426"/>
                <a:gd name="connsiteX2392" fmla="*/ 2493375 w 6386648"/>
                <a:gd name="connsiteY2392" fmla="*/ 191181 h 1849426"/>
                <a:gd name="connsiteX2393" fmla="*/ 2475351 w 6386648"/>
                <a:gd name="connsiteY2393" fmla="*/ 173156 h 1849426"/>
                <a:gd name="connsiteX2394" fmla="*/ 2493375 w 6386648"/>
                <a:gd name="connsiteY2394" fmla="*/ 155132 h 1849426"/>
                <a:gd name="connsiteX2395" fmla="*/ 1922603 w 6386648"/>
                <a:gd name="connsiteY2395" fmla="*/ 155132 h 1849426"/>
                <a:gd name="connsiteX2396" fmla="*/ 1940628 w 6386648"/>
                <a:gd name="connsiteY2396" fmla="*/ 173156 h 1849426"/>
                <a:gd name="connsiteX2397" fmla="*/ 1922603 w 6386648"/>
                <a:gd name="connsiteY2397" fmla="*/ 191181 h 1849426"/>
                <a:gd name="connsiteX2398" fmla="*/ 1904579 w 6386648"/>
                <a:gd name="connsiteY2398" fmla="*/ 173156 h 1849426"/>
                <a:gd name="connsiteX2399" fmla="*/ 1922603 w 6386648"/>
                <a:gd name="connsiteY2399" fmla="*/ 155132 h 1849426"/>
                <a:gd name="connsiteX2400" fmla="*/ 919244 w 6386648"/>
                <a:gd name="connsiteY2400" fmla="*/ 155132 h 1849426"/>
                <a:gd name="connsiteX2401" fmla="*/ 937269 w 6386648"/>
                <a:gd name="connsiteY2401" fmla="*/ 173156 h 1849426"/>
                <a:gd name="connsiteX2402" fmla="*/ 919244 w 6386648"/>
                <a:gd name="connsiteY2402" fmla="*/ 191181 h 1849426"/>
                <a:gd name="connsiteX2403" fmla="*/ 901220 w 6386648"/>
                <a:gd name="connsiteY2403" fmla="*/ 173156 h 1849426"/>
                <a:gd name="connsiteX2404" fmla="*/ 919244 w 6386648"/>
                <a:gd name="connsiteY2404" fmla="*/ 155132 h 1849426"/>
                <a:gd name="connsiteX2405" fmla="*/ 5905996 w 6386648"/>
                <a:gd name="connsiteY2405" fmla="*/ 149124 h 1849426"/>
                <a:gd name="connsiteX2406" fmla="*/ 5924021 w 6386648"/>
                <a:gd name="connsiteY2406" fmla="*/ 167148 h 1849426"/>
                <a:gd name="connsiteX2407" fmla="*/ 5905996 w 6386648"/>
                <a:gd name="connsiteY2407" fmla="*/ 185173 h 1849426"/>
                <a:gd name="connsiteX2408" fmla="*/ 5887972 w 6386648"/>
                <a:gd name="connsiteY2408" fmla="*/ 167148 h 1849426"/>
                <a:gd name="connsiteX2409" fmla="*/ 5905996 w 6386648"/>
                <a:gd name="connsiteY2409" fmla="*/ 149124 h 1849426"/>
                <a:gd name="connsiteX2410" fmla="*/ 4644288 w 6386648"/>
                <a:gd name="connsiteY2410" fmla="*/ 149124 h 1849426"/>
                <a:gd name="connsiteX2411" fmla="*/ 4662313 w 6386648"/>
                <a:gd name="connsiteY2411" fmla="*/ 167148 h 1849426"/>
                <a:gd name="connsiteX2412" fmla="*/ 4644288 w 6386648"/>
                <a:gd name="connsiteY2412" fmla="*/ 185173 h 1849426"/>
                <a:gd name="connsiteX2413" fmla="*/ 4626264 w 6386648"/>
                <a:gd name="connsiteY2413" fmla="*/ 167148 h 1849426"/>
                <a:gd name="connsiteX2414" fmla="*/ 4644288 w 6386648"/>
                <a:gd name="connsiteY2414" fmla="*/ 149124 h 1849426"/>
                <a:gd name="connsiteX2415" fmla="*/ 2126880 w 6386648"/>
                <a:gd name="connsiteY2415" fmla="*/ 149124 h 1849426"/>
                <a:gd name="connsiteX2416" fmla="*/ 2144904 w 6386648"/>
                <a:gd name="connsiteY2416" fmla="*/ 167148 h 1849426"/>
                <a:gd name="connsiteX2417" fmla="*/ 2126880 w 6386648"/>
                <a:gd name="connsiteY2417" fmla="*/ 185173 h 1849426"/>
                <a:gd name="connsiteX2418" fmla="*/ 2108855 w 6386648"/>
                <a:gd name="connsiteY2418" fmla="*/ 167148 h 1849426"/>
                <a:gd name="connsiteX2419" fmla="*/ 2126880 w 6386648"/>
                <a:gd name="connsiteY2419" fmla="*/ 149124 h 1849426"/>
                <a:gd name="connsiteX2420" fmla="*/ 799081 w 6386648"/>
                <a:gd name="connsiteY2420" fmla="*/ 149124 h 1849426"/>
                <a:gd name="connsiteX2421" fmla="*/ 817106 w 6386648"/>
                <a:gd name="connsiteY2421" fmla="*/ 167148 h 1849426"/>
                <a:gd name="connsiteX2422" fmla="*/ 799081 w 6386648"/>
                <a:gd name="connsiteY2422" fmla="*/ 185173 h 1849426"/>
                <a:gd name="connsiteX2423" fmla="*/ 781057 w 6386648"/>
                <a:gd name="connsiteY2423" fmla="*/ 167148 h 1849426"/>
                <a:gd name="connsiteX2424" fmla="*/ 799081 w 6386648"/>
                <a:gd name="connsiteY2424" fmla="*/ 149124 h 1849426"/>
                <a:gd name="connsiteX2425" fmla="*/ 366495 w 6386648"/>
                <a:gd name="connsiteY2425" fmla="*/ 149124 h 1849426"/>
                <a:gd name="connsiteX2426" fmla="*/ 384520 w 6386648"/>
                <a:gd name="connsiteY2426" fmla="*/ 167148 h 1849426"/>
                <a:gd name="connsiteX2427" fmla="*/ 366495 w 6386648"/>
                <a:gd name="connsiteY2427" fmla="*/ 185173 h 1849426"/>
                <a:gd name="connsiteX2428" fmla="*/ 348471 w 6386648"/>
                <a:gd name="connsiteY2428" fmla="*/ 167148 h 1849426"/>
                <a:gd name="connsiteX2429" fmla="*/ 366495 w 6386648"/>
                <a:gd name="connsiteY2429" fmla="*/ 149124 h 1849426"/>
                <a:gd name="connsiteX2430" fmla="*/ 4758442 w 6386648"/>
                <a:gd name="connsiteY2430" fmla="*/ 143116 h 1849426"/>
                <a:gd name="connsiteX2431" fmla="*/ 4776467 w 6386648"/>
                <a:gd name="connsiteY2431" fmla="*/ 161140 h 1849426"/>
                <a:gd name="connsiteX2432" fmla="*/ 4758442 w 6386648"/>
                <a:gd name="connsiteY2432" fmla="*/ 179165 h 1849426"/>
                <a:gd name="connsiteX2433" fmla="*/ 4740417 w 6386648"/>
                <a:gd name="connsiteY2433" fmla="*/ 161140 h 1849426"/>
                <a:gd name="connsiteX2434" fmla="*/ 4758442 w 6386648"/>
                <a:gd name="connsiteY2434" fmla="*/ 143116 h 1849426"/>
                <a:gd name="connsiteX2435" fmla="*/ 3226368 w 6386648"/>
                <a:gd name="connsiteY2435" fmla="*/ 143116 h 1849426"/>
                <a:gd name="connsiteX2436" fmla="*/ 3244393 w 6386648"/>
                <a:gd name="connsiteY2436" fmla="*/ 161140 h 1849426"/>
                <a:gd name="connsiteX2437" fmla="*/ 3226368 w 6386648"/>
                <a:gd name="connsiteY2437" fmla="*/ 179165 h 1849426"/>
                <a:gd name="connsiteX2438" fmla="*/ 3208343 w 6386648"/>
                <a:gd name="connsiteY2438" fmla="*/ 161140 h 1849426"/>
                <a:gd name="connsiteX2439" fmla="*/ 3226368 w 6386648"/>
                <a:gd name="connsiteY2439" fmla="*/ 143116 h 1849426"/>
                <a:gd name="connsiteX2440" fmla="*/ 4235735 w 6386648"/>
                <a:gd name="connsiteY2440" fmla="*/ 131100 h 1849426"/>
                <a:gd name="connsiteX2441" fmla="*/ 4253760 w 6386648"/>
                <a:gd name="connsiteY2441" fmla="*/ 149124 h 1849426"/>
                <a:gd name="connsiteX2442" fmla="*/ 4235735 w 6386648"/>
                <a:gd name="connsiteY2442" fmla="*/ 167149 h 1849426"/>
                <a:gd name="connsiteX2443" fmla="*/ 4217711 w 6386648"/>
                <a:gd name="connsiteY2443" fmla="*/ 149124 h 1849426"/>
                <a:gd name="connsiteX2444" fmla="*/ 4235735 w 6386648"/>
                <a:gd name="connsiteY2444" fmla="*/ 131100 h 1849426"/>
                <a:gd name="connsiteX2445" fmla="*/ 1057431 w 6386648"/>
                <a:gd name="connsiteY2445" fmla="*/ 131100 h 1849426"/>
                <a:gd name="connsiteX2446" fmla="*/ 1075456 w 6386648"/>
                <a:gd name="connsiteY2446" fmla="*/ 149124 h 1849426"/>
                <a:gd name="connsiteX2447" fmla="*/ 1057431 w 6386648"/>
                <a:gd name="connsiteY2447" fmla="*/ 167149 h 1849426"/>
                <a:gd name="connsiteX2448" fmla="*/ 1039407 w 6386648"/>
                <a:gd name="connsiteY2448" fmla="*/ 149124 h 1849426"/>
                <a:gd name="connsiteX2449" fmla="*/ 1057431 w 6386648"/>
                <a:gd name="connsiteY2449" fmla="*/ 131100 h 1849426"/>
                <a:gd name="connsiteX2450" fmla="*/ 4536141 w 6386648"/>
                <a:gd name="connsiteY2450" fmla="*/ 119083 h 1849426"/>
                <a:gd name="connsiteX2451" fmla="*/ 4554166 w 6386648"/>
                <a:gd name="connsiteY2451" fmla="*/ 137107 h 1849426"/>
                <a:gd name="connsiteX2452" fmla="*/ 4536141 w 6386648"/>
                <a:gd name="connsiteY2452" fmla="*/ 155132 h 1849426"/>
                <a:gd name="connsiteX2453" fmla="*/ 4518117 w 6386648"/>
                <a:gd name="connsiteY2453" fmla="*/ 137107 h 1849426"/>
                <a:gd name="connsiteX2454" fmla="*/ 4536141 w 6386648"/>
                <a:gd name="connsiteY2454" fmla="*/ 119083 h 1849426"/>
                <a:gd name="connsiteX2455" fmla="*/ 4361905 w 6386648"/>
                <a:gd name="connsiteY2455" fmla="*/ 119083 h 1849426"/>
                <a:gd name="connsiteX2456" fmla="*/ 4379930 w 6386648"/>
                <a:gd name="connsiteY2456" fmla="*/ 137107 h 1849426"/>
                <a:gd name="connsiteX2457" fmla="*/ 4361905 w 6386648"/>
                <a:gd name="connsiteY2457" fmla="*/ 155132 h 1849426"/>
                <a:gd name="connsiteX2458" fmla="*/ 4343881 w 6386648"/>
                <a:gd name="connsiteY2458" fmla="*/ 137107 h 1849426"/>
                <a:gd name="connsiteX2459" fmla="*/ 4361905 w 6386648"/>
                <a:gd name="connsiteY2459" fmla="*/ 119083 h 1849426"/>
                <a:gd name="connsiteX2460" fmla="*/ 6020151 w 6386648"/>
                <a:gd name="connsiteY2460" fmla="*/ 113075 h 1849426"/>
                <a:gd name="connsiteX2461" fmla="*/ 6038176 w 6386648"/>
                <a:gd name="connsiteY2461" fmla="*/ 131099 h 1849426"/>
                <a:gd name="connsiteX2462" fmla="*/ 6020151 w 6386648"/>
                <a:gd name="connsiteY2462" fmla="*/ 149124 h 1849426"/>
                <a:gd name="connsiteX2463" fmla="*/ 6002126 w 6386648"/>
                <a:gd name="connsiteY2463" fmla="*/ 131099 h 1849426"/>
                <a:gd name="connsiteX2464" fmla="*/ 6020151 w 6386648"/>
                <a:gd name="connsiteY2464" fmla="*/ 113075 h 1849426"/>
                <a:gd name="connsiteX2465" fmla="*/ 5209053 w 6386648"/>
                <a:gd name="connsiteY2465" fmla="*/ 113075 h 1849426"/>
                <a:gd name="connsiteX2466" fmla="*/ 5227078 w 6386648"/>
                <a:gd name="connsiteY2466" fmla="*/ 131099 h 1849426"/>
                <a:gd name="connsiteX2467" fmla="*/ 5209053 w 6386648"/>
                <a:gd name="connsiteY2467" fmla="*/ 149124 h 1849426"/>
                <a:gd name="connsiteX2468" fmla="*/ 5191028 w 6386648"/>
                <a:gd name="connsiteY2468" fmla="*/ 131099 h 1849426"/>
                <a:gd name="connsiteX2469" fmla="*/ 5209053 w 6386648"/>
                <a:gd name="connsiteY2469" fmla="*/ 113075 h 1849426"/>
                <a:gd name="connsiteX2470" fmla="*/ 2865880 w 6386648"/>
                <a:gd name="connsiteY2470" fmla="*/ 113075 h 1849426"/>
                <a:gd name="connsiteX2471" fmla="*/ 2883905 w 6386648"/>
                <a:gd name="connsiteY2471" fmla="*/ 131099 h 1849426"/>
                <a:gd name="connsiteX2472" fmla="*/ 2865880 w 6386648"/>
                <a:gd name="connsiteY2472" fmla="*/ 149124 h 1849426"/>
                <a:gd name="connsiteX2473" fmla="*/ 2847855 w 6386648"/>
                <a:gd name="connsiteY2473" fmla="*/ 131099 h 1849426"/>
                <a:gd name="connsiteX2474" fmla="*/ 2865880 w 6386648"/>
                <a:gd name="connsiteY2474" fmla="*/ 113075 h 1849426"/>
                <a:gd name="connsiteX2475" fmla="*/ 2751725 w 6386648"/>
                <a:gd name="connsiteY2475" fmla="*/ 113075 h 1849426"/>
                <a:gd name="connsiteX2476" fmla="*/ 2769750 w 6386648"/>
                <a:gd name="connsiteY2476" fmla="*/ 131099 h 1849426"/>
                <a:gd name="connsiteX2477" fmla="*/ 2751725 w 6386648"/>
                <a:gd name="connsiteY2477" fmla="*/ 149124 h 1849426"/>
                <a:gd name="connsiteX2478" fmla="*/ 2733701 w 6386648"/>
                <a:gd name="connsiteY2478" fmla="*/ 131099 h 1849426"/>
                <a:gd name="connsiteX2479" fmla="*/ 2751725 w 6386648"/>
                <a:gd name="connsiteY2479" fmla="*/ 113075 h 1849426"/>
                <a:gd name="connsiteX2480" fmla="*/ 5797850 w 6386648"/>
                <a:gd name="connsiteY2480" fmla="*/ 107067 h 1849426"/>
                <a:gd name="connsiteX2481" fmla="*/ 5815875 w 6386648"/>
                <a:gd name="connsiteY2481" fmla="*/ 125092 h 1849426"/>
                <a:gd name="connsiteX2482" fmla="*/ 5797850 w 6386648"/>
                <a:gd name="connsiteY2482" fmla="*/ 143116 h 1849426"/>
                <a:gd name="connsiteX2483" fmla="*/ 5779826 w 6386648"/>
                <a:gd name="connsiteY2483" fmla="*/ 125092 h 1849426"/>
                <a:gd name="connsiteX2484" fmla="*/ 5797850 w 6386648"/>
                <a:gd name="connsiteY2484" fmla="*/ 107067 h 1849426"/>
                <a:gd name="connsiteX2485" fmla="*/ 4055491 w 6386648"/>
                <a:gd name="connsiteY2485" fmla="*/ 107067 h 1849426"/>
                <a:gd name="connsiteX2486" fmla="*/ 4073516 w 6386648"/>
                <a:gd name="connsiteY2486" fmla="*/ 125092 h 1849426"/>
                <a:gd name="connsiteX2487" fmla="*/ 4055491 w 6386648"/>
                <a:gd name="connsiteY2487" fmla="*/ 143116 h 1849426"/>
                <a:gd name="connsiteX2488" fmla="*/ 4037467 w 6386648"/>
                <a:gd name="connsiteY2488" fmla="*/ 125092 h 1849426"/>
                <a:gd name="connsiteX2489" fmla="*/ 4055491 w 6386648"/>
                <a:gd name="connsiteY2489" fmla="*/ 107067 h 1849426"/>
                <a:gd name="connsiteX2490" fmla="*/ 3917303 w 6386648"/>
                <a:gd name="connsiteY2490" fmla="*/ 107067 h 1849426"/>
                <a:gd name="connsiteX2491" fmla="*/ 3935328 w 6386648"/>
                <a:gd name="connsiteY2491" fmla="*/ 125092 h 1849426"/>
                <a:gd name="connsiteX2492" fmla="*/ 3917303 w 6386648"/>
                <a:gd name="connsiteY2492" fmla="*/ 143116 h 1849426"/>
                <a:gd name="connsiteX2493" fmla="*/ 3899278 w 6386648"/>
                <a:gd name="connsiteY2493" fmla="*/ 125092 h 1849426"/>
                <a:gd name="connsiteX2494" fmla="*/ 3917303 w 6386648"/>
                <a:gd name="connsiteY2494" fmla="*/ 107067 h 1849426"/>
                <a:gd name="connsiteX2495" fmla="*/ 3346531 w 6386648"/>
                <a:gd name="connsiteY2495" fmla="*/ 107067 h 1849426"/>
                <a:gd name="connsiteX2496" fmla="*/ 3364556 w 6386648"/>
                <a:gd name="connsiteY2496" fmla="*/ 125092 h 1849426"/>
                <a:gd name="connsiteX2497" fmla="*/ 3346531 w 6386648"/>
                <a:gd name="connsiteY2497" fmla="*/ 143116 h 1849426"/>
                <a:gd name="connsiteX2498" fmla="*/ 3328506 w 6386648"/>
                <a:gd name="connsiteY2498" fmla="*/ 125092 h 1849426"/>
                <a:gd name="connsiteX2499" fmla="*/ 3346531 w 6386648"/>
                <a:gd name="connsiteY2499" fmla="*/ 107067 h 1849426"/>
                <a:gd name="connsiteX2500" fmla="*/ 2024741 w 6386648"/>
                <a:gd name="connsiteY2500" fmla="*/ 107067 h 1849426"/>
                <a:gd name="connsiteX2501" fmla="*/ 2042766 w 6386648"/>
                <a:gd name="connsiteY2501" fmla="*/ 125092 h 1849426"/>
                <a:gd name="connsiteX2502" fmla="*/ 2024741 w 6386648"/>
                <a:gd name="connsiteY2502" fmla="*/ 143116 h 1849426"/>
                <a:gd name="connsiteX2503" fmla="*/ 2006717 w 6386648"/>
                <a:gd name="connsiteY2503" fmla="*/ 125092 h 1849426"/>
                <a:gd name="connsiteX2504" fmla="*/ 2024741 w 6386648"/>
                <a:gd name="connsiteY2504" fmla="*/ 107067 h 1849426"/>
                <a:gd name="connsiteX2505" fmla="*/ 240325 w 6386648"/>
                <a:gd name="connsiteY2505" fmla="*/ 107067 h 1849426"/>
                <a:gd name="connsiteX2506" fmla="*/ 258350 w 6386648"/>
                <a:gd name="connsiteY2506" fmla="*/ 125092 h 1849426"/>
                <a:gd name="connsiteX2507" fmla="*/ 240325 w 6386648"/>
                <a:gd name="connsiteY2507" fmla="*/ 143116 h 1849426"/>
                <a:gd name="connsiteX2508" fmla="*/ 222301 w 6386648"/>
                <a:gd name="connsiteY2508" fmla="*/ 125092 h 1849426"/>
                <a:gd name="connsiteX2509" fmla="*/ 240325 w 6386648"/>
                <a:gd name="connsiteY2509" fmla="*/ 107067 h 1849426"/>
                <a:gd name="connsiteX2510" fmla="*/ 3761092 w 6386648"/>
                <a:gd name="connsiteY2510" fmla="*/ 101059 h 1849426"/>
                <a:gd name="connsiteX2511" fmla="*/ 3779117 w 6386648"/>
                <a:gd name="connsiteY2511" fmla="*/ 119083 h 1849426"/>
                <a:gd name="connsiteX2512" fmla="*/ 3761092 w 6386648"/>
                <a:gd name="connsiteY2512" fmla="*/ 137108 h 1849426"/>
                <a:gd name="connsiteX2513" fmla="*/ 3743068 w 6386648"/>
                <a:gd name="connsiteY2513" fmla="*/ 119083 h 1849426"/>
                <a:gd name="connsiteX2514" fmla="*/ 3761092 w 6386648"/>
                <a:gd name="connsiteY2514" fmla="*/ 101059 h 1849426"/>
                <a:gd name="connsiteX2515" fmla="*/ 1706311 w 6386648"/>
                <a:gd name="connsiteY2515" fmla="*/ 101059 h 1849426"/>
                <a:gd name="connsiteX2516" fmla="*/ 1724335 w 6386648"/>
                <a:gd name="connsiteY2516" fmla="*/ 119083 h 1849426"/>
                <a:gd name="connsiteX2517" fmla="*/ 1706311 w 6386648"/>
                <a:gd name="connsiteY2517" fmla="*/ 137108 h 1849426"/>
                <a:gd name="connsiteX2518" fmla="*/ 1688286 w 6386648"/>
                <a:gd name="connsiteY2518" fmla="*/ 119083 h 1849426"/>
                <a:gd name="connsiteX2519" fmla="*/ 1706311 w 6386648"/>
                <a:gd name="connsiteY2519" fmla="*/ 101059 h 1849426"/>
                <a:gd name="connsiteX2520" fmla="*/ 1574131 w 6386648"/>
                <a:gd name="connsiteY2520" fmla="*/ 101059 h 1849426"/>
                <a:gd name="connsiteX2521" fmla="*/ 1592156 w 6386648"/>
                <a:gd name="connsiteY2521" fmla="*/ 119083 h 1849426"/>
                <a:gd name="connsiteX2522" fmla="*/ 1574131 w 6386648"/>
                <a:gd name="connsiteY2522" fmla="*/ 137108 h 1849426"/>
                <a:gd name="connsiteX2523" fmla="*/ 1556107 w 6386648"/>
                <a:gd name="connsiteY2523" fmla="*/ 119083 h 1849426"/>
                <a:gd name="connsiteX2524" fmla="*/ 1574131 w 6386648"/>
                <a:gd name="connsiteY2524" fmla="*/ 101059 h 1849426"/>
                <a:gd name="connsiteX2525" fmla="*/ 5611598 w 6386648"/>
                <a:gd name="connsiteY2525" fmla="*/ 89043 h 1849426"/>
                <a:gd name="connsiteX2526" fmla="*/ 5629623 w 6386648"/>
                <a:gd name="connsiteY2526" fmla="*/ 107067 h 1849426"/>
                <a:gd name="connsiteX2527" fmla="*/ 5611598 w 6386648"/>
                <a:gd name="connsiteY2527" fmla="*/ 125092 h 1849426"/>
                <a:gd name="connsiteX2528" fmla="*/ 5593574 w 6386648"/>
                <a:gd name="connsiteY2528" fmla="*/ 107067 h 1849426"/>
                <a:gd name="connsiteX2529" fmla="*/ 5611598 w 6386648"/>
                <a:gd name="connsiteY2529" fmla="*/ 89043 h 1849426"/>
                <a:gd name="connsiteX2530" fmla="*/ 5419337 w 6386648"/>
                <a:gd name="connsiteY2530" fmla="*/ 89043 h 1849426"/>
                <a:gd name="connsiteX2531" fmla="*/ 5437362 w 6386648"/>
                <a:gd name="connsiteY2531" fmla="*/ 107067 h 1849426"/>
                <a:gd name="connsiteX2532" fmla="*/ 5419337 w 6386648"/>
                <a:gd name="connsiteY2532" fmla="*/ 125092 h 1849426"/>
                <a:gd name="connsiteX2533" fmla="*/ 5401312 w 6386648"/>
                <a:gd name="connsiteY2533" fmla="*/ 107067 h 1849426"/>
                <a:gd name="connsiteX2534" fmla="*/ 5419337 w 6386648"/>
                <a:gd name="connsiteY2534" fmla="*/ 89043 h 1849426"/>
                <a:gd name="connsiteX2535" fmla="*/ 2992051 w 6386648"/>
                <a:gd name="connsiteY2535" fmla="*/ 89043 h 1849426"/>
                <a:gd name="connsiteX2536" fmla="*/ 3010076 w 6386648"/>
                <a:gd name="connsiteY2536" fmla="*/ 107067 h 1849426"/>
                <a:gd name="connsiteX2537" fmla="*/ 2992051 w 6386648"/>
                <a:gd name="connsiteY2537" fmla="*/ 125092 h 1849426"/>
                <a:gd name="connsiteX2538" fmla="*/ 2974027 w 6386648"/>
                <a:gd name="connsiteY2538" fmla="*/ 107067 h 1849426"/>
                <a:gd name="connsiteX2539" fmla="*/ 2992051 w 6386648"/>
                <a:gd name="connsiteY2539" fmla="*/ 89043 h 1849426"/>
                <a:gd name="connsiteX2540" fmla="*/ 6368623 w 6386648"/>
                <a:gd name="connsiteY2540" fmla="*/ 83034 h 1849426"/>
                <a:gd name="connsiteX2541" fmla="*/ 6386648 w 6386648"/>
                <a:gd name="connsiteY2541" fmla="*/ 101058 h 1849426"/>
                <a:gd name="connsiteX2542" fmla="*/ 6368623 w 6386648"/>
                <a:gd name="connsiteY2542" fmla="*/ 119083 h 1849426"/>
                <a:gd name="connsiteX2543" fmla="*/ 6350599 w 6386648"/>
                <a:gd name="connsiteY2543" fmla="*/ 101058 h 1849426"/>
                <a:gd name="connsiteX2544" fmla="*/ 6368623 w 6386648"/>
                <a:gd name="connsiteY2544" fmla="*/ 83034 h 1849426"/>
                <a:gd name="connsiteX2545" fmla="*/ 6242452 w 6386648"/>
                <a:gd name="connsiteY2545" fmla="*/ 83034 h 1849426"/>
                <a:gd name="connsiteX2546" fmla="*/ 6260477 w 6386648"/>
                <a:gd name="connsiteY2546" fmla="*/ 101058 h 1849426"/>
                <a:gd name="connsiteX2547" fmla="*/ 6242452 w 6386648"/>
                <a:gd name="connsiteY2547" fmla="*/ 119083 h 1849426"/>
                <a:gd name="connsiteX2548" fmla="*/ 6224428 w 6386648"/>
                <a:gd name="connsiteY2548" fmla="*/ 101058 h 1849426"/>
                <a:gd name="connsiteX2549" fmla="*/ 6242452 w 6386648"/>
                <a:gd name="connsiteY2549" fmla="*/ 83034 h 1849426"/>
                <a:gd name="connsiteX2550" fmla="*/ 4884613 w 6386648"/>
                <a:gd name="connsiteY2550" fmla="*/ 83034 h 1849426"/>
                <a:gd name="connsiteX2551" fmla="*/ 4902638 w 6386648"/>
                <a:gd name="connsiteY2551" fmla="*/ 101058 h 1849426"/>
                <a:gd name="connsiteX2552" fmla="*/ 4884613 w 6386648"/>
                <a:gd name="connsiteY2552" fmla="*/ 119083 h 1849426"/>
                <a:gd name="connsiteX2553" fmla="*/ 4866589 w 6386648"/>
                <a:gd name="connsiteY2553" fmla="*/ 101058 h 1849426"/>
                <a:gd name="connsiteX2554" fmla="*/ 4884613 w 6386648"/>
                <a:gd name="connsiteY2554" fmla="*/ 83034 h 1849426"/>
                <a:gd name="connsiteX2555" fmla="*/ 3118221 w 6386648"/>
                <a:gd name="connsiteY2555" fmla="*/ 83034 h 1849426"/>
                <a:gd name="connsiteX2556" fmla="*/ 3136246 w 6386648"/>
                <a:gd name="connsiteY2556" fmla="*/ 101058 h 1849426"/>
                <a:gd name="connsiteX2557" fmla="*/ 3118221 w 6386648"/>
                <a:gd name="connsiteY2557" fmla="*/ 119083 h 1849426"/>
                <a:gd name="connsiteX2558" fmla="*/ 3100197 w 6386648"/>
                <a:gd name="connsiteY2558" fmla="*/ 101058 h 1849426"/>
                <a:gd name="connsiteX2559" fmla="*/ 3118221 w 6386648"/>
                <a:gd name="connsiteY2559" fmla="*/ 83034 h 1849426"/>
                <a:gd name="connsiteX2560" fmla="*/ 2619546 w 6386648"/>
                <a:gd name="connsiteY2560" fmla="*/ 83034 h 1849426"/>
                <a:gd name="connsiteX2561" fmla="*/ 2637571 w 6386648"/>
                <a:gd name="connsiteY2561" fmla="*/ 101058 h 1849426"/>
                <a:gd name="connsiteX2562" fmla="*/ 2619546 w 6386648"/>
                <a:gd name="connsiteY2562" fmla="*/ 119083 h 1849426"/>
                <a:gd name="connsiteX2563" fmla="*/ 2601522 w 6386648"/>
                <a:gd name="connsiteY2563" fmla="*/ 101058 h 1849426"/>
                <a:gd name="connsiteX2564" fmla="*/ 2619546 w 6386648"/>
                <a:gd name="connsiteY2564" fmla="*/ 83034 h 1849426"/>
                <a:gd name="connsiteX2565" fmla="*/ 1291748 w 6386648"/>
                <a:gd name="connsiteY2565" fmla="*/ 83034 h 1849426"/>
                <a:gd name="connsiteX2566" fmla="*/ 1309773 w 6386648"/>
                <a:gd name="connsiteY2566" fmla="*/ 101058 h 1849426"/>
                <a:gd name="connsiteX2567" fmla="*/ 1291748 w 6386648"/>
                <a:gd name="connsiteY2567" fmla="*/ 119083 h 1849426"/>
                <a:gd name="connsiteX2568" fmla="*/ 1273724 w 6386648"/>
                <a:gd name="connsiteY2568" fmla="*/ 101058 h 1849426"/>
                <a:gd name="connsiteX2569" fmla="*/ 1291748 w 6386648"/>
                <a:gd name="connsiteY2569" fmla="*/ 83034 h 1849426"/>
                <a:gd name="connsiteX2570" fmla="*/ 702951 w 6386648"/>
                <a:gd name="connsiteY2570" fmla="*/ 83034 h 1849426"/>
                <a:gd name="connsiteX2571" fmla="*/ 720976 w 6386648"/>
                <a:gd name="connsiteY2571" fmla="*/ 101058 h 1849426"/>
                <a:gd name="connsiteX2572" fmla="*/ 702951 w 6386648"/>
                <a:gd name="connsiteY2572" fmla="*/ 119083 h 1849426"/>
                <a:gd name="connsiteX2573" fmla="*/ 684927 w 6386648"/>
                <a:gd name="connsiteY2573" fmla="*/ 101058 h 1849426"/>
                <a:gd name="connsiteX2574" fmla="*/ 702951 w 6386648"/>
                <a:gd name="connsiteY2574" fmla="*/ 83034 h 1849426"/>
                <a:gd name="connsiteX2575" fmla="*/ 2319139 w 6386648"/>
                <a:gd name="connsiteY2575" fmla="*/ 65010 h 1849426"/>
                <a:gd name="connsiteX2576" fmla="*/ 2337164 w 6386648"/>
                <a:gd name="connsiteY2576" fmla="*/ 83034 h 1849426"/>
                <a:gd name="connsiteX2577" fmla="*/ 2319139 w 6386648"/>
                <a:gd name="connsiteY2577" fmla="*/ 101059 h 1849426"/>
                <a:gd name="connsiteX2578" fmla="*/ 2301115 w 6386648"/>
                <a:gd name="connsiteY2578" fmla="*/ 83034 h 1849426"/>
                <a:gd name="connsiteX2579" fmla="*/ 2319139 w 6386648"/>
                <a:gd name="connsiteY2579" fmla="*/ 65010 h 1849426"/>
                <a:gd name="connsiteX2580" fmla="*/ 564765 w 6386648"/>
                <a:gd name="connsiteY2580" fmla="*/ 65010 h 1849426"/>
                <a:gd name="connsiteX2581" fmla="*/ 582789 w 6386648"/>
                <a:gd name="connsiteY2581" fmla="*/ 83034 h 1849426"/>
                <a:gd name="connsiteX2582" fmla="*/ 564765 w 6386648"/>
                <a:gd name="connsiteY2582" fmla="*/ 101059 h 1849426"/>
                <a:gd name="connsiteX2583" fmla="*/ 546740 w 6386648"/>
                <a:gd name="connsiteY2583" fmla="*/ 83034 h 1849426"/>
                <a:gd name="connsiteX2584" fmla="*/ 564765 w 6386648"/>
                <a:gd name="connsiteY2584" fmla="*/ 65010 h 1849426"/>
                <a:gd name="connsiteX2585" fmla="*/ 18024 w 6386648"/>
                <a:gd name="connsiteY2585" fmla="*/ 65010 h 1849426"/>
                <a:gd name="connsiteX2586" fmla="*/ 36049 w 6386648"/>
                <a:gd name="connsiteY2586" fmla="*/ 83034 h 1849426"/>
                <a:gd name="connsiteX2587" fmla="*/ 18024 w 6386648"/>
                <a:gd name="connsiteY2587" fmla="*/ 101059 h 1849426"/>
                <a:gd name="connsiteX2588" fmla="*/ 0 w 6386648"/>
                <a:gd name="connsiteY2588" fmla="*/ 83034 h 1849426"/>
                <a:gd name="connsiteX2589" fmla="*/ 18024 w 6386648"/>
                <a:gd name="connsiteY2589" fmla="*/ 65010 h 1849426"/>
                <a:gd name="connsiteX2590" fmla="*/ 5052841 w 6386648"/>
                <a:gd name="connsiteY2590" fmla="*/ 59002 h 1849426"/>
                <a:gd name="connsiteX2591" fmla="*/ 5070866 w 6386648"/>
                <a:gd name="connsiteY2591" fmla="*/ 77026 h 1849426"/>
                <a:gd name="connsiteX2592" fmla="*/ 5052841 w 6386648"/>
                <a:gd name="connsiteY2592" fmla="*/ 95051 h 1849426"/>
                <a:gd name="connsiteX2593" fmla="*/ 5034817 w 6386648"/>
                <a:gd name="connsiteY2593" fmla="*/ 77026 h 1849426"/>
                <a:gd name="connsiteX2594" fmla="*/ 5052841 w 6386648"/>
                <a:gd name="connsiteY2594" fmla="*/ 59002 h 1849426"/>
                <a:gd name="connsiteX2595" fmla="*/ 3490726 w 6386648"/>
                <a:gd name="connsiteY2595" fmla="*/ 59002 h 1849426"/>
                <a:gd name="connsiteX2596" fmla="*/ 3508751 w 6386648"/>
                <a:gd name="connsiteY2596" fmla="*/ 77026 h 1849426"/>
                <a:gd name="connsiteX2597" fmla="*/ 3490726 w 6386648"/>
                <a:gd name="connsiteY2597" fmla="*/ 95051 h 1849426"/>
                <a:gd name="connsiteX2598" fmla="*/ 3472702 w 6386648"/>
                <a:gd name="connsiteY2598" fmla="*/ 77026 h 1849426"/>
                <a:gd name="connsiteX2599" fmla="*/ 3490726 w 6386648"/>
                <a:gd name="connsiteY2599" fmla="*/ 59002 h 1849426"/>
                <a:gd name="connsiteX2600" fmla="*/ 1447960 w 6386648"/>
                <a:gd name="connsiteY2600" fmla="*/ 59002 h 1849426"/>
                <a:gd name="connsiteX2601" fmla="*/ 1465985 w 6386648"/>
                <a:gd name="connsiteY2601" fmla="*/ 77026 h 1849426"/>
                <a:gd name="connsiteX2602" fmla="*/ 1447960 w 6386648"/>
                <a:gd name="connsiteY2602" fmla="*/ 95051 h 1849426"/>
                <a:gd name="connsiteX2603" fmla="*/ 1429936 w 6386648"/>
                <a:gd name="connsiteY2603" fmla="*/ 77026 h 1849426"/>
                <a:gd name="connsiteX2604" fmla="*/ 1447960 w 6386648"/>
                <a:gd name="connsiteY2604" fmla="*/ 59002 h 1849426"/>
                <a:gd name="connsiteX2605" fmla="*/ 2192969 w 6386648"/>
                <a:gd name="connsiteY2605" fmla="*/ 46987 h 1849426"/>
                <a:gd name="connsiteX2606" fmla="*/ 2210994 w 6386648"/>
                <a:gd name="connsiteY2606" fmla="*/ 65012 h 1849426"/>
                <a:gd name="connsiteX2607" fmla="*/ 2192969 w 6386648"/>
                <a:gd name="connsiteY2607" fmla="*/ 83036 h 1849426"/>
                <a:gd name="connsiteX2608" fmla="*/ 2174945 w 6386648"/>
                <a:gd name="connsiteY2608" fmla="*/ 65012 h 1849426"/>
                <a:gd name="connsiteX2609" fmla="*/ 2192969 w 6386648"/>
                <a:gd name="connsiteY2609" fmla="*/ 46987 h 1849426"/>
                <a:gd name="connsiteX2610" fmla="*/ 4434003 w 6386648"/>
                <a:gd name="connsiteY2610" fmla="*/ 40979 h 1849426"/>
                <a:gd name="connsiteX2611" fmla="*/ 4452028 w 6386648"/>
                <a:gd name="connsiteY2611" fmla="*/ 59003 h 1849426"/>
                <a:gd name="connsiteX2612" fmla="*/ 4434003 w 6386648"/>
                <a:gd name="connsiteY2612" fmla="*/ 77028 h 1849426"/>
                <a:gd name="connsiteX2613" fmla="*/ 4415979 w 6386648"/>
                <a:gd name="connsiteY2613" fmla="*/ 59003 h 1849426"/>
                <a:gd name="connsiteX2614" fmla="*/ 4434003 w 6386648"/>
                <a:gd name="connsiteY2614" fmla="*/ 40979 h 1849426"/>
                <a:gd name="connsiteX2615" fmla="*/ 3616897 w 6386648"/>
                <a:gd name="connsiteY2615" fmla="*/ 40979 h 1849426"/>
                <a:gd name="connsiteX2616" fmla="*/ 3634922 w 6386648"/>
                <a:gd name="connsiteY2616" fmla="*/ 59003 h 1849426"/>
                <a:gd name="connsiteX2617" fmla="*/ 3616897 w 6386648"/>
                <a:gd name="connsiteY2617" fmla="*/ 77028 h 1849426"/>
                <a:gd name="connsiteX2618" fmla="*/ 3598872 w 6386648"/>
                <a:gd name="connsiteY2618" fmla="*/ 59003 h 1849426"/>
                <a:gd name="connsiteX2619" fmla="*/ 3616897 w 6386648"/>
                <a:gd name="connsiteY2619" fmla="*/ 40979 h 1849426"/>
                <a:gd name="connsiteX2620" fmla="*/ 1826473 w 6386648"/>
                <a:gd name="connsiteY2620" fmla="*/ 40979 h 1849426"/>
                <a:gd name="connsiteX2621" fmla="*/ 1844497 w 6386648"/>
                <a:gd name="connsiteY2621" fmla="*/ 59003 h 1849426"/>
                <a:gd name="connsiteX2622" fmla="*/ 1826473 w 6386648"/>
                <a:gd name="connsiteY2622" fmla="*/ 77028 h 1849426"/>
                <a:gd name="connsiteX2623" fmla="*/ 1808448 w 6386648"/>
                <a:gd name="connsiteY2623" fmla="*/ 59003 h 1849426"/>
                <a:gd name="connsiteX2624" fmla="*/ 1826473 w 6386648"/>
                <a:gd name="connsiteY2624" fmla="*/ 40979 h 1849426"/>
                <a:gd name="connsiteX2625" fmla="*/ 5942045 w 6386648"/>
                <a:gd name="connsiteY2625" fmla="*/ 34970 h 1849426"/>
                <a:gd name="connsiteX2626" fmla="*/ 5960070 w 6386648"/>
                <a:gd name="connsiteY2626" fmla="*/ 52994 h 1849426"/>
                <a:gd name="connsiteX2627" fmla="*/ 5942045 w 6386648"/>
                <a:gd name="connsiteY2627" fmla="*/ 71019 h 1849426"/>
                <a:gd name="connsiteX2628" fmla="*/ 5924021 w 6386648"/>
                <a:gd name="connsiteY2628" fmla="*/ 52994 h 1849426"/>
                <a:gd name="connsiteX2629" fmla="*/ 5942045 w 6386648"/>
                <a:gd name="connsiteY2629" fmla="*/ 34970 h 1849426"/>
                <a:gd name="connsiteX2630" fmla="*/ 5719744 w 6386648"/>
                <a:gd name="connsiteY2630" fmla="*/ 34970 h 1849426"/>
                <a:gd name="connsiteX2631" fmla="*/ 5737769 w 6386648"/>
                <a:gd name="connsiteY2631" fmla="*/ 52994 h 1849426"/>
                <a:gd name="connsiteX2632" fmla="*/ 5719744 w 6386648"/>
                <a:gd name="connsiteY2632" fmla="*/ 71019 h 1849426"/>
                <a:gd name="connsiteX2633" fmla="*/ 5701719 w 6386648"/>
                <a:gd name="connsiteY2633" fmla="*/ 52994 h 1849426"/>
                <a:gd name="connsiteX2634" fmla="*/ 5719744 w 6386648"/>
                <a:gd name="connsiteY2634" fmla="*/ 34970 h 1849426"/>
                <a:gd name="connsiteX2635" fmla="*/ 1171586 w 6386648"/>
                <a:gd name="connsiteY2635" fmla="*/ 34970 h 1849426"/>
                <a:gd name="connsiteX2636" fmla="*/ 1189611 w 6386648"/>
                <a:gd name="connsiteY2636" fmla="*/ 52994 h 1849426"/>
                <a:gd name="connsiteX2637" fmla="*/ 1171586 w 6386648"/>
                <a:gd name="connsiteY2637" fmla="*/ 71019 h 1849426"/>
                <a:gd name="connsiteX2638" fmla="*/ 1153562 w 6386648"/>
                <a:gd name="connsiteY2638" fmla="*/ 52994 h 1849426"/>
                <a:gd name="connsiteX2639" fmla="*/ 1171586 w 6386648"/>
                <a:gd name="connsiteY2639" fmla="*/ 34970 h 1849426"/>
                <a:gd name="connsiteX2640" fmla="*/ 937268 w 6386648"/>
                <a:gd name="connsiteY2640" fmla="*/ 34970 h 1849426"/>
                <a:gd name="connsiteX2641" fmla="*/ 955293 w 6386648"/>
                <a:gd name="connsiteY2641" fmla="*/ 52994 h 1849426"/>
                <a:gd name="connsiteX2642" fmla="*/ 937268 w 6386648"/>
                <a:gd name="connsiteY2642" fmla="*/ 71019 h 1849426"/>
                <a:gd name="connsiteX2643" fmla="*/ 919244 w 6386648"/>
                <a:gd name="connsiteY2643" fmla="*/ 52994 h 1849426"/>
                <a:gd name="connsiteX2644" fmla="*/ 937268 w 6386648"/>
                <a:gd name="connsiteY2644" fmla="*/ 34970 h 1849426"/>
                <a:gd name="connsiteX2645" fmla="*/ 426577 w 6386648"/>
                <a:gd name="connsiteY2645" fmla="*/ 34970 h 1849426"/>
                <a:gd name="connsiteX2646" fmla="*/ 444602 w 6386648"/>
                <a:gd name="connsiteY2646" fmla="*/ 52994 h 1849426"/>
                <a:gd name="connsiteX2647" fmla="*/ 426577 w 6386648"/>
                <a:gd name="connsiteY2647" fmla="*/ 71019 h 1849426"/>
                <a:gd name="connsiteX2648" fmla="*/ 408553 w 6386648"/>
                <a:gd name="connsiteY2648" fmla="*/ 52994 h 1849426"/>
                <a:gd name="connsiteX2649" fmla="*/ 426577 w 6386648"/>
                <a:gd name="connsiteY2649" fmla="*/ 34970 h 1849426"/>
                <a:gd name="connsiteX2650" fmla="*/ 6146322 w 6386648"/>
                <a:gd name="connsiteY2650" fmla="*/ 28962 h 1849426"/>
                <a:gd name="connsiteX2651" fmla="*/ 6164347 w 6386648"/>
                <a:gd name="connsiteY2651" fmla="*/ 46986 h 1849426"/>
                <a:gd name="connsiteX2652" fmla="*/ 6146322 w 6386648"/>
                <a:gd name="connsiteY2652" fmla="*/ 65011 h 1849426"/>
                <a:gd name="connsiteX2653" fmla="*/ 6128298 w 6386648"/>
                <a:gd name="connsiteY2653" fmla="*/ 46986 h 1849426"/>
                <a:gd name="connsiteX2654" fmla="*/ 6146322 w 6386648"/>
                <a:gd name="connsiteY2654" fmla="*/ 28962 h 1849426"/>
                <a:gd name="connsiteX2655" fmla="*/ 4776467 w 6386648"/>
                <a:gd name="connsiteY2655" fmla="*/ 28962 h 1849426"/>
                <a:gd name="connsiteX2656" fmla="*/ 4794492 w 6386648"/>
                <a:gd name="connsiteY2656" fmla="*/ 46986 h 1849426"/>
                <a:gd name="connsiteX2657" fmla="*/ 4776467 w 6386648"/>
                <a:gd name="connsiteY2657" fmla="*/ 65011 h 1849426"/>
                <a:gd name="connsiteX2658" fmla="*/ 4758443 w 6386648"/>
                <a:gd name="connsiteY2658" fmla="*/ 46986 h 1849426"/>
                <a:gd name="connsiteX2659" fmla="*/ 4776467 w 6386648"/>
                <a:gd name="connsiteY2659" fmla="*/ 28962 h 1849426"/>
                <a:gd name="connsiteX2660" fmla="*/ 2451318 w 6386648"/>
                <a:gd name="connsiteY2660" fmla="*/ 28962 h 1849426"/>
                <a:gd name="connsiteX2661" fmla="*/ 2469343 w 6386648"/>
                <a:gd name="connsiteY2661" fmla="*/ 46986 h 1849426"/>
                <a:gd name="connsiteX2662" fmla="*/ 2451318 w 6386648"/>
                <a:gd name="connsiteY2662" fmla="*/ 65011 h 1849426"/>
                <a:gd name="connsiteX2663" fmla="*/ 2433294 w 6386648"/>
                <a:gd name="connsiteY2663" fmla="*/ 46986 h 1849426"/>
                <a:gd name="connsiteX2664" fmla="*/ 2451318 w 6386648"/>
                <a:gd name="connsiteY2664" fmla="*/ 28962 h 1849426"/>
                <a:gd name="connsiteX2665" fmla="*/ 150203 w 6386648"/>
                <a:gd name="connsiteY2665" fmla="*/ 28962 h 1849426"/>
                <a:gd name="connsiteX2666" fmla="*/ 168228 w 6386648"/>
                <a:gd name="connsiteY2666" fmla="*/ 46986 h 1849426"/>
                <a:gd name="connsiteX2667" fmla="*/ 150203 w 6386648"/>
                <a:gd name="connsiteY2667" fmla="*/ 65011 h 1849426"/>
                <a:gd name="connsiteX2668" fmla="*/ 132179 w 6386648"/>
                <a:gd name="connsiteY2668" fmla="*/ 46986 h 1849426"/>
                <a:gd name="connsiteX2669" fmla="*/ 150203 w 6386648"/>
                <a:gd name="connsiteY2669" fmla="*/ 28962 h 1849426"/>
                <a:gd name="connsiteX2670" fmla="*/ 4277792 w 6386648"/>
                <a:gd name="connsiteY2670" fmla="*/ 22954 h 1849426"/>
                <a:gd name="connsiteX2671" fmla="*/ 4295817 w 6386648"/>
                <a:gd name="connsiteY2671" fmla="*/ 40978 h 1849426"/>
                <a:gd name="connsiteX2672" fmla="*/ 4277792 w 6386648"/>
                <a:gd name="connsiteY2672" fmla="*/ 59003 h 1849426"/>
                <a:gd name="connsiteX2673" fmla="*/ 4259767 w 6386648"/>
                <a:gd name="connsiteY2673" fmla="*/ 40978 h 1849426"/>
                <a:gd name="connsiteX2674" fmla="*/ 4277792 w 6386648"/>
                <a:gd name="connsiteY2674" fmla="*/ 22954 h 1849426"/>
                <a:gd name="connsiteX2675" fmla="*/ 4145613 w 6386648"/>
                <a:gd name="connsiteY2675" fmla="*/ 22954 h 1849426"/>
                <a:gd name="connsiteX2676" fmla="*/ 4163638 w 6386648"/>
                <a:gd name="connsiteY2676" fmla="*/ 40978 h 1849426"/>
                <a:gd name="connsiteX2677" fmla="*/ 4145613 w 6386648"/>
                <a:gd name="connsiteY2677" fmla="*/ 59003 h 1849426"/>
                <a:gd name="connsiteX2678" fmla="*/ 4127589 w 6386648"/>
                <a:gd name="connsiteY2678" fmla="*/ 40978 h 1849426"/>
                <a:gd name="connsiteX2679" fmla="*/ 4145613 w 6386648"/>
                <a:gd name="connsiteY2679" fmla="*/ 22954 h 1849426"/>
                <a:gd name="connsiteX2680" fmla="*/ 817106 w 6386648"/>
                <a:gd name="connsiteY2680" fmla="*/ 22954 h 1849426"/>
                <a:gd name="connsiteX2681" fmla="*/ 829123 w 6386648"/>
                <a:gd name="connsiteY2681" fmla="*/ 34970 h 1849426"/>
                <a:gd name="connsiteX2682" fmla="*/ 817106 w 6386648"/>
                <a:gd name="connsiteY2682" fmla="*/ 46987 h 1849426"/>
                <a:gd name="connsiteX2683" fmla="*/ 805090 w 6386648"/>
                <a:gd name="connsiteY2683" fmla="*/ 34970 h 1849426"/>
                <a:gd name="connsiteX2684" fmla="*/ 817106 w 6386648"/>
                <a:gd name="connsiteY2684" fmla="*/ 22954 h 1849426"/>
                <a:gd name="connsiteX2685" fmla="*/ 5491435 w 6386648"/>
                <a:gd name="connsiteY2685" fmla="*/ 16946 h 1849426"/>
                <a:gd name="connsiteX2686" fmla="*/ 5509460 w 6386648"/>
                <a:gd name="connsiteY2686" fmla="*/ 34971 h 1849426"/>
                <a:gd name="connsiteX2687" fmla="*/ 5491435 w 6386648"/>
                <a:gd name="connsiteY2687" fmla="*/ 52995 h 1849426"/>
                <a:gd name="connsiteX2688" fmla="*/ 5473411 w 6386648"/>
                <a:gd name="connsiteY2688" fmla="*/ 34971 h 1849426"/>
                <a:gd name="connsiteX2689" fmla="*/ 5491435 w 6386648"/>
                <a:gd name="connsiteY2689" fmla="*/ 16946 h 1849426"/>
                <a:gd name="connsiteX2690" fmla="*/ 5323207 w 6386648"/>
                <a:gd name="connsiteY2690" fmla="*/ 16946 h 1849426"/>
                <a:gd name="connsiteX2691" fmla="*/ 5341232 w 6386648"/>
                <a:gd name="connsiteY2691" fmla="*/ 34971 h 1849426"/>
                <a:gd name="connsiteX2692" fmla="*/ 5323207 w 6386648"/>
                <a:gd name="connsiteY2692" fmla="*/ 52995 h 1849426"/>
                <a:gd name="connsiteX2693" fmla="*/ 5305183 w 6386648"/>
                <a:gd name="connsiteY2693" fmla="*/ 34971 h 1849426"/>
                <a:gd name="connsiteX2694" fmla="*/ 5323207 w 6386648"/>
                <a:gd name="connsiteY2694" fmla="*/ 16946 h 1849426"/>
                <a:gd name="connsiteX2695" fmla="*/ 4632272 w 6386648"/>
                <a:gd name="connsiteY2695" fmla="*/ 16946 h 1849426"/>
                <a:gd name="connsiteX2696" fmla="*/ 4650297 w 6386648"/>
                <a:gd name="connsiteY2696" fmla="*/ 34971 h 1849426"/>
                <a:gd name="connsiteX2697" fmla="*/ 4632272 w 6386648"/>
                <a:gd name="connsiteY2697" fmla="*/ 52995 h 1849426"/>
                <a:gd name="connsiteX2698" fmla="*/ 4614248 w 6386648"/>
                <a:gd name="connsiteY2698" fmla="*/ 34971 h 1849426"/>
                <a:gd name="connsiteX2699" fmla="*/ 4632272 w 6386648"/>
                <a:gd name="connsiteY2699" fmla="*/ 16946 h 1849426"/>
                <a:gd name="connsiteX2700" fmla="*/ 3226368 w 6386648"/>
                <a:gd name="connsiteY2700" fmla="*/ 16946 h 1849426"/>
                <a:gd name="connsiteX2701" fmla="*/ 3244393 w 6386648"/>
                <a:gd name="connsiteY2701" fmla="*/ 34971 h 1849426"/>
                <a:gd name="connsiteX2702" fmla="*/ 3226368 w 6386648"/>
                <a:gd name="connsiteY2702" fmla="*/ 52995 h 1849426"/>
                <a:gd name="connsiteX2703" fmla="*/ 3208343 w 6386648"/>
                <a:gd name="connsiteY2703" fmla="*/ 34971 h 1849426"/>
                <a:gd name="connsiteX2704" fmla="*/ 3226368 w 6386648"/>
                <a:gd name="connsiteY2704" fmla="*/ 16946 h 1849426"/>
                <a:gd name="connsiteX2705" fmla="*/ 3983393 w 6386648"/>
                <a:gd name="connsiteY2705" fmla="*/ 10938 h 1849426"/>
                <a:gd name="connsiteX2706" fmla="*/ 4001418 w 6386648"/>
                <a:gd name="connsiteY2706" fmla="*/ 28962 h 1849426"/>
                <a:gd name="connsiteX2707" fmla="*/ 3983393 w 6386648"/>
                <a:gd name="connsiteY2707" fmla="*/ 46987 h 1849426"/>
                <a:gd name="connsiteX2708" fmla="*/ 3965369 w 6386648"/>
                <a:gd name="connsiteY2708" fmla="*/ 28962 h 1849426"/>
                <a:gd name="connsiteX2709" fmla="*/ 3983393 w 6386648"/>
                <a:gd name="connsiteY2709" fmla="*/ 10938 h 1849426"/>
                <a:gd name="connsiteX2710" fmla="*/ 1039407 w 6386648"/>
                <a:gd name="connsiteY2710" fmla="*/ 10938 h 1849426"/>
                <a:gd name="connsiteX2711" fmla="*/ 1057432 w 6386648"/>
                <a:gd name="connsiteY2711" fmla="*/ 28962 h 1849426"/>
                <a:gd name="connsiteX2712" fmla="*/ 1039407 w 6386648"/>
                <a:gd name="connsiteY2712" fmla="*/ 46987 h 1849426"/>
                <a:gd name="connsiteX2713" fmla="*/ 1021383 w 6386648"/>
                <a:gd name="connsiteY2713" fmla="*/ 28962 h 1849426"/>
                <a:gd name="connsiteX2714" fmla="*/ 1039407 w 6386648"/>
                <a:gd name="connsiteY2714" fmla="*/ 10938 h 1849426"/>
                <a:gd name="connsiteX2715" fmla="*/ 312422 w 6386648"/>
                <a:gd name="connsiteY2715" fmla="*/ 10938 h 1849426"/>
                <a:gd name="connsiteX2716" fmla="*/ 330447 w 6386648"/>
                <a:gd name="connsiteY2716" fmla="*/ 28962 h 1849426"/>
                <a:gd name="connsiteX2717" fmla="*/ 312422 w 6386648"/>
                <a:gd name="connsiteY2717" fmla="*/ 46987 h 1849426"/>
                <a:gd name="connsiteX2718" fmla="*/ 294398 w 6386648"/>
                <a:gd name="connsiteY2718" fmla="*/ 28962 h 1849426"/>
                <a:gd name="connsiteX2719" fmla="*/ 312422 w 6386648"/>
                <a:gd name="connsiteY2719" fmla="*/ 10938 h 1849426"/>
                <a:gd name="connsiteX2720" fmla="*/ 3839198 w 6386648"/>
                <a:gd name="connsiteY2720" fmla="*/ 4930 h 1849426"/>
                <a:gd name="connsiteX2721" fmla="*/ 3857223 w 6386648"/>
                <a:gd name="connsiteY2721" fmla="*/ 22954 h 1849426"/>
                <a:gd name="connsiteX2722" fmla="*/ 3839198 w 6386648"/>
                <a:gd name="connsiteY2722" fmla="*/ 40979 h 1849426"/>
                <a:gd name="connsiteX2723" fmla="*/ 3821174 w 6386648"/>
                <a:gd name="connsiteY2723" fmla="*/ 22954 h 1849426"/>
                <a:gd name="connsiteX2724" fmla="*/ 3839198 w 6386648"/>
                <a:gd name="connsiteY2724" fmla="*/ 4930 h 1849426"/>
                <a:gd name="connsiteX2725" fmla="*/ 3388588 w 6386648"/>
                <a:gd name="connsiteY2725" fmla="*/ 4930 h 1849426"/>
                <a:gd name="connsiteX2726" fmla="*/ 3406613 w 6386648"/>
                <a:gd name="connsiteY2726" fmla="*/ 22954 h 1849426"/>
                <a:gd name="connsiteX2727" fmla="*/ 3388588 w 6386648"/>
                <a:gd name="connsiteY2727" fmla="*/ 40979 h 1849426"/>
                <a:gd name="connsiteX2728" fmla="*/ 3370564 w 6386648"/>
                <a:gd name="connsiteY2728" fmla="*/ 22954 h 1849426"/>
                <a:gd name="connsiteX2729" fmla="*/ 3388588 w 6386648"/>
                <a:gd name="connsiteY2729" fmla="*/ 4930 h 1849426"/>
                <a:gd name="connsiteX2730" fmla="*/ 5171526 w 6386648"/>
                <a:gd name="connsiteY2730" fmla="*/ 0 h 1849426"/>
                <a:gd name="connsiteX2731" fmla="*/ 5198514 w 6386648"/>
                <a:gd name="connsiteY2731" fmla="*/ 0 h 1849426"/>
                <a:gd name="connsiteX2732" fmla="*/ 5203045 w 6386648"/>
                <a:gd name="connsiteY2732" fmla="*/ 10937 h 1849426"/>
                <a:gd name="connsiteX2733" fmla="*/ 5185020 w 6386648"/>
                <a:gd name="connsiteY2733" fmla="*/ 28962 h 1849426"/>
                <a:gd name="connsiteX2734" fmla="*/ 5166996 w 6386648"/>
                <a:gd name="connsiteY2734" fmla="*/ 10937 h 1849426"/>
                <a:gd name="connsiteX2735" fmla="*/ 4908761 w 6386648"/>
                <a:gd name="connsiteY2735" fmla="*/ 0 h 1849426"/>
                <a:gd name="connsiteX2736" fmla="*/ 4932564 w 6386648"/>
                <a:gd name="connsiteY2736" fmla="*/ 0 h 1849426"/>
                <a:gd name="connsiteX2737" fmla="*/ 4920662 w 6386648"/>
                <a:gd name="connsiteY2737" fmla="*/ 4930 h 1849426"/>
                <a:gd name="connsiteX2738" fmla="*/ 3701458 w 6386648"/>
                <a:gd name="connsiteY2738" fmla="*/ 0 h 1849426"/>
                <a:gd name="connsiteX2739" fmla="*/ 3736613 w 6386648"/>
                <a:gd name="connsiteY2739" fmla="*/ 0 h 1849426"/>
                <a:gd name="connsiteX2740" fmla="*/ 3731781 w 6386648"/>
                <a:gd name="connsiteY2740" fmla="*/ 11667 h 1849426"/>
                <a:gd name="connsiteX2741" fmla="*/ 3719035 w 6386648"/>
                <a:gd name="connsiteY2741" fmla="*/ 16946 h 1849426"/>
                <a:gd name="connsiteX2742" fmla="*/ 3706290 w 6386648"/>
                <a:gd name="connsiteY2742" fmla="*/ 11667 h 1849426"/>
                <a:gd name="connsiteX2743" fmla="*/ 3058255 w 6386648"/>
                <a:gd name="connsiteY2743" fmla="*/ 0 h 1849426"/>
                <a:gd name="connsiteX2744" fmla="*/ 3082058 w 6386648"/>
                <a:gd name="connsiteY2744" fmla="*/ 0 h 1849426"/>
                <a:gd name="connsiteX2745" fmla="*/ 3070156 w 6386648"/>
                <a:gd name="connsiteY2745" fmla="*/ 4930 h 1849426"/>
                <a:gd name="connsiteX2746" fmla="*/ 2908383 w 6386648"/>
                <a:gd name="connsiteY2746" fmla="*/ 0 h 1849426"/>
                <a:gd name="connsiteX2747" fmla="*/ 2943539 w 6386648"/>
                <a:gd name="connsiteY2747" fmla="*/ 0 h 1849426"/>
                <a:gd name="connsiteX2748" fmla="*/ 2938707 w 6386648"/>
                <a:gd name="connsiteY2748" fmla="*/ 11667 h 1849426"/>
                <a:gd name="connsiteX2749" fmla="*/ 2925961 w 6386648"/>
                <a:gd name="connsiteY2749" fmla="*/ 16946 h 1849426"/>
                <a:gd name="connsiteX2750" fmla="*/ 2913216 w 6386648"/>
                <a:gd name="connsiteY2750" fmla="*/ 11667 h 1849426"/>
                <a:gd name="connsiteX2751" fmla="*/ 2794230 w 6386648"/>
                <a:gd name="connsiteY2751" fmla="*/ 0 h 1849426"/>
                <a:gd name="connsiteX2752" fmla="*/ 2829385 w 6386648"/>
                <a:gd name="connsiteY2752" fmla="*/ 0 h 1849426"/>
                <a:gd name="connsiteX2753" fmla="*/ 2824553 w 6386648"/>
                <a:gd name="connsiteY2753" fmla="*/ 11667 h 1849426"/>
                <a:gd name="connsiteX2754" fmla="*/ 2811807 w 6386648"/>
                <a:gd name="connsiteY2754" fmla="*/ 16946 h 1849426"/>
                <a:gd name="connsiteX2755" fmla="*/ 2799062 w 6386648"/>
                <a:gd name="connsiteY2755" fmla="*/ 11667 h 1849426"/>
                <a:gd name="connsiteX2756" fmla="*/ 2675662 w 6386648"/>
                <a:gd name="connsiteY2756" fmla="*/ 0 h 1849426"/>
                <a:gd name="connsiteX2757" fmla="*/ 2707627 w 6386648"/>
                <a:gd name="connsiteY2757" fmla="*/ 0 h 1849426"/>
                <a:gd name="connsiteX2758" fmla="*/ 2709669 w 6386648"/>
                <a:gd name="connsiteY2758" fmla="*/ 4930 h 1849426"/>
                <a:gd name="connsiteX2759" fmla="*/ 2691644 w 6386648"/>
                <a:gd name="connsiteY2759" fmla="*/ 22954 h 1849426"/>
                <a:gd name="connsiteX2760" fmla="*/ 2673620 w 6386648"/>
                <a:gd name="connsiteY2760" fmla="*/ 4930 h 1849426"/>
                <a:gd name="connsiteX2761" fmla="*/ 2543483 w 6386648"/>
                <a:gd name="connsiteY2761" fmla="*/ 0 h 1849426"/>
                <a:gd name="connsiteX2762" fmla="*/ 2575448 w 6386648"/>
                <a:gd name="connsiteY2762" fmla="*/ 0 h 1849426"/>
                <a:gd name="connsiteX2763" fmla="*/ 2577490 w 6386648"/>
                <a:gd name="connsiteY2763" fmla="*/ 4930 h 1849426"/>
                <a:gd name="connsiteX2764" fmla="*/ 2559465 w 6386648"/>
                <a:gd name="connsiteY2764" fmla="*/ 22954 h 1849426"/>
                <a:gd name="connsiteX2765" fmla="*/ 2541441 w 6386648"/>
                <a:gd name="connsiteY2765" fmla="*/ 4930 h 1849426"/>
                <a:gd name="connsiteX2766" fmla="*/ 2047297 w 6386648"/>
                <a:gd name="connsiteY2766" fmla="*/ 0 h 1849426"/>
                <a:gd name="connsiteX2767" fmla="*/ 2074285 w 6386648"/>
                <a:gd name="connsiteY2767" fmla="*/ 0 h 1849426"/>
                <a:gd name="connsiteX2768" fmla="*/ 2078815 w 6386648"/>
                <a:gd name="connsiteY2768" fmla="*/ 10937 h 1849426"/>
                <a:gd name="connsiteX2769" fmla="*/ 2060790 w 6386648"/>
                <a:gd name="connsiteY2769" fmla="*/ 28962 h 1849426"/>
                <a:gd name="connsiteX2770" fmla="*/ 2042766 w 6386648"/>
                <a:gd name="connsiteY2770" fmla="*/ 10937 h 1849426"/>
                <a:gd name="connsiteX2771" fmla="*/ 1932017 w 6386648"/>
                <a:gd name="connsiteY2771" fmla="*/ 0 h 1849426"/>
                <a:gd name="connsiteX2772" fmla="*/ 1937222 w 6386648"/>
                <a:gd name="connsiteY2772" fmla="*/ 0 h 1849426"/>
                <a:gd name="connsiteX2773" fmla="*/ 1947365 w 6386648"/>
                <a:gd name="connsiteY2773" fmla="*/ 4201 h 1849426"/>
                <a:gd name="connsiteX2774" fmla="*/ 1952644 w 6386648"/>
                <a:gd name="connsiteY2774" fmla="*/ 16946 h 1849426"/>
                <a:gd name="connsiteX2775" fmla="*/ 1934619 w 6386648"/>
                <a:gd name="connsiteY2775" fmla="*/ 34971 h 1849426"/>
                <a:gd name="connsiteX2776" fmla="*/ 1916595 w 6386648"/>
                <a:gd name="connsiteY2776" fmla="*/ 16946 h 1849426"/>
                <a:gd name="connsiteX2777" fmla="*/ 1921875 w 6386648"/>
                <a:gd name="connsiteY2777" fmla="*/ 4201 h 1849426"/>
                <a:gd name="connsiteX2778" fmla="*/ 1694741 w 6386648"/>
                <a:gd name="connsiteY2778" fmla="*/ 0 h 1849426"/>
                <a:gd name="connsiteX2779" fmla="*/ 1729896 w 6386648"/>
                <a:gd name="connsiteY2779" fmla="*/ 0 h 1849426"/>
                <a:gd name="connsiteX2780" fmla="*/ 1725064 w 6386648"/>
                <a:gd name="connsiteY2780" fmla="*/ 11667 h 1849426"/>
                <a:gd name="connsiteX2781" fmla="*/ 1712318 w 6386648"/>
                <a:gd name="connsiteY2781" fmla="*/ 16946 h 1849426"/>
                <a:gd name="connsiteX2782" fmla="*/ 1699574 w 6386648"/>
                <a:gd name="connsiteY2782" fmla="*/ 11667 h 1849426"/>
                <a:gd name="connsiteX2783" fmla="*/ 1586594 w 6386648"/>
                <a:gd name="connsiteY2783" fmla="*/ 0 h 1849426"/>
                <a:gd name="connsiteX2784" fmla="*/ 1621749 w 6386648"/>
                <a:gd name="connsiteY2784" fmla="*/ 0 h 1849426"/>
                <a:gd name="connsiteX2785" fmla="*/ 1616917 w 6386648"/>
                <a:gd name="connsiteY2785" fmla="*/ 11667 h 1849426"/>
                <a:gd name="connsiteX2786" fmla="*/ 1604171 w 6386648"/>
                <a:gd name="connsiteY2786" fmla="*/ 16946 h 1849426"/>
                <a:gd name="connsiteX2787" fmla="*/ 1591427 w 6386648"/>
                <a:gd name="connsiteY2787" fmla="*/ 11667 h 1849426"/>
                <a:gd name="connsiteX2788" fmla="*/ 1328245 w 6386648"/>
                <a:gd name="connsiteY2788" fmla="*/ 0 h 1849426"/>
                <a:gd name="connsiteX2789" fmla="*/ 1363400 w 6386648"/>
                <a:gd name="connsiteY2789" fmla="*/ 0 h 1849426"/>
                <a:gd name="connsiteX2790" fmla="*/ 1358568 w 6386648"/>
                <a:gd name="connsiteY2790" fmla="*/ 11667 h 1849426"/>
                <a:gd name="connsiteX2791" fmla="*/ 1345823 w 6386648"/>
                <a:gd name="connsiteY2791" fmla="*/ 16946 h 1849426"/>
                <a:gd name="connsiteX2792" fmla="*/ 1333078 w 6386648"/>
                <a:gd name="connsiteY2792" fmla="*/ 11667 h 1849426"/>
                <a:gd name="connsiteX2793" fmla="*/ 636977 w 6386648"/>
                <a:gd name="connsiteY2793" fmla="*/ 0 h 1849426"/>
                <a:gd name="connsiteX2794" fmla="*/ 660780 w 6386648"/>
                <a:gd name="connsiteY2794" fmla="*/ 0 h 1849426"/>
                <a:gd name="connsiteX2795" fmla="*/ 648878 w 6386648"/>
                <a:gd name="connsiteY2795" fmla="*/ 4930 h 1849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Lst>
              <a:rect l="l" t="t" r="r" b="b"/>
              <a:pathLst>
                <a:path w="6386648" h="1849426">
                  <a:moveTo>
                    <a:pt x="4421987" y="1813377"/>
                  </a:moveTo>
                  <a:cubicBezTo>
                    <a:pt x="4431942" y="1813377"/>
                    <a:pt x="4440012" y="1821446"/>
                    <a:pt x="4440012" y="1831401"/>
                  </a:cubicBezTo>
                  <a:cubicBezTo>
                    <a:pt x="4440012" y="1841356"/>
                    <a:pt x="4431942" y="1849426"/>
                    <a:pt x="4421987" y="1849426"/>
                  </a:cubicBezTo>
                  <a:cubicBezTo>
                    <a:pt x="4412032" y="1849426"/>
                    <a:pt x="4403963" y="1841356"/>
                    <a:pt x="4403963" y="1831401"/>
                  </a:cubicBezTo>
                  <a:cubicBezTo>
                    <a:pt x="4403963" y="1821446"/>
                    <a:pt x="4412032" y="1813377"/>
                    <a:pt x="4421987" y="1813377"/>
                  </a:cubicBezTo>
                  <a:close/>
                  <a:moveTo>
                    <a:pt x="4235735" y="1807369"/>
                  </a:moveTo>
                  <a:cubicBezTo>
                    <a:pt x="4245690" y="1807369"/>
                    <a:pt x="4253760" y="1815439"/>
                    <a:pt x="4253760" y="1825393"/>
                  </a:cubicBezTo>
                  <a:cubicBezTo>
                    <a:pt x="4253760" y="1835348"/>
                    <a:pt x="4245690" y="1843418"/>
                    <a:pt x="4235735" y="1843418"/>
                  </a:cubicBezTo>
                  <a:cubicBezTo>
                    <a:pt x="4225780" y="1843418"/>
                    <a:pt x="4217711" y="1835348"/>
                    <a:pt x="4217711" y="1825393"/>
                  </a:cubicBezTo>
                  <a:cubicBezTo>
                    <a:pt x="4217711" y="1815439"/>
                    <a:pt x="4225780" y="1807369"/>
                    <a:pt x="4235735" y="1807369"/>
                  </a:cubicBezTo>
                  <a:close/>
                  <a:moveTo>
                    <a:pt x="4566182" y="1795353"/>
                  </a:moveTo>
                  <a:cubicBezTo>
                    <a:pt x="4576137" y="1795353"/>
                    <a:pt x="4584207" y="1803423"/>
                    <a:pt x="4584207" y="1813377"/>
                  </a:cubicBezTo>
                  <a:cubicBezTo>
                    <a:pt x="4584207" y="1823332"/>
                    <a:pt x="4576137" y="1831402"/>
                    <a:pt x="4566182" y="1831402"/>
                  </a:cubicBezTo>
                  <a:cubicBezTo>
                    <a:pt x="4556227" y="1831402"/>
                    <a:pt x="4548158" y="1823332"/>
                    <a:pt x="4548158" y="1813377"/>
                  </a:cubicBezTo>
                  <a:cubicBezTo>
                    <a:pt x="4548158" y="1803423"/>
                    <a:pt x="4556227" y="1795353"/>
                    <a:pt x="4566182" y="1795353"/>
                  </a:cubicBezTo>
                  <a:close/>
                  <a:moveTo>
                    <a:pt x="4698361" y="1777329"/>
                  </a:moveTo>
                  <a:cubicBezTo>
                    <a:pt x="4708316" y="1777329"/>
                    <a:pt x="4716386" y="1785399"/>
                    <a:pt x="4716386" y="1795353"/>
                  </a:cubicBezTo>
                  <a:cubicBezTo>
                    <a:pt x="4716386" y="1805308"/>
                    <a:pt x="4708316" y="1813378"/>
                    <a:pt x="4698361" y="1813378"/>
                  </a:cubicBezTo>
                  <a:cubicBezTo>
                    <a:pt x="4688406" y="1813378"/>
                    <a:pt x="4680336" y="1805308"/>
                    <a:pt x="4680336" y="1795353"/>
                  </a:cubicBezTo>
                  <a:cubicBezTo>
                    <a:pt x="4680336" y="1785399"/>
                    <a:pt x="4688406" y="1777329"/>
                    <a:pt x="4698361" y="1777329"/>
                  </a:cubicBezTo>
                  <a:close/>
                  <a:moveTo>
                    <a:pt x="4085531" y="1759304"/>
                  </a:moveTo>
                  <a:cubicBezTo>
                    <a:pt x="4095486" y="1759304"/>
                    <a:pt x="4103556" y="1767374"/>
                    <a:pt x="4103556" y="1777329"/>
                  </a:cubicBezTo>
                  <a:cubicBezTo>
                    <a:pt x="4103556" y="1787283"/>
                    <a:pt x="4095486" y="1795353"/>
                    <a:pt x="4085531" y="1795353"/>
                  </a:cubicBezTo>
                  <a:cubicBezTo>
                    <a:pt x="4075576" y="1795353"/>
                    <a:pt x="4067507" y="1787283"/>
                    <a:pt x="4067507" y="1777329"/>
                  </a:cubicBezTo>
                  <a:cubicBezTo>
                    <a:pt x="4067507" y="1767374"/>
                    <a:pt x="4075576" y="1759304"/>
                    <a:pt x="4085531" y="1759304"/>
                  </a:cubicBezTo>
                  <a:close/>
                  <a:moveTo>
                    <a:pt x="4301824" y="1723255"/>
                  </a:moveTo>
                  <a:cubicBezTo>
                    <a:pt x="4311779" y="1723255"/>
                    <a:pt x="4319849" y="1731324"/>
                    <a:pt x="4319849" y="1741279"/>
                  </a:cubicBezTo>
                  <a:cubicBezTo>
                    <a:pt x="4319849" y="1751234"/>
                    <a:pt x="4311779" y="1759304"/>
                    <a:pt x="4301824" y="1759304"/>
                  </a:cubicBezTo>
                  <a:cubicBezTo>
                    <a:pt x="4291869" y="1759304"/>
                    <a:pt x="4283800" y="1751234"/>
                    <a:pt x="4283800" y="1741279"/>
                  </a:cubicBezTo>
                  <a:cubicBezTo>
                    <a:pt x="4283800" y="1731324"/>
                    <a:pt x="4291869" y="1723255"/>
                    <a:pt x="4301824" y="1723255"/>
                  </a:cubicBezTo>
                  <a:close/>
                  <a:moveTo>
                    <a:pt x="4440011" y="1717247"/>
                  </a:moveTo>
                  <a:cubicBezTo>
                    <a:pt x="4449966" y="1717247"/>
                    <a:pt x="4458036" y="1725317"/>
                    <a:pt x="4458036" y="1735271"/>
                  </a:cubicBezTo>
                  <a:cubicBezTo>
                    <a:pt x="4458036" y="1745226"/>
                    <a:pt x="4449966" y="1753296"/>
                    <a:pt x="4440011" y="1753296"/>
                  </a:cubicBezTo>
                  <a:cubicBezTo>
                    <a:pt x="4430057" y="1753296"/>
                    <a:pt x="4421987" y="1745226"/>
                    <a:pt x="4421987" y="1735271"/>
                  </a:cubicBezTo>
                  <a:cubicBezTo>
                    <a:pt x="4421987" y="1725317"/>
                    <a:pt x="4430057" y="1717247"/>
                    <a:pt x="4440011" y="1717247"/>
                  </a:cubicBezTo>
                  <a:close/>
                  <a:moveTo>
                    <a:pt x="3965369" y="1711239"/>
                  </a:moveTo>
                  <a:cubicBezTo>
                    <a:pt x="3975324" y="1711239"/>
                    <a:pt x="3983394" y="1719309"/>
                    <a:pt x="3983394" y="1729263"/>
                  </a:cubicBezTo>
                  <a:cubicBezTo>
                    <a:pt x="3983394" y="1739218"/>
                    <a:pt x="3975324" y="1747288"/>
                    <a:pt x="3965369" y="1747288"/>
                  </a:cubicBezTo>
                  <a:cubicBezTo>
                    <a:pt x="3955414" y="1747288"/>
                    <a:pt x="3947345" y="1739218"/>
                    <a:pt x="3947345" y="1729263"/>
                  </a:cubicBezTo>
                  <a:cubicBezTo>
                    <a:pt x="3947345" y="1719309"/>
                    <a:pt x="3955414" y="1711239"/>
                    <a:pt x="3965369" y="1711239"/>
                  </a:cubicBezTo>
                  <a:close/>
                  <a:moveTo>
                    <a:pt x="4836548" y="1705231"/>
                  </a:moveTo>
                  <a:cubicBezTo>
                    <a:pt x="4846503" y="1705231"/>
                    <a:pt x="4854573" y="1713301"/>
                    <a:pt x="4854573" y="1723255"/>
                  </a:cubicBezTo>
                  <a:cubicBezTo>
                    <a:pt x="4854573" y="1733210"/>
                    <a:pt x="4846503" y="1741280"/>
                    <a:pt x="4836548" y="1741280"/>
                  </a:cubicBezTo>
                  <a:cubicBezTo>
                    <a:pt x="4826593" y="1741280"/>
                    <a:pt x="4818524" y="1733210"/>
                    <a:pt x="4818524" y="1723255"/>
                  </a:cubicBezTo>
                  <a:cubicBezTo>
                    <a:pt x="4818524" y="1713301"/>
                    <a:pt x="4826593" y="1705231"/>
                    <a:pt x="4836548" y="1705231"/>
                  </a:cubicBezTo>
                  <a:close/>
                  <a:moveTo>
                    <a:pt x="4175653" y="1681198"/>
                  </a:moveTo>
                  <a:cubicBezTo>
                    <a:pt x="4185608" y="1681198"/>
                    <a:pt x="4193678" y="1689268"/>
                    <a:pt x="4193678" y="1699222"/>
                  </a:cubicBezTo>
                  <a:cubicBezTo>
                    <a:pt x="4193678" y="1709177"/>
                    <a:pt x="4185608" y="1717247"/>
                    <a:pt x="4175653" y="1717247"/>
                  </a:cubicBezTo>
                  <a:cubicBezTo>
                    <a:pt x="4165698" y="1717247"/>
                    <a:pt x="4157629" y="1709177"/>
                    <a:pt x="4157629" y="1699222"/>
                  </a:cubicBezTo>
                  <a:cubicBezTo>
                    <a:pt x="4157629" y="1689268"/>
                    <a:pt x="4165698" y="1681198"/>
                    <a:pt x="4175653" y="1681198"/>
                  </a:cubicBezTo>
                  <a:close/>
                  <a:moveTo>
                    <a:pt x="4602231" y="1675190"/>
                  </a:moveTo>
                  <a:cubicBezTo>
                    <a:pt x="4612186" y="1675190"/>
                    <a:pt x="4620256" y="1683260"/>
                    <a:pt x="4620256" y="1693214"/>
                  </a:cubicBezTo>
                  <a:cubicBezTo>
                    <a:pt x="4620256" y="1703169"/>
                    <a:pt x="4612186" y="1711239"/>
                    <a:pt x="4602231" y="1711239"/>
                  </a:cubicBezTo>
                  <a:cubicBezTo>
                    <a:pt x="4592276" y="1711239"/>
                    <a:pt x="4584207" y="1703169"/>
                    <a:pt x="4584207" y="1693214"/>
                  </a:cubicBezTo>
                  <a:cubicBezTo>
                    <a:pt x="4584207" y="1683260"/>
                    <a:pt x="4592276" y="1675190"/>
                    <a:pt x="4602231" y="1675190"/>
                  </a:cubicBezTo>
                  <a:close/>
                  <a:moveTo>
                    <a:pt x="4734410" y="1663174"/>
                  </a:moveTo>
                  <a:cubicBezTo>
                    <a:pt x="4744365" y="1663174"/>
                    <a:pt x="4752435" y="1671243"/>
                    <a:pt x="4752435" y="1681198"/>
                  </a:cubicBezTo>
                  <a:cubicBezTo>
                    <a:pt x="4752435" y="1691153"/>
                    <a:pt x="4744365" y="1699223"/>
                    <a:pt x="4734410" y="1699223"/>
                  </a:cubicBezTo>
                  <a:cubicBezTo>
                    <a:pt x="4724456" y="1699223"/>
                    <a:pt x="4716386" y="1691153"/>
                    <a:pt x="4716386" y="1681198"/>
                  </a:cubicBezTo>
                  <a:cubicBezTo>
                    <a:pt x="4716386" y="1671243"/>
                    <a:pt x="4724456" y="1663174"/>
                    <a:pt x="4734410" y="1663174"/>
                  </a:cubicBezTo>
                  <a:close/>
                  <a:moveTo>
                    <a:pt x="3851214" y="1663174"/>
                  </a:moveTo>
                  <a:cubicBezTo>
                    <a:pt x="3861169" y="1663174"/>
                    <a:pt x="3869239" y="1671243"/>
                    <a:pt x="3869239" y="1681198"/>
                  </a:cubicBezTo>
                  <a:cubicBezTo>
                    <a:pt x="3869239" y="1691153"/>
                    <a:pt x="3861169" y="1699223"/>
                    <a:pt x="3851214" y="1699223"/>
                  </a:cubicBezTo>
                  <a:cubicBezTo>
                    <a:pt x="3841259" y="1699223"/>
                    <a:pt x="3833190" y="1691153"/>
                    <a:pt x="3833190" y="1681198"/>
                  </a:cubicBezTo>
                  <a:cubicBezTo>
                    <a:pt x="3833190" y="1671243"/>
                    <a:pt x="3841259" y="1663174"/>
                    <a:pt x="3851214" y="1663174"/>
                  </a:cubicBezTo>
                  <a:close/>
                  <a:moveTo>
                    <a:pt x="4061499" y="1627125"/>
                  </a:moveTo>
                  <a:cubicBezTo>
                    <a:pt x="4071454" y="1627125"/>
                    <a:pt x="4079524" y="1635195"/>
                    <a:pt x="4079524" y="1645149"/>
                  </a:cubicBezTo>
                  <a:cubicBezTo>
                    <a:pt x="4079524" y="1655104"/>
                    <a:pt x="4071454" y="1663174"/>
                    <a:pt x="4061499" y="1663174"/>
                  </a:cubicBezTo>
                  <a:cubicBezTo>
                    <a:pt x="4051544" y="1663174"/>
                    <a:pt x="4043475" y="1655104"/>
                    <a:pt x="4043475" y="1645149"/>
                  </a:cubicBezTo>
                  <a:cubicBezTo>
                    <a:pt x="4043475" y="1635195"/>
                    <a:pt x="4051544" y="1627125"/>
                    <a:pt x="4061499" y="1627125"/>
                  </a:cubicBezTo>
                  <a:close/>
                  <a:moveTo>
                    <a:pt x="4482068" y="1621117"/>
                  </a:moveTo>
                  <a:cubicBezTo>
                    <a:pt x="4492023" y="1621117"/>
                    <a:pt x="4500093" y="1629187"/>
                    <a:pt x="4500093" y="1639141"/>
                  </a:cubicBezTo>
                  <a:cubicBezTo>
                    <a:pt x="4500093" y="1649096"/>
                    <a:pt x="4492023" y="1657166"/>
                    <a:pt x="4482068" y="1657166"/>
                  </a:cubicBezTo>
                  <a:cubicBezTo>
                    <a:pt x="4472113" y="1657166"/>
                    <a:pt x="4464044" y="1649096"/>
                    <a:pt x="4464044" y="1639141"/>
                  </a:cubicBezTo>
                  <a:cubicBezTo>
                    <a:pt x="4464044" y="1629187"/>
                    <a:pt x="4472113" y="1621117"/>
                    <a:pt x="4482068" y="1621117"/>
                  </a:cubicBezTo>
                  <a:close/>
                  <a:moveTo>
                    <a:pt x="4926670" y="1615109"/>
                  </a:moveTo>
                  <a:cubicBezTo>
                    <a:pt x="4936625" y="1615109"/>
                    <a:pt x="4944695" y="1623179"/>
                    <a:pt x="4944695" y="1633133"/>
                  </a:cubicBezTo>
                  <a:cubicBezTo>
                    <a:pt x="4944695" y="1643088"/>
                    <a:pt x="4936625" y="1651158"/>
                    <a:pt x="4926670" y="1651158"/>
                  </a:cubicBezTo>
                  <a:cubicBezTo>
                    <a:pt x="4916715" y="1651158"/>
                    <a:pt x="4908646" y="1643088"/>
                    <a:pt x="4908646" y="1633133"/>
                  </a:cubicBezTo>
                  <a:cubicBezTo>
                    <a:pt x="4908646" y="1623179"/>
                    <a:pt x="4916715" y="1615109"/>
                    <a:pt x="4926670" y="1615109"/>
                  </a:cubicBezTo>
                  <a:close/>
                  <a:moveTo>
                    <a:pt x="3719035" y="1615109"/>
                  </a:moveTo>
                  <a:cubicBezTo>
                    <a:pt x="3728990" y="1615109"/>
                    <a:pt x="3737060" y="1623179"/>
                    <a:pt x="3737060" y="1633133"/>
                  </a:cubicBezTo>
                  <a:cubicBezTo>
                    <a:pt x="3737060" y="1643088"/>
                    <a:pt x="3728990" y="1651158"/>
                    <a:pt x="3719035" y="1651158"/>
                  </a:cubicBezTo>
                  <a:cubicBezTo>
                    <a:pt x="3709081" y="1651158"/>
                    <a:pt x="3701011" y="1643088"/>
                    <a:pt x="3701011" y="1633133"/>
                  </a:cubicBezTo>
                  <a:cubicBezTo>
                    <a:pt x="3701011" y="1623179"/>
                    <a:pt x="3709081" y="1615109"/>
                    <a:pt x="3719035" y="1615109"/>
                  </a:cubicBezTo>
                  <a:close/>
                  <a:moveTo>
                    <a:pt x="4343881" y="1603093"/>
                  </a:moveTo>
                  <a:cubicBezTo>
                    <a:pt x="4353836" y="1603093"/>
                    <a:pt x="4361906" y="1611162"/>
                    <a:pt x="4361906" y="1621117"/>
                  </a:cubicBezTo>
                  <a:cubicBezTo>
                    <a:pt x="4361906" y="1631072"/>
                    <a:pt x="4353836" y="1639142"/>
                    <a:pt x="4343881" y="1639142"/>
                  </a:cubicBezTo>
                  <a:cubicBezTo>
                    <a:pt x="4333927" y="1639142"/>
                    <a:pt x="4325857" y="1631072"/>
                    <a:pt x="4325857" y="1621117"/>
                  </a:cubicBezTo>
                  <a:cubicBezTo>
                    <a:pt x="4325857" y="1611162"/>
                    <a:pt x="4333927" y="1603093"/>
                    <a:pt x="4343881" y="1603093"/>
                  </a:cubicBezTo>
                  <a:close/>
                  <a:moveTo>
                    <a:pt x="4235735" y="1579060"/>
                  </a:moveTo>
                  <a:cubicBezTo>
                    <a:pt x="4245690" y="1579060"/>
                    <a:pt x="4253760" y="1587130"/>
                    <a:pt x="4253760" y="1597085"/>
                  </a:cubicBezTo>
                  <a:cubicBezTo>
                    <a:pt x="4253760" y="1607039"/>
                    <a:pt x="4245690" y="1615109"/>
                    <a:pt x="4235735" y="1615109"/>
                  </a:cubicBezTo>
                  <a:cubicBezTo>
                    <a:pt x="4225780" y="1615109"/>
                    <a:pt x="4217711" y="1607039"/>
                    <a:pt x="4217711" y="1597085"/>
                  </a:cubicBezTo>
                  <a:cubicBezTo>
                    <a:pt x="4217711" y="1587130"/>
                    <a:pt x="4225780" y="1579060"/>
                    <a:pt x="4235735" y="1579060"/>
                  </a:cubicBezTo>
                  <a:close/>
                  <a:moveTo>
                    <a:pt x="3941336" y="1573052"/>
                  </a:moveTo>
                  <a:cubicBezTo>
                    <a:pt x="3951291" y="1573052"/>
                    <a:pt x="3959361" y="1581121"/>
                    <a:pt x="3959361" y="1591076"/>
                  </a:cubicBezTo>
                  <a:cubicBezTo>
                    <a:pt x="3959361" y="1601031"/>
                    <a:pt x="3951291" y="1609101"/>
                    <a:pt x="3941336" y="1609101"/>
                  </a:cubicBezTo>
                  <a:cubicBezTo>
                    <a:pt x="3931381" y="1609101"/>
                    <a:pt x="3923312" y="1601031"/>
                    <a:pt x="3923312" y="1591076"/>
                  </a:cubicBezTo>
                  <a:cubicBezTo>
                    <a:pt x="3923312" y="1581121"/>
                    <a:pt x="3931381" y="1573052"/>
                    <a:pt x="3941336" y="1573052"/>
                  </a:cubicBezTo>
                  <a:close/>
                  <a:moveTo>
                    <a:pt x="1057431" y="1567044"/>
                  </a:moveTo>
                  <a:cubicBezTo>
                    <a:pt x="1067386" y="1567044"/>
                    <a:pt x="1075456" y="1575114"/>
                    <a:pt x="1075456" y="1585068"/>
                  </a:cubicBezTo>
                  <a:cubicBezTo>
                    <a:pt x="1075456" y="1595023"/>
                    <a:pt x="1067386" y="1603093"/>
                    <a:pt x="1057431" y="1603093"/>
                  </a:cubicBezTo>
                  <a:cubicBezTo>
                    <a:pt x="1047477" y="1603093"/>
                    <a:pt x="1039407" y="1595023"/>
                    <a:pt x="1039407" y="1585068"/>
                  </a:cubicBezTo>
                  <a:cubicBezTo>
                    <a:pt x="1039407" y="1575114"/>
                    <a:pt x="1047477" y="1567044"/>
                    <a:pt x="1057431" y="1567044"/>
                  </a:cubicBezTo>
                  <a:close/>
                  <a:moveTo>
                    <a:pt x="1201626" y="1561036"/>
                  </a:moveTo>
                  <a:cubicBezTo>
                    <a:pt x="1211581" y="1561036"/>
                    <a:pt x="1219651" y="1569106"/>
                    <a:pt x="1219651" y="1579060"/>
                  </a:cubicBezTo>
                  <a:cubicBezTo>
                    <a:pt x="1219651" y="1589015"/>
                    <a:pt x="1211581" y="1597085"/>
                    <a:pt x="1201626" y="1597085"/>
                  </a:cubicBezTo>
                  <a:cubicBezTo>
                    <a:pt x="1191672" y="1597085"/>
                    <a:pt x="1183602" y="1589015"/>
                    <a:pt x="1183602" y="1579060"/>
                  </a:cubicBezTo>
                  <a:cubicBezTo>
                    <a:pt x="1183602" y="1569106"/>
                    <a:pt x="1191672" y="1561036"/>
                    <a:pt x="1201626" y="1561036"/>
                  </a:cubicBezTo>
                  <a:close/>
                  <a:moveTo>
                    <a:pt x="4716385" y="1555028"/>
                  </a:moveTo>
                  <a:cubicBezTo>
                    <a:pt x="4726340" y="1555028"/>
                    <a:pt x="4734410" y="1563098"/>
                    <a:pt x="4734410" y="1573052"/>
                  </a:cubicBezTo>
                  <a:cubicBezTo>
                    <a:pt x="4734410" y="1583007"/>
                    <a:pt x="4726340" y="1591077"/>
                    <a:pt x="4716385" y="1591077"/>
                  </a:cubicBezTo>
                  <a:cubicBezTo>
                    <a:pt x="4706430" y="1591077"/>
                    <a:pt x="4698361" y="1583007"/>
                    <a:pt x="4698361" y="1573052"/>
                  </a:cubicBezTo>
                  <a:cubicBezTo>
                    <a:pt x="4698361" y="1563098"/>
                    <a:pt x="4706430" y="1555028"/>
                    <a:pt x="4716385" y="1555028"/>
                  </a:cubicBezTo>
                  <a:close/>
                  <a:moveTo>
                    <a:pt x="4578198" y="1555028"/>
                  </a:moveTo>
                  <a:cubicBezTo>
                    <a:pt x="4588153" y="1555028"/>
                    <a:pt x="4596223" y="1563098"/>
                    <a:pt x="4596223" y="1573052"/>
                  </a:cubicBezTo>
                  <a:cubicBezTo>
                    <a:pt x="4596223" y="1583007"/>
                    <a:pt x="4588153" y="1591077"/>
                    <a:pt x="4578198" y="1591077"/>
                  </a:cubicBezTo>
                  <a:cubicBezTo>
                    <a:pt x="4568243" y="1591077"/>
                    <a:pt x="4560173" y="1583007"/>
                    <a:pt x="4560173" y="1573052"/>
                  </a:cubicBezTo>
                  <a:cubicBezTo>
                    <a:pt x="4560173" y="1563098"/>
                    <a:pt x="4568243" y="1555028"/>
                    <a:pt x="4578198" y="1555028"/>
                  </a:cubicBezTo>
                  <a:close/>
                  <a:moveTo>
                    <a:pt x="1333805" y="1555028"/>
                  </a:moveTo>
                  <a:cubicBezTo>
                    <a:pt x="1343760" y="1555028"/>
                    <a:pt x="1351830" y="1563098"/>
                    <a:pt x="1351830" y="1573052"/>
                  </a:cubicBezTo>
                  <a:cubicBezTo>
                    <a:pt x="1351830" y="1583007"/>
                    <a:pt x="1343760" y="1591077"/>
                    <a:pt x="1333805" y="1591077"/>
                  </a:cubicBezTo>
                  <a:cubicBezTo>
                    <a:pt x="1323851" y="1591077"/>
                    <a:pt x="1315781" y="1583007"/>
                    <a:pt x="1315781" y="1573052"/>
                  </a:cubicBezTo>
                  <a:cubicBezTo>
                    <a:pt x="1315781" y="1563098"/>
                    <a:pt x="1323851" y="1555028"/>
                    <a:pt x="1333805" y="1555028"/>
                  </a:cubicBezTo>
                  <a:close/>
                  <a:moveTo>
                    <a:pt x="4842556" y="1543011"/>
                  </a:moveTo>
                  <a:cubicBezTo>
                    <a:pt x="4852511" y="1543011"/>
                    <a:pt x="4860581" y="1551080"/>
                    <a:pt x="4860581" y="1561035"/>
                  </a:cubicBezTo>
                  <a:cubicBezTo>
                    <a:pt x="4860581" y="1570990"/>
                    <a:pt x="4852511" y="1579060"/>
                    <a:pt x="4842556" y="1579060"/>
                  </a:cubicBezTo>
                  <a:cubicBezTo>
                    <a:pt x="4832601" y="1579060"/>
                    <a:pt x="4824532" y="1570990"/>
                    <a:pt x="4824532" y="1561035"/>
                  </a:cubicBezTo>
                  <a:cubicBezTo>
                    <a:pt x="4824532" y="1551080"/>
                    <a:pt x="4832601" y="1543011"/>
                    <a:pt x="4842556" y="1543011"/>
                  </a:cubicBezTo>
                  <a:close/>
                  <a:moveTo>
                    <a:pt x="3803149" y="1537003"/>
                  </a:moveTo>
                  <a:cubicBezTo>
                    <a:pt x="3813104" y="1537003"/>
                    <a:pt x="3821174" y="1545073"/>
                    <a:pt x="3821174" y="1555027"/>
                  </a:cubicBezTo>
                  <a:cubicBezTo>
                    <a:pt x="3821174" y="1564982"/>
                    <a:pt x="3813104" y="1573052"/>
                    <a:pt x="3803149" y="1573052"/>
                  </a:cubicBezTo>
                  <a:cubicBezTo>
                    <a:pt x="3793195" y="1573052"/>
                    <a:pt x="3785125" y="1564982"/>
                    <a:pt x="3785125" y="1555027"/>
                  </a:cubicBezTo>
                  <a:cubicBezTo>
                    <a:pt x="3785125" y="1545073"/>
                    <a:pt x="3793195" y="1537003"/>
                    <a:pt x="3803149" y="1537003"/>
                  </a:cubicBezTo>
                  <a:close/>
                  <a:moveTo>
                    <a:pt x="4127588" y="1530995"/>
                  </a:moveTo>
                  <a:cubicBezTo>
                    <a:pt x="4137543" y="1530995"/>
                    <a:pt x="4145613" y="1539065"/>
                    <a:pt x="4145613" y="1549019"/>
                  </a:cubicBezTo>
                  <a:cubicBezTo>
                    <a:pt x="4145613" y="1558974"/>
                    <a:pt x="4137543" y="1567044"/>
                    <a:pt x="4127588" y="1567044"/>
                  </a:cubicBezTo>
                  <a:cubicBezTo>
                    <a:pt x="4117633" y="1567044"/>
                    <a:pt x="4109563" y="1558974"/>
                    <a:pt x="4109563" y="1549019"/>
                  </a:cubicBezTo>
                  <a:cubicBezTo>
                    <a:pt x="4109563" y="1539065"/>
                    <a:pt x="4117633" y="1530995"/>
                    <a:pt x="4127588" y="1530995"/>
                  </a:cubicBezTo>
                  <a:close/>
                  <a:moveTo>
                    <a:pt x="3634921" y="1530995"/>
                  </a:moveTo>
                  <a:cubicBezTo>
                    <a:pt x="3644876" y="1530995"/>
                    <a:pt x="3652946" y="1539065"/>
                    <a:pt x="3652946" y="1549019"/>
                  </a:cubicBezTo>
                  <a:cubicBezTo>
                    <a:pt x="3652946" y="1558974"/>
                    <a:pt x="3644876" y="1567044"/>
                    <a:pt x="3634921" y="1567044"/>
                  </a:cubicBezTo>
                  <a:cubicBezTo>
                    <a:pt x="3624966" y="1567044"/>
                    <a:pt x="3616897" y="1558974"/>
                    <a:pt x="3616897" y="1549019"/>
                  </a:cubicBezTo>
                  <a:cubicBezTo>
                    <a:pt x="3616897" y="1539065"/>
                    <a:pt x="3624966" y="1530995"/>
                    <a:pt x="3634921" y="1530995"/>
                  </a:cubicBezTo>
                  <a:close/>
                  <a:moveTo>
                    <a:pt x="3532783" y="1530995"/>
                  </a:moveTo>
                  <a:cubicBezTo>
                    <a:pt x="3542738" y="1530995"/>
                    <a:pt x="3550808" y="1539065"/>
                    <a:pt x="3550808" y="1549019"/>
                  </a:cubicBezTo>
                  <a:cubicBezTo>
                    <a:pt x="3550808" y="1558974"/>
                    <a:pt x="3542738" y="1567044"/>
                    <a:pt x="3532783" y="1567044"/>
                  </a:cubicBezTo>
                  <a:cubicBezTo>
                    <a:pt x="3522829" y="1567044"/>
                    <a:pt x="3514759" y="1558974"/>
                    <a:pt x="3514759" y="1549019"/>
                  </a:cubicBezTo>
                  <a:cubicBezTo>
                    <a:pt x="3514759" y="1539065"/>
                    <a:pt x="3522829" y="1530995"/>
                    <a:pt x="3532783" y="1530995"/>
                  </a:cubicBezTo>
                  <a:close/>
                  <a:moveTo>
                    <a:pt x="1478000" y="1530995"/>
                  </a:moveTo>
                  <a:cubicBezTo>
                    <a:pt x="1487955" y="1530995"/>
                    <a:pt x="1496025" y="1539065"/>
                    <a:pt x="1496025" y="1549019"/>
                  </a:cubicBezTo>
                  <a:cubicBezTo>
                    <a:pt x="1496025" y="1558974"/>
                    <a:pt x="1487955" y="1567044"/>
                    <a:pt x="1478000" y="1567044"/>
                  </a:cubicBezTo>
                  <a:cubicBezTo>
                    <a:pt x="1468046" y="1567044"/>
                    <a:pt x="1459976" y="1558974"/>
                    <a:pt x="1459976" y="1549019"/>
                  </a:cubicBezTo>
                  <a:cubicBezTo>
                    <a:pt x="1459976" y="1539065"/>
                    <a:pt x="1468046" y="1530995"/>
                    <a:pt x="1478000" y="1530995"/>
                  </a:cubicBezTo>
                  <a:close/>
                  <a:moveTo>
                    <a:pt x="4427995" y="1518979"/>
                  </a:moveTo>
                  <a:cubicBezTo>
                    <a:pt x="4437950" y="1518979"/>
                    <a:pt x="4446020" y="1527049"/>
                    <a:pt x="4446020" y="1537004"/>
                  </a:cubicBezTo>
                  <a:cubicBezTo>
                    <a:pt x="4446020" y="1546958"/>
                    <a:pt x="4437950" y="1555028"/>
                    <a:pt x="4427995" y="1555028"/>
                  </a:cubicBezTo>
                  <a:cubicBezTo>
                    <a:pt x="4418040" y="1555028"/>
                    <a:pt x="4409970" y="1546958"/>
                    <a:pt x="4409970" y="1537004"/>
                  </a:cubicBezTo>
                  <a:cubicBezTo>
                    <a:pt x="4409970" y="1527049"/>
                    <a:pt x="4418040" y="1518979"/>
                    <a:pt x="4427995" y="1518979"/>
                  </a:cubicBezTo>
                  <a:close/>
                  <a:moveTo>
                    <a:pt x="4980743" y="1506962"/>
                  </a:moveTo>
                  <a:cubicBezTo>
                    <a:pt x="4990698" y="1506962"/>
                    <a:pt x="4998768" y="1515032"/>
                    <a:pt x="4998768" y="1524986"/>
                  </a:cubicBezTo>
                  <a:cubicBezTo>
                    <a:pt x="4998768" y="1534941"/>
                    <a:pt x="4990698" y="1543011"/>
                    <a:pt x="4980743" y="1543011"/>
                  </a:cubicBezTo>
                  <a:cubicBezTo>
                    <a:pt x="4970789" y="1543011"/>
                    <a:pt x="4962719" y="1534941"/>
                    <a:pt x="4962719" y="1524986"/>
                  </a:cubicBezTo>
                  <a:cubicBezTo>
                    <a:pt x="4962719" y="1515032"/>
                    <a:pt x="4970789" y="1506962"/>
                    <a:pt x="4980743" y="1506962"/>
                  </a:cubicBezTo>
                  <a:close/>
                  <a:moveTo>
                    <a:pt x="961301" y="1506962"/>
                  </a:moveTo>
                  <a:cubicBezTo>
                    <a:pt x="971256" y="1506962"/>
                    <a:pt x="979326" y="1515032"/>
                    <a:pt x="979326" y="1524986"/>
                  </a:cubicBezTo>
                  <a:cubicBezTo>
                    <a:pt x="979326" y="1534941"/>
                    <a:pt x="971256" y="1543011"/>
                    <a:pt x="961301" y="1543011"/>
                  </a:cubicBezTo>
                  <a:cubicBezTo>
                    <a:pt x="951347" y="1543011"/>
                    <a:pt x="943277" y="1534941"/>
                    <a:pt x="943277" y="1524986"/>
                  </a:cubicBezTo>
                  <a:cubicBezTo>
                    <a:pt x="943277" y="1515032"/>
                    <a:pt x="951347" y="1506962"/>
                    <a:pt x="961301" y="1506962"/>
                  </a:cubicBezTo>
                  <a:close/>
                  <a:moveTo>
                    <a:pt x="859163" y="1500954"/>
                  </a:moveTo>
                  <a:cubicBezTo>
                    <a:pt x="869118" y="1500954"/>
                    <a:pt x="877188" y="1509024"/>
                    <a:pt x="877188" y="1518978"/>
                  </a:cubicBezTo>
                  <a:cubicBezTo>
                    <a:pt x="877188" y="1528933"/>
                    <a:pt x="869118" y="1537003"/>
                    <a:pt x="859163" y="1537003"/>
                  </a:cubicBezTo>
                  <a:cubicBezTo>
                    <a:pt x="849209" y="1537003"/>
                    <a:pt x="841139" y="1528933"/>
                    <a:pt x="841139" y="1518978"/>
                  </a:cubicBezTo>
                  <a:cubicBezTo>
                    <a:pt x="841139" y="1509024"/>
                    <a:pt x="849209" y="1500954"/>
                    <a:pt x="859163" y="1500954"/>
                  </a:cubicBezTo>
                  <a:close/>
                  <a:moveTo>
                    <a:pt x="4013434" y="1482930"/>
                  </a:moveTo>
                  <a:cubicBezTo>
                    <a:pt x="4023389" y="1482930"/>
                    <a:pt x="4031459" y="1490999"/>
                    <a:pt x="4031459" y="1500954"/>
                  </a:cubicBezTo>
                  <a:cubicBezTo>
                    <a:pt x="4031459" y="1510909"/>
                    <a:pt x="4023389" y="1518979"/>
                    <a:pt x="4013434" y="1518979"/>
                  </a:cubicBezTo>
                  <a:cubicBezTo>
                    <a:pt x="4003480" y="1518979"/>
                    <a:pt x="3995410" y="1510909"/>
                    <a:pt x="3995410" y="1500954"/>
                  </a:cubicBezTo>
                  <a:cubicBezTo>
                    <a:pt x="3995410" y="1490999"/>
                    <a:pt x="4003480" y="1482930"/>
                    <a:pt x="4013434" y="1482930"/>
                  </a:cubicBezTo>
                  <a:close/>
                  <a:moveTo>
                    <a:pt x="3412620" y="1482930"/>
                  </a:moveTo>
                  <a:cubicBezTo>
                    <a:pt x="3422575" y="1482930"/>
                    <a:pt x="3430645" y="1490999"/>
                    <a:pt x="3430645" y="1500954"/>
                  </a:cubicBezTo>
                  <a:cubicBezTo>
                    <a:pt x="3430645" y="1510909"/>
                    <a:pt x="3422575" y="1518979"/>
                    <a:pt x="3412620" y="1518979"/>
                  </a:cubicBezTo>
                  <a:cubicBezTo>
                    <a:pt x="3402666" y="1518979"/>
                    <a:pt x="3394596" y="1510909"/>
                    <a:pt x="3394596" y="1500954"/>
                  </a:cubicBezTo>
                  <a:cubicBezTo>
                    <a:pt x="3394596" y="1490999"/>
                    <a:pt x="3402666" y="1482930"/>
                    <a:pt x="3412620" y="1482930"/>
                  </a:cubicBezTo>
                  <a:close/>
                  <a:moveTo>
                    <a:pt x="1586148" y="1476922"/>
                  </a:moveTo>
                  <a:cubicBezTo>
                    <a:pt x="1596102" y="1476922"/>
                    <a:pt x="1604172" y="1484992"/>
                    <a:pt x="1604172" y="1494946"/>
                  </a:cubicBezTo>
                  <a:cubicBezTo>
                    <a:pt x="1604172" y="1504901"/>
                    <a:pt x="1596102" y="1512971"/>
                    <a:pt x="1586148" y="1512971"/>
                  </a:cubicBezTo>
                  <a:cubicBezTo>
                    <a:pt x="1576193" y="1512971"/>
                    <a:pt x="1568123" y="1504901"/>
                    <a:pt x="1568123" y="1494946"/>
                  </a:cubicBezTo>
                  <a:cubicBezTo>
                    <a:pt x="1568123" y="1484992"/>
                    <a:pt x="1576193" y="1476922"/>
                    <a:pt x="1586148" y="1476922"/>
                  </a:cubicBezTo>
                  <a:close/>
                  <a:moveTo>
                    <a:pt x="4271783" y="1464906"/>
                  </a:moveTo>
                  <a:cubicBezTo>
                    <a:pt x="4281738" y="1464906"/>
                    <a:pt x="4289808" y="1472976"/>
                    <a:pt x="4289808" y="1482930"/>
                  </a:cubicBezTo>
                  <a:cubicBezTo>
                    <a:pt x="4289808" y="1492885"/>
                    <a:pt x="4281738" y="1500955"/>
                    <a:pt x="4271783" y="1500955"/>
                  </a:cubicBezTo>
                  <a:cubicBezTo>
                    <a:pt x="4261828" y="1500955"/>
                    <a:pt x="4253759" y="1492885"/>
                    <a:pt x="4253759" y="1482930"/>
                  </a:cubicBezTo>
                  <a:cubicBezTo>
                    <a:pt x="4253759" y="1472976"/>
                    <a:pt x="4261828" y="1464906"/>
                    <a:pt x="4271783" y="1464906"/>
                  </a:cubicBezTo>
                  <a:close/>
                  <a:moveTo>
                    <a:pt x="1105497" y="1464906"/>
                  </a:moveTo>
                  <a:cubicBezTo>
                    <a:pt x="1115451" y="1464906"/>
                    <a:pt x="1123521" y="1472976"/>
                    <a:pt x="1123521" y="1482930"/>
                  </a:cubicBezTo>
                  <a:cubicBezTo>
                    <a:pt x="1123521" y="1492885"/>
                    <a:pt x="1115451" y="1500955"/>
                    <a:pt x="1105497" y="1500955"/>
                  </a:cubicBezTo>
                  <a:cubicBezTo>
                    <a:pt x="1095542" y="1500955"/>
                    <a:pt x="1087472" y="1492885"/>
                    <a:pt x="1087472" y="1482930"/>
                  </a:cubicBezTo>
                  <a:cubicBezTo>
                    <a:pt x="1087472" y="1472976"/>
                    <a:pt x="1095542" y="1464906"/>
                    <a:pt x="1105497" y="1464906"/>
                  </a:cubicBezTo>
                  <a:close/>
                  <a:moveTo>
                    <a:pt x="4602231" y="1452889"/>
                  </a:moveTo>
                  <a:cubicBezTo>
                    <a:pt x="4612186" y="1452889"/>
                    <a:pt x="4620256" y="1460958"/>
                    <a:pt x="4620256" y="1470913"/>
                  </a:cubicBezTo>
                  <a:cubicBezTo>
                    <a:pt x="4620256" y="1480868"/>
                    <a:pt x="4612186" y="1488938"/>
                    <a:pt x="4602231" y="1488938"/>
                  </a:cubicBezTo>
                  <a:cubicBezTo>
                    <a:pt x="4592276" y="1488938"/>
                    <a:pt x="4584207" y="1480868"/>
                    <a:pt x="4584207" y="1470913"/>
                  </a:cubicBezTo>
                  <a:cubicBezTo>
                    <a:pt x="4584207" y="1460958"/>
                    <a:pt x="4592276" y="1452889"/>
                    <a:pt x="4602231" y="1452889"/>
                  </a:cubicBezTo>
                  <a:close/>
                  <a:moveTo>
                    <a:pt x="3875247" y="1452889"/>
                  </a:moveTo>
                  <a:cubicBezTo>
                    <a:pt x="3885202" y="1452889"/>
                    <a:pt x="3893272" y="1460958"/>
                    <a:pt x="3893272" y="1470913"/>
                  </a:cubicBezTo>
                  <a:cubicBezTo>
                    <a:pt x="3893272" y="1480868"/>
                    <a:pt x="3885202" y="1488938"/>
                    <a:pt x="3875247" y="1488938"/>
                  </a:cubicBezTo>
                  <a:cubicBezTo>
                    <a:pt x="3865292" y="1488938"/>
                    <a:pt x="3857223" y="1480868"/>
                    <a:pt x="3857223" y="1470913"/>
                  </a:cubicBezTo>
                  <a:cubicBezTo>
                    <a:pt x="3857223" y="1460958"/>
                    <a:pt x="3865292" y="1452889"/>
                    <a:pt x="3875247" y="1452889"/>
                  </a:cubicBezTo>
                  <a:close/>
                  <a:moveTo>
                    <a:pt x="1706311" y="1452889"/>
                  </a:moveTo>
                  <a:cubicBezTo>
                    <a:pt x="1716265" y="1452889"/>
                    <a:pt x="1724335" y="1460958"/>
                    <a:pt x="1724335" y="1470913"/>
                  </a:cubicBezTo>
                  <a:cubicBezTo>
                    <a:pt x="1724335" y="1480868"/>
                    <a:pt x="1716265" y="1488938"/>
                    <a:pt x="1706311" y="1488938"/>
                  </a:cubicBezTo>
                  <a:cubicBezTo>
                    <a:pt x="1696356" y="1488938"/>
                    <a:pt x="1688286" y="1480868"/>
                    <a:pt x="1688286" y="1470913"/>
                  </a:cubicBezTo>
                  <a:cubicBezTo>
                    <a:pt x="1688286" y="1460958"/>
                    <a:pt x="1696356" y="1452889"/>
                    <a:pt x="1706311" y="1452889"/>
                  </a:cubicBezTo>
                  <a:close/>
                  <a:moveTo>
                    <a:pt x="1411911" y="1452889"/>
                  </a:moveTo>
                  <a:cubicBezTo>
                    <a:pt x="1421866" y="1452889"/>
                    <a:pt x="1429936" y="1460958"/>
                    <a:pt x="1429936" y="1470913"/>
                  </a:cubicBezTo>
                  <a:cubicBezTo>
                    <a:pt x="1429936" y="1480868"/>
                    <a:pt x="1421866" y="1488938"/>
                    <a:pt x="1411911" y="1488938"/>
                  </a:cubicBezTo>
                  <a:cubicBezTo>
                    <a:pt x="1401957" y="1488938"/>
                    <a:pt x="1393887" y="1480868"/>
                    <a:pt x="1393887" y="1470913"/>
                  </a:cubicBezTo>
                  <a:cubicBezTo>
                    <a:pt x="1393887" y="1460958"/>
                    <a:pt x="1401957" y="1452889"/>
                    <a:pt x="1411911" y="1452889"/>
                  </a:cubicBezTo>
                  <a:close/>
                  <a:moveTo>
                    <a:pt x="1249691" y="1452889"/>
                  </a:moveTo>
                  <a:cubicBezTo>
                    <a:pt x="1259646" y="1452889"/>
                    <a:pt x="1267716" y="1460958"/>
                    <a:pt x="1267716" y="1470913"/>
                  </a:cubicBezTo>
                  <a:cubicBezTo>
                    <a:pt x="1267716" y="1480868"/>
                    <a:pt x="1259646" y="1488938"/>
                    <a:pt x="1249691" y="1488938"/>
                  </a:cubicBezTo>
                  <a:cubicBezTo>
                    <a:pt x="1239737" y="1488938"/>
                    <a:pt x="1231667" y="1480868"/>
                    <a:pt x="1231667" y="1470913"/>
                  </a:cubicBezTo>
                  <a:cubicBezTo>
                    <a:pt x="1231667" y="1460958"/>
                    <a:pt x="1239737" y="1452889"/>
                    <a:pt x="1249691" y="1452889"/>
                  </a:cubicBezTo>
                  <a:close/>
                  <a:moveTo>
                    <a:pt x="4764451" y="1446881"/>
                  </a:moveTo>
                  <a:cubicBezTo>
                    <a:pt x="4774406" y="1446881"/>
                    <a:pt x="4782476" y="1454951"/>
                    <a:pt x="4782476" y="1464905"/>
                  </a:cubicBezTo>
                  <a:cubicBezTo>
                    <a:pt x="4782476" y="1474860"/>
                    <a:pt x="4774406" y="1482930"/>
                    <a:pt x="4764451" y="1482930"/>
                  </a:cubicBezTo>
                  <a:cubicBezTo>
                    <a:pt x="4754497" y="1482930"/>
                    <a:pt x="4746427" y="1474860"/>
                    <a:pt x="4746427" y="1464905"/>
                  </a:cubicBezTo>
                  <a:cubicBezTo>
                    <a:pt x="4746427" y="1454951"/>
                    <a:pt x="4754497" y="1446881"/>
                    <a:pt x="4764451" y="1446881"/>
                  </a:cubicBezTo>
                  <a:close/>
                  <a:moveTo>
                    <a:pt x="763032" y="1446881"/>
                  </a:moveTo>
                  <a:cubicBezTo>
                    <a:pt x="772987" y="1446881"/>
                    <a:pt x="781057" y="1454951"/>
                    <a:pt x="781057" y="1464905"/>
                  </a:cubicBezTo>
                  <a:cubicBezTo>
                    <a:pt x="781057" y="1474860"/>
                    <a:pt x="772987" y="1482930"/>
                    <a:pt x="763032" y="1482930"/>
                  </a:cubicBezTo>
                  <a:cubicBezTo>
                    <a:pt x="753078" y="1482930"/>
                    <a:pt x="745008" y="1474860"/>
                    <a:pt x="745008" y="1464905"/>
                  </a:cubicBezTo>
                  <a:cubicBezTo>
                    <a:pt x="745008" y="1454951"/>
                    <a:pt x="753078" y="1446881"/>
                    <a:pt x="763032" y="1446881"/>
                  </a:cubicBezTo>
                  <a:close/>
                  <a:moveTo>
                    <a:pt x="3731051" y="1434865"/>
                  </a:moveTo>
                  <a:cubicBezTo>
                    <a:pt x="3741006" y="1434865"/>
                    <a:pt x="3749076" y="1442935"/>
                    <a:pt x="3749076" y="1452889"/>
                  </a:cubicBezTo>
                  <a:cubicBezTo>
                    <a:pt x="3749076" y="1462844"/>
                    <a:pt x="3741006" y="1470914"/>
                    <a:pt x="3731051" y="1470914"/>
                  </a:cubicBezTo>
                  <a:cubicBezTo>
                    <a:pt x="3721096" y="1470914"/>
                    <a:pt x="3713027" y="1462844"/>
                    <a:pt x="3713027" y="1452889"/>
                  </a:cubicBezTo>
                  <a:cubicBezTo>
                    <a:pt x="3713027" y="1442935"/>
                    <a:pt x="3721096" y="1434865"/>
                    <a:pt x="3731051" y="1434865"/>
                  </a:cubicBezTo>
                  <a:close/>
                  <a:moveTo>
                    <a:pt x="3304474" y="1422849"/>
                  </a:moveTo>
                  <a:cubicBezTo>
                    <a:pt x="3314429" y="1422849"/>
                    <a:pt x="3322499" y="1430918"/>
                    <a:pt x="3322499" y="1440873"/>
                  </a:cubicBezTo>
                  <a:cubicBezTo>
                    <a:pt x="3322499" y="1450828"/>
                    <a:pt x="3314429" y="1458898"/>
                    <a:pt x="3304474" y="1458898"/>
                  </a:cubicBezTo>
                  <a:cubicBezTo>
                    <a:pt x="3294519" y="1458898"/>
                    <a:pt x="3286450" y="1450828"/>
                    <a:pt x="3286450" y="1440873"/>
                  </a:cubicBezTo>
                  <a:cubicBezTo>
                    <a:pt x="3286450" y="1430918"/>
                    <a:pt x="3294519" y="1422849"/>
                    <a:pt x="3304474" y="1422849"/>
                  </a:cubicBezTo>
                  <a:close/>
                  <a:moveTo>
                    <a:pt x="4890621" y="1416840"/>
                  </a:moveTo>
                  <a:cubicBezTo>
                    <a:pt x="4900576" y="1416840"/>
                    <a:pt x="4908646" y="1424910"/>
                    <a:pt x="4908646" y="1434864"/>
                  </a:cubicBezTo>
                  <a:cubicBezTo>
                    <a:pt x="4908646" y="1444819"/>
                    <a:pt x="4900576" y="1452889"/>
                    <a:pt x="4890621" y="1452889"/>
                  </a:cubicBezTo>
                  <a:cubicBezTo>
                    <a:pt x="4880667" y="1452889"/>
                    <a:pt x="4872597" y="1444819"/>
                    <a:pt x="4872597" y="1434864"/>
                  </a:cubicBezTo>
                  <a:cubicBezTo>
                    <a:pt x="4872597" y="1424910"/>
                    <a:pt x="4880667" y="1416840"/>
                    <a:pt x="4890621" y="1416840"/>
                  </a:cubicBezTo>
                  <a:close/>
                  <a:moveTo>
                    <a:pt x="3544799" y="1410832"/>
                  </a:moveTo>
                  <a:cubicBezTo>
                    <a:pt x="3554754" y="1410832"/>
                    <a:pt x="3562824" y="1418902"/>
                    <a:pt x="3562824" y="1428856"/>
                  </a:cubicBezTo>
                  <a:cubicBezTo>
                    <a:pt x="3562824" y="1438811"/>
                    <a:pt x="3554754" y="1446881"/>
                    <a:pt x="3544799" y="1446881"/>
                  </a:cubicBezTo>
                  <a:cubicBezTo>
                    <a:pt x="3534844" y="1446881"/>
                    <a:pt x="3526775" y="1438811"/>
                    <a:pt x="3526775" y="1428856"/>
                  </a:cubicBezTo>
                  <a:cubicBezTo>
                    <a:pt x="3526775" y="1418902"/>
                    <a:pt x="3534844" y="1410832"/>
                    <a:pt x="3544799" y="1410832"/>
                  </a:cubicBezTo>
                  <a:close/>
                  <a:moveTo>
                    <a:pt x="4488076" y="1404824"/>
                  </a:moveTo>
                  <a:cubicBezTo>
                    <a:pt x="4498031" y="1404824"/>
                    <a:pt x="4506101" y="1412894"/>
                    <a:pt x="4506101" y="1422848"/>
                  </a:cubicBezTo>
                  <a:cubicBezTo>
                    <a:pt x="4506101" y="1432803"/>
                    <a:pt x="4498031" y="1440873"/>
                    <a:pt x="4488076" y="1440873"/>
                  </a:cubicBezTo>
                  <a:cubicBezTo>
                    <a:pt x="4478121" y="1440873"/>
                    <a:pt x="4470051" y="1432803"/>
                    <a:pt x="4470051" y="1422848"/>
                  </a:cubicBezTo>
                  <a:cubicBezTo>
                    <a:pt x="4470051" y="1412894"/>
                    <a:pt x="4478121" y="1404824"/>
                    <a:pt x="4488076" y="1404824"/>
                  </a:cubicBezTo>
                  <a:close/>
                  <a:moveTo>
                    <a:pt x="5028808" y="1398816"/>
                  </a:moveTo>
                  <a:cubicBezTo>
                    <a:pt x="5038763" y="1398816"/>
                    <a:pt x="5046833" y="1406886"/>
                    <a:pt x="5046833" y="1416841"/>
                  </a:cubicBezTo>
                  <a:cubicBezTo>
                    <a:pt x="5046833" y="1426795"/>
                    <a:pt x="5038763" y="1434865"/>
                    <a:pt x="5028808" y="1434865"/>
                  </a:cubicBezTo>
                  <a:cubicBezTo>
                    <a:pt x="5018853" y="1434865"/>
                    <a:pt x="5010783" y="1426795"/>
                    <a:pt x="5010783" y="1416841"/>
                  </a:cubicBezTo>
                  <a:cubicBezTo>
                    <a:pt x="5010783" y="1406886"/>
                    <a:pt x="5018853" y="1398816"/>
                    <a:pt x="5028808" y="1398816"/>
                  </a:cubicBezTo>
                  <a:close/>
                  <a:moveTo>
                    <a:pt x="4367914" y="1398816"/>
                  </a:moveTo>
                  <a:cubicBezTo>
                    <a:pt x="4377869" y="1398816"/>
                    <a:pt x="4385939" y="1406886"/>
                    <a:pt x="4385939" y="1416841"/>
                  </a:cubicBezTo>
                  <a:cubicBezTo>
                    <a:pt x="4385939" y="1426795"/>
                    <a:pt x="4377869" y="1434865"/>
                    <a:pt x="4367914" y="1434865"/>
                  </a:cubicBezTo>
                  <a:cubicBezTo>
                    <a:pt x="4357959" y="1434865"/>
                    <a:pt x="4349889" y="1426795"/>
                    <a:pt x="4349889" y="1416841"/>
                  </a:cubicBezTo>
                  <a:cubicBezTo>
                    <a:pt x="4349889" y="1406886"/>
                    <a:pt x="4357959" y="1398816"/>
                    <a:pt x="4367914" y="1398816"/>
                  </a:cubicBezTo>
                  <a:close/>
                  <a:moveTo>
                    <a:pt x="4163637" y="1398816"/>
                  </a:moveTo>
                  <a:cubicBezTo>
                    <a:pt x="4173592" y="1398816"/>
                    <a:pt x="4181662" y="1406886"/>
                    <a:pt x="4181662" y="1416841"/>
                  </a:cubicBezTo>
                  <a:cubicBezTo>
                    <a:pt x="4181662" y="1426795"/>
                    <a:pt x="4173592" y="1434865"/>
                    <a:pt x="4163637" y="1434865"/>
                  </a:cubicBezTo>
                  <a:cubicBezTo>
                    <a:pt x="4153683" y="1434865"/>
                    <a:pt x="4145613" y="1426795"/>
                    <a:pt x="4145613" y="1416841"/>
                  </a:cubicBezTo>
                  <a:cubicBezTo>
                    <a:pt x="4145613" y="1406886"/>
                    <a:pt x="4153683" y="1398816"/>
                    <a:pt x="4163637" y="1398816"/>
                  </a:cubicBezTo>
                  <a:close/>
                  <a:moveTo>
                    <a:pt x="672910" y="1398816"/>
                  </a:moveTo>
                  <a:cubicBezTo>
                    <a:pt x="682865" y="1398816"/>
                    <a:pt x="690935" y="1406886"/>
                    <a:pt x="690935" y="1416841"/>
                  </a:cubicBezTo>
                  <a:cubicBezTo>
                    <a:pt x="690935" y="1426795"/>
                    <a:pt x="682865" y="1434865"/>
                    <a:pt x="672910" y="1434865"/>
                  </a:cubicBezTo>
                  <a:cubicBezTo>
                    <a:pt x="662956" y="1434865"/>
                    <a:pt x="654886" y="1426795"/>
                    <a:pt x="654886" y="1416841"/>
                  </a:cubicBezTo>
                  <a:cubicBezTo>
                    <a:pt x="654886" y="1406886"/>
                    <a:pt x="662956" y="1398816"/>
                    <a:pt x="672910" y="1398816"/>
                  </a:cubicBezTo>
                  <a:close/>
                  <a:moveTo>
                    <a:pt x="3190319" y="1392808"/>
                  </a:moveTo>
                  <a:cubicBezTo>
                    <a:pt x="3200274" y="1392808"/>
                    <a:pt x="3208344" y="1400877"/>
                    <a:pt x="3208344" y="1410832"/>
                  </a:cubicBezTo>
                  <a:cubicBezTo>
                    <a:pt x="3208344" y="1420787"/>
                    <a:pt x="3200274" y="1428857"/>
                    <a:pt x="3190319" y="1428857"/>
                  </a:cubicBezTo>
                  <a:cubicBezTo>
                    <a:pt x="3180364" y="1428857"/>
                    <a:pt x="3172295" y="1420787"/>
                    <a:pt x="3172295" y="1410832"/>
                  </a:cubicBezTo>
                  <a:cubicBezTo>
                    <a:pt x="3172295" y="1400877"/>
                    <a:pt x="3180364" y="1392808"/>
                    <a:pt x="3190319" y="1392808"/>
                  </a:cubicBezTo>
                  <a:close/>
                  <a:moveTo>
                    <a:pt x="1814456" y="1392808"/>
                  </a:moveTo>
                  <a:cubicBezTo>
                    <a:pt x="1824411" y="1392808"/>
                    <a:pt x="1832481" y="1400877"/>
                    <a:pt x="1832481" y="1410832"/>
                  </a:cubicBezTo>
                  <a:cubicBezTo>
                    <a:pt x="1832481" y="1420787"/>
                    <a:pt x="1824411" y="1428857"/>
                    <a:pt x="1814456" y="1428857"/>
                  </a:cubicBezTo>
                  <a:cubicBezTo>
                    <a:pt x="1804502" y="1428857"/>
                    <a:pt x="1796432" y="1420787"/>
                    <a:pt x="1796432" y="1410832"/>
                  </a:cubicBezTo>
                  <a:cubicBezTo>
                    <a:pt x="1796432" y="1400877"/>
                    <a:pt x="1804502" y="1392808"/>
                    <a:pt x="1814456" y="1392808"/>
                  </a:cubicBezTo>
                  <a:close/>
                  <a:moveTo>
                    <a:pt x="967309" y="1386800"/>
                  </a:moveTo>
                  <a:cubicBezTo>
                    <a:pt x="977264" y="1386800"/>
                    <a:pt x="985334" y="1394870"/>
                    <a:pt x="985334" y="1404824"/>
                  </a:cubicBezTo>
                  <a:cubicBezTo>
                    <a:pt x="985334" y="1414779"/>
                    <a:pt x="977264" y="1422849"/>
                    <a:pt x="967309" y="1422849"/>
                  </a:cubicBezTo>
                  <a:cubicBezTo>
                    <a:pt x="957355" y="1422849"/>
                    <a:pt x="949285" y="1414779"/>
                    <a:pt x="949285" y="1404824"/>
                  </a:cubicBezTo>
                  <a:cubicBezTo>
                    <a:pt x="949285" y="1394870"/>
                    <a:pt x="957355" y="1386800"/>
                    <a:pt x="967309" y="1386800"/>
                  </a:cubicBezTo>
                  <a:close/>
                  <a:moveTo>
                    <a:pt x="4049482" y="1374784"/>
                  </a:moveTo>
                  <a:cubicBezTo>
                    <a:pt x="4059437" y="1374784"/>
                    <a:pt x="4067507" y="1382854"/>
                    <a:pt x="4067507" y="1392808"/>
                  </a:cubicBezTo>
                  <a:cubicBezTo>
                    <a:pt x="4067507" y="1402763"/>
                    <a:pt x="4059437" y="1410833"/>
                    <a:pt x="4049482" y="1410833"/>
                  </a:cubicBezTo>
                  <a:cubicBezTo>
                    <a:pt x="4039528" y="1410833"/>
                    <a:pt x="4031458" y="1402763"/>
                    <a:pt x="4031458" y="1392808"/>
                  </a:cubicBezTo>
                  <a:cubicBezTo>
                    <a:pt x="4031458" y="1382854"/>
                    <a:pt x="4039528" y="1374784"/>
                    <a:pt x="4049482" y="1374784"/>
                  </a:cubicBezTo>
                  <a:close/>
                  <a:moveTo>
                    <a:pt x="4674329" y="1368775"/>
                  </a:moveTo>
                  <a:cubicBezTo>
                    <a:pt x="4684284" y="1368775"/>
                    <a:pt x="4692354" y="1376845"/>
                    <a:pt x="4692354" y="1386800"/>
                  </a:cubicBezTo>
                  <a:cubicBezTo>
                    <a:pt x="4692354" y="1396754"/>
                    <a:pt x="4684284" y="1404824"/>
                    <a:pt x="4674329" y="1404824"/>
                  </a:cubicBezTo>
                  <a:cubicBezTo>
                    <a:pt x="4664375" y="1404824"/>
                    <a:pt x="4656305" y="1396754"/>
                    <a:pt x="4656305" y="1386800"/>
                  </a:cubicBezTo>
                  <a:cubicBezTo>
                    <a:pt x="4656305" y="1376845"/>
                    <a:pt x="4664375" y="1368775"/>
                    <a:pt x="4674329" y="1368775"/>
                  </a:cubicBezTo>
                  <a:close/>
                  <a:moveTo>
                    <a:pt x="1526067" y="1368775"/>
                  </a:moveTo>
                  <a:cubicBezTo>
                    <a:pt x="1536021" y="1368775"/>
                    <a:pt x="1544091" y="1376845"/>
                    <a:pt x="1544091" y="1386800"/>
                  </a:cubicBezTo>
                  <a:cubicBezTo>
                    <a:pt x="1544091" y="1396754"/>
                    <a:pt x="1536021" y="1404824"/>
                    <a:pt x="1526067" y="1404824"/>
                  </a:cubicBezTo>
                  <a:cubicBezTo>
                    <a:pt x="1516112" y="1404824"/>
                    <a:pt x="1508042" y="1396754"/>
                    <a:pt x="1508042" y="1386800"/>
                  </a:cubicBezTo>
                  <a:cubicBezTo>
                    <a:pt x="1508042" y="1376845"/>
                    <a:pt x="1516112" y="1368775"/>
                    <a:pt x="1526067" y="1368775"/>
                  </a:cubicBezTo>
                  <a:close/>
                  <a:moveTo>
                    <a:pt x="1369854" y="1368775"/>
                  </a:moveTo>
                  <a:cubicBezTo>
                    <a:pt x="1379809" y="1368775"/>
                    <a:pt x="1387879" y="1376845"/>
                    <a:pt x="1387879" y="1386800"/>
                  </a:cubicBezTo>
                  <a:cubicBezTo>
                    <a:pt x="1387879" y="1396754"/>
                    <a:pt x="1379809" y="1404824"/>
                    <a:pt x="1369854" y="1404824"/>
                  </a:cubicBezTo>
                  <a:cubicBezTo>
                    <a:pt x="1359900" y="1404824"/>
                    <a:pt x="1351830" y="1396754"/>
                    <a:pt x="1351830" y="1386800"/>
                  </a:cubicBezTo>
                  <a:cubicBezTo>
                    <a:pt x="1351830" y="1376845"/>
                    <a:pt x="1359900" y="1368775"/>
                    <a:pt x="1369854" y="1368775"/>
                  </a:cubicBezTo>
                  <a:close/>
                  <a:moveTo>
                    <a:pt x="3418628" y="1362767"/>
                  </a:moveTo>
                  <a:cubicBezTo>
                    <a:pt x="3428583" y="1362767"/>
                    <a:pt x="3436653" y="1370836"/>
                    <a:pt x="3436653" y="1380791"/>
                  </a:cubicBezTo>
                  <a:cubicBezTo>
                    <a:pt x="3436653" y="1390746"/>
                    <a:pt x="3428583" y="1398816"/>
                    <a:pt x="3418628" y="1398816"/>
                  </a:cubicBezTo>
                  <a:cubicBezTo>
                    <a:pt x="3408674" y="1398816"/>
                    <a:pt x="3400604" y="1390746"/>
                    <a:pt x="3400604" y="1380791"/>
                  </a:cubicBezTo>
                  <a:cubicBezTo>
                    <a:pt x="3400604" y="1370836"/>
                    <a:pt x="3408674" y="1362767"/>
                    <a:pt x="3418628" y="1362767"/>
                  </a:cubicBezTo>
                  <a:close/>
                  <a:moveTo>
                    <a:pt x="1147553" y="1362767"/>
                  </a:moveTo>
                  <a:cubicBezTo>
                    <a:pt x="1157508" y="1362767"/>
                    <a:pt x="1165578" y="1370836"/>
                    <a:pt x="1165578" y="1380791"/>
                  </a:cubicBezTo>
                  <a:cubicBezTo>
                    <a:pt x="1165578" y="1390746"/>
                    <a:pt x="1157508" y="1398816"/>
                    <a:pt x="1147553" y="1398816"/>
                  </a:cubicBezTo>
                  <a:cubicBezTo>
                    <a:pt x="1137599" y="1398816"/>
                    <a:pt x="1129529" y="1390746"/>
                    <a:pt x="1129529" y="1380791"/>
                  </a:cubicBezTo>
                  <a:cubicBezTo>
                    <a:pt x="1129529" y="1370836"/>
                    <a:pt x="1137599" y="1362767"/>
                    <a:pt x="1147553" y="1362767"/>
                  </a:cubicBezTo>
                  <a:close/>
                  <a:moveTo>
                    <a:pt x="3646937" y="1356759"/>
                  </a:moveTo>
                  <a:cubicBezTo>
                    <a:pt x="3656892" y="1356759"/>
                    <a:pt x="3664962" y="1364829"/>
                    <a:pt x="3664962" y="1374783"/>
                  </a:cubicBezTo>
                  <a:cubicBezTo>
                    <a:pt x="3664962" y="1384738"/>
                    <a:pt x="3656892" y="1392808"/>
                    <a:pt x="3646937" y="1392808"/>
                  </a:cubicBezTo>
                  <a:cubicBezTo>
                    <a:pt x="3636982" y="1392808"/>
                    <a:pt x="3628912" y="1384738"/>
                    <a:pt x="3628912" y="1374783"/>
                  </a:cubicBezTo>
                  <a:cubicBezTo>
                    <a:pt x="3628912" y="1364829"/>
                    <a:pt x="3636982" y="1356759"/>
                    <a:pt x="3646937" y="1356759"/>
                  </a:cubicBezTo>
                  <a:close/>
                  <a:moveTo>
                    <a:pt x="1946636" y="1356759"/>
                  </a:moveTo>
                  <a:cubicBezTo>
                    <a:pt x="1956590" y="1356759"/>
                    <a:pt x="1964660" y="1364829"/>
                    <a:pt x="1964660" y="1374783"/>
                  </a:cubicBezTo>
                  <a:cubicBezTo>
                    <a:pt x="1964660" y="1384738"/>
                    <a:pt x="1956590" y="1392808"/>
                    <a:pt x="1946636" y="1392808"/>
                  </a:cubicBezTo>
                  <a:cubicBezTo>
                    <a:pt x="1936681" y="1392808"/>
                    <a:pt x="1928611" y="1384738"/>
                    <a:pt x="1928611" y="1374783"/>
                  </a:cubicBezTo>
                  <a:cubicBezTo>
                    <a:pt x="1928611" y="1364829"/>
                    <a:pt x="1936681" y="1356759"/>
                    <a:pt x="1946636" y="1356759"/>
                  </a:cubicBezTo>
                  <a:close/>
                  <a:moveTo>
                    <a:pt x="1658245" y="1350751"/>
                  </a:moveTo>
                  <a:cubicBezTo>
                    <a:pt x="1668200" y="1350751"/>
                    <a:pt x="1676270" y="1358821"/>
                    <a:pt x="1676270" y="1368775"/>
                  </a:cubicBezTo>
                  <a:cubicBezTo>
                    <a:pt x="1676270" y="1378730"/>
                    <a:pt x="1668200" y="1386800"/>
                    <a:pt x="1658245" y="1386800"/>
                  </a:cubicBezTo>
                  <a:cubicBezTo>
                    <a:pt x="1648291" y="1386800"/>
                    <a:pt x="1640221" y="1378730"/>
                    <a:pt x="1640221" y="1368775"/>
                  </a:cubicBezTo>
                  <a:cubicBezTo>
                    <a:pt x="1640221" y="1358821"/>
                    <a:pt x="1648291" y="1350751"/>
                    <a:pt x="1658245" y="1350751"/>
                  </a:cubicBezTo>
                  <a:close/>
                  <a:moveTo>
                    <a:pt x="3929320" y="1344743"/>
                  </a:moveTo>
                  <a:cubicBezTo>
                    <a:pt x="3939275" y="1344743"/>
                    <a:pt x="3947345" y="1352813"/>
                    <a:pt x="3947345" y="1362767"/>
                  </a:cubicBezTo>
                  <a:cubicBezTo>
                    <a:pt x="3947345" y="1372722"/>
                    <a:pt x="3939275" y="1380792"/>
                    <a:pt x="3929320" y="1380792"/>
                  </a:cubicBezTo>
                  <a:cubicBezTo>
                    <a:pt x="3919366" y="1380792"/>
                    <a:pt x="3911296" y="1372722"/>
                    <a:pt x="3911296" y="1362767"/>
                  </a:cubicBezTo>
                  <a:cubicBezTo>
                    <a:pt x="3911296" y="1352813"/>
                    <a:pt x="3919366" y="1344743"/>
                    <a:pt x="3929320" y="1344743"/>
                  </a:cubicBezTo>
                  <a:close/>
                  <a:moveTo>
                    <a:pt x="3088181" y="1344743"/>
                  </a:moveTo>
                  <a:cubicBezTo>
                    <a:pt x="3098136" y="1344743"/>
                    <a:pt x="3106206" y="1352813"/>
                    <a:pt x="3106206" y="1362767"/>
                  </a:cubicBezTo>
                  <a:cubicBezTo>
                    <a:pt x="3106206" y="1372722"/>
                    <a:pt x="3098136" y="1380792"/>
                    <a:pt x="3088181" y="1380792"/>
                  </a:cubicBezTo>
                  <a:cubicBezTo>
                    <a:pt x="3078227" y="1380792"/>
                    <a:pt x="3070157" y="1372722"/>
                    <a:pt x="3070157" y="1362767"/>
                  </a:cubicBezTo>
                  <a:cubicBezTo>
                    <a:pt x="3070157" y="1352813"/>
                    <a:pt x="3078227" y="1344743"/>
                    <a:pt x="3088181" y="1344743"/>
                  </a:cubicBezTo>
                  <a:close/>
                  <a:moveTo>
                    <a:pt x="853154" y="1344743"/>
                  </a:moveTo>
                  <a:cubicBezTo>
                    <a:pt x="863109" y="1344743"/>
                    <a:pt x="871179" y="1352813"/>
                    <a:pt x="871179" y="1362767"/>
                  </a:cubicBezTo>
                  <a:cubicBezTo>
                    <a:pt x="871179" y="1372722"/>
                    <a:pt x="863109" y="1380792"/>
                    <a:pt x="853154" y="1380792"/>
                  </a:cubicBezTo>
                  <a:cubicBezTo>
                    <a:pt x="843200" y="1380792"/>
                    <a:pt x="835130" y="1372722"/>
                    <a:pt x="835130" y="1362767"/>
                  </a:cubicBezTo>
                  <a:cubicBezTo>
                    <a:pt x="835130" y="1352813"/>
                    <a:pt x="843200" y="1344743"/>
                    <a:pt x="853154" y="1344743"/>
                  </a:cubicBezTo>
                  <a:close/>
                  <a:moveTo>
                    <a:pt x="4283800" y="1326718"/>
                  </a:moveTo>
                  <a:cubicBezTo>
                    <a:pt x="4293755" y="1326718"/>
                    <a:pt x="4301825" y="1334788"/>
                    <a:pt x="4301825" y="1344742"/>
                  </a:cubicBezTo>
                  <a:cubicBezTo>
                    <a:pt x="4301825" y="1354697"/>
                    <a:pt x="4293755" y="1362767"/>
                    <a:pt x="4283800" y="1362767"/>
                  </a:cubicBezTo>
                  <a:cubicBezTo>
                    <a:pt x="4273846" y="1362767"/>
                    <a:pt x="4265776" y="1354697"/>
                    <a:pt x="4265776" y="1344742"/>
                  </a:cubicBezTo>
                  <a:cubicBezTo>
                    <a:pt x="4265776" y="1334788"/>
                    <a:pt x="4273846" y="1326718"/>
                    <a:pt x="4283800" y="1326718"/>
                  </a:cubicBezTo>
                  <a:close/>
                  <a:moveTo>
                    <a:pt x="3815165" y="1326718"/>
                  </a:moveTo>
                  <a:cubicBezTo>
                    <a:pt x="3825120" y="1326718"/>
                    <a:pt x="3833190" y="1334788"/>
                    <a:pt x="3833190" y="1344742"/>
                  </a:cubicBezTo>
                  <a:cubicBezTo>
                    <a:pt x="3833190" y="1354697"/>
                    <a:pt x="3825120" y="1362767"/>
                    <a:pt x="3815165" y="1362767"/>
                  </a:cubicBezTo>
                  <a:cubicBezTo>
                    <a:pt x="3805210" y="1362767"/>
                    <a:pt x="3797141" y="1354697"/>
                    <a:pt x="3797141" y="1344742"/>
                  </a:cubicBezTo>
                  <a:cubicBezTo>
                    <a:pt x="3797141" y="1334788"/>
                    <a:pt x="3805210" y="1326718"/>
                    <a:pt x="3815165" y="1326718"/>
                  </a:cubicBezTo>
                  <a:close/>
                  <a:moveTo>
                    <a:pt x="2980034" y="1326718"/>
                  </a:moveTo>
                  <a:cubicBezTo>
                    <a:pt x="2989989" y="1326718"/>
                    <a:pt x="2998059" y="1334788"/>
                    <a:pt x="2998059" y="1344742"/>
                  </a:cubicBezTo>
                  <a:cubicBezTo>
                    <a:pt x="2998059" y="1354697"/>
                    <a:pt x="2989989" y="1362767"/>
                    <a:pt x="2980034" y="1362767"/>
                  </a:cubicBezTo>
                  <a:cubicBezTo>
                    <a:pt x="2970079" y="1362767"/>
                    <a:pt x="2962010" y="1354697"/>
                    <a:pt x="2962010" y="1344742"/>
                  </a:cubicBezTo>
                  <a:cubicBezTo>
                    <a:pt x="2962010" y="1334788"/>
                    <a:pt x="2970079" y="1326718"/>
                    <a:pt x="2980034" y="1326718"/>
                  </a:cubicBezTo>
                  <a:close/>
                  <a:moveTo>
                    <a:pt x="594806" y="1326718"/>
                  </a:moveTo>
                  <a:cubicBezTo>
                    <a:pt x="604760" y="1326718"/>
                    <a:pt x="612830" y="1334788"/>
                    <a:pt x="612830" y="1344742"/>
                  </a:cubicBezTo>
                  <a:cubicBezTo>
                    <a:pt x="612830" y="1354697"/>
                    <a:pt x="604760" y="1362767"/>
                    <a:pt x="594806" y="1362767"/>
                  </a:cubicBezTo>
                  <a:cubicBezTo>
                    <a:pt x="584851" y="1362767"/>
                    <a:pt x="576781" y="1354697"/>
                    <a:pt x="576781" y="1344742"/>
                  </a:cubicBezTo>
                  <a:cubicBezTo>
                    <a:pt x="576781" y="1334788"/>
                    <a:pt x="584851" y="1326718"/>
                    <a:pt x="594806" y="1326718"/>
                  </a:cubicBezTo>
                  <a:close/>
                  <a:moveTo>
                    <a:pt x="4836548" y="1314702"/>
                  </a:moveTo>
                  <a:cubicBezTo>
                    <a:pt x="4846503" y="1314702"/>
                    <a:pt x="4854573" y="1322772"/>
                    <a:pt x="4854573" y="1332726"/>
                  </a:cubicBezTo>
                  <a:cubicBezTo>
                    <a:pt x="4854573" y="1342681"/>
                    <a:pt x="4846503" y="1350751"/>
                    <a:pt x="4836548" y="1350751"/>
                  </a:cubicBezTo>
                  <a:cubicBezTo>
                    <a:pt x="4826593" y="1350751"/>
                    <a:pt x="4818524" y="1342681"/>
                    <a:pt x="4818524" y="1332726"/>
                  </a:cubicBezTo>
                  <a:cubicBezTo>
                    <a:pt x="4818524" y="1322772"/>
                    <a:pt x="4826593" y="1314702"/>
                    <a:pt x="4836548" y="1314702"/>
                  </a:cubicBezTo>
                  <a:close/>
                  <a:moveTo>
                    <a:pt x="4980743" y="1308694"/>
                  </a:moveTo>
                  <a:cubicBezTo>
                    <a:pt x="4990698" y="1308694"/>
                    <a:pt x="4998768" y="1316764"/>
                    <a:pt x="4998768" y="1326719"/>
                  </a:cubicBezTo>
                  <a:cubicBezTo>
                    <a:pt x="4998768" y="1336673"/>
                    <a:pt x="4990698" y="1344743"/>
                    <a:pt x="4980743" y="1344743"/>
                  </a:cubicBezTo>
                  <a:cubicBezTo>
                    <a:pt x="4970789" y="1344743"/>
                    <a:pt x="4962719" y="1336673"/>
                    <a:pt x="4962719" y="1326719"/>
                  </a:cubicBezTo>
                  <a:cubicBezTo>
                    <a:pt x="4962719" y="1316764"/>
                    <a:pt x="4970789" y="1308694"/>
                    <a:pt x="4980743" y="1308694"/>
                  </a:cubicBezTo>
                  <a:close/>
                  <a:moveTo>
                    <a:pt x="2871888" y="1302686"/>
                  </a:moveTo>
                  <a:cubicBezTo>
                    <a:pt x="2881843" y="1302686"/>
                    <a:pt x="2889913" y="1310755"/>
                    <a:pt x="2889913" y="1320710"/>
                  </a:cubicBezTo>
                  <a:cubicBezTo>
                    <a:pt x="2889913" y="1330665"/>
                    <a:pt x="2881843" y="1338735"/>
                    <a:pt x="2871888" y="1338735"/>
                  </a:cubicBezTo>
                  <a:cubicBezTo>
                    <a:pt x="2861934" y="1338735"/>
                    <a:pt x="2853864" y="1330665"/>
                    <a:pt x="2853864" y="1320710"/>
                  </a:cubicBezTo>
                  <a:cubicBezTo>
                    <a:pt x="2853864" y="1310755"/>
                    <a:pt x="2861934" y="1302686"/>
                    <a:pt x="2871888" y="1302686"/>
                  </a:cubicBezTo>
                  <a:close/>
                  <a:moveTo>
                    <a:pt x="2102847" y="1302686"/>
                  </a:moveTo>
                  <a:cubicBezTo>
                    <a:pt x="2112802" y="1302686"/>
                    <a:pt x="2120872" y="1310755"/>
                    <a:pt x="2120872" y="1320710"/>
                  </a:cubicBezTo>
                  <a:cubicBezTo>
                    <a:pt x="2120872" y="1330665"/>
                    <a:pt x="2112802" y="1338735"/>
                    <a:pt x="2102847" y="1338735"/>
                  </a:cubicBezTo>
                  <a:cubicBezTo>
                    <a:pt x="2092893" y="1338735"/>
                    <a:pt x="2084823" y="1330665"/>
                    <a:pt x="2084823" y="1320710"/>
                  </a:cubicBezTo>
                  <a:cubicBezTo>
                    <a:pt x="2084823" y="1310755"/>
                    <a:pt x="2092893" y="1302686"/>
                    <a:pt x="2102847" y="1302686"/>
                  </a:cubicBezTo>
                  <a:close/>
                  <a:moveTo>
                    <a:pt x="1273724" y="1302686"/>
                  </a:moveTo>
                  <a:cubicBezTo>
                    <a:pt x="1283679" y="1302686"/>
                    <a:pt x="1291749" y="1310755"/>
                    <a:pt x="1291749" y="1320710"/>
                  </a:cubicBezTo>
                  <a:cubicBezTo>
                    <a:pt x="1291749" y="1330665"/>
                    <a:pt x="1283679" y="1338735"/>
                    <a:pt x="1273724" y="1338735"/>
                  </a:cubicBezTo>
                  <a:cubicBezTo>
                    <a:pt x="1263770" y="1338735"/>
                    <a:pt x="1255700" y="1330665"/>
                    <a:pt x="1255700" y="1320710"/>
                  </a:cubicBezTo>
                  <a:cubicBezTo>
                    <a:pt x="1255700" y="1310755"/>
                    <a:pt x="1263770" y="1302686"/>
                    <a:pt x="1273724" y="1302686"/>
                  </a:cubicBezTo>
                  <a:close/>
                  <a:moveTo>
                    <a:pt x="1033398" y="1302686"/>
                  </a:moveTo>
                  <a:cubicBezTo>
                    <a:pt x="1043353" y="1302686"/>
                    <a:pt x="1051423" y="1310755"/>
                    <a:pt x="1051423" y="1320710"/>
                  </a:cubicBezTo>
                  <a:cubicBezTo>
                    <a:pt x="1051423" y="1330665"/>
                    <a:pt x="1043353" y="1338735"/>
                    <a:pt x="1033398" y="1338735"/>
                  </a:cubicBezTo>
                  <a:cubicBezTo>
                    <a:pt x="1023444" y="1338735"/>
                    <a:pt x="1015374" y="1330665"/>
                    <a:pt x="1015374" y="1320710"/>
                  </a:cubicBezTo>
                  <a:cubicBezTo>
                    <a:pt x="1015374" y="1310755"/>
                    <a:pt x="1023444" y="1302686"/>
                    <a:pt x="1033398" y="1302686"/>
                  </a:cubicBezTo>
                  <a:close/>
                  <a:moveTo>
                    <a:pt x="4548158" y="1296678"/>
                  </a:moveTo>
                  <a:cubicBezTo>
                    <a:pt x="4558113" y="1296678"/>
                    <a:pt x="4566183" y="1304748"/>
                    <a:pt x="4566183" y="1314702"/>
                  </a:cubicBezTo>
                  <a:cubicBezTo>
                    <a:pt x="4566183" y="1324657"/>
                    <a:pt x="4558113" y="1332727"/>
                    <a:pt x="4548158" y="1332727"/>
                  </a:cubicBezTo>
                  <a:cubicBezTo>
                    <a:pt x="4538203" y="1332727"/>
                    <a:pt x="4530133" y="1324657"/>
                    <a:pt x="4530133" y="1314702"/>
                  </a:cubicBezTo>
                  <a:cubicBezTo>
                    <a:pt x="4530133" y="1304748"/>
                    <a:pt x="4538203" y="1296678"/>
                    <a:pt x="4548158" y="1296678"/>
                  </a:cubicBezTo>
                  <a:close/>
                  <a:moveTo>
                    <a:pt x="3520767" y="1290670"/>
                  </a:moveTo>
                  <a:cubicBezTo>
                    <a:pt x="3530722" y="1290670"/>
                    <a:pt x="3538792" y="1298740"/>
                    <a:pt x="3538792" y="1308694"/>
                  </a:cubicBezTo>
                  <a:cubicBezTo>
                    <a:pt x="3538792" y="1318649"/>
                    <a:pt x="3530722" y="1326719"/>
                    <a:pt x="3520767" y="1326719"/>
                  </a:cubicBezTo>
                  <a:cubicBezTo>
                    <a:pt x="3510812" y="1326719"/>
                    <a:pt x="3502743" y="1318649"/>
                    <a:pt x="3502743" y="1308694"/>
                  </a:cubicBezTo>
                  <a:cubicBezTo>
                    <a:pt x="3502743" y="1298740"/>
                    <a:pt x="3510812" y="1290670"/>
                    <a:pt x="3520767" y="1290670"/>
                  </a:cubicBezTo>
                  <a:close/>
                  <a:moveTo>
                    <a:pt x="3244392" y="1290670"/>
                  </a:moveTo>
                  <a:cubicBezTo>
                    <a:pt x="3254347" y="1290670"/>
                    <a:pt x="3262417" y="1298740"/>
                    <a:pt x="3262417" y="1308694"/>
                  </a:cubicBezTo>
                  <a:cubicBezTo>
                    <a:pt x="3262417" y="1318649"/>
                    <a:pt x="3254347" y="1326719"/>
                    <a:pt x="3244392" y="1326719"/>
                  </a:cubicBezTo>
                  <a:cubicBezTo>
                    <a:pt x="3234437" y="1326719"/>
                    <a:pt x="3226368" y="1318649"/>
                    <a:pt x="3226368" y="1308694"/>
                  </a:cubicBezTo>
                  <a:cubicBezTo>
                    <a:pt x="3226368" y="1298740"/>
                    <a:pt x="3234437" y="1290670"/>
                    <a:pt x="3244392" y="1290670"/>
                  </a:cubicBezTo>
                  <a:close/>
                  <a:moveTo>
                    <a:pt x="757024" y="1290670"/>
                  </a:moveTo>
                  <a:cubicBezTo>
                    <a:pt x="766979" y="1290670"/>
                    <a:pt x="775049" y="1298740"/>
                    <a:pt x="775049" y="1308694"/>
                  </a:cubicBezTo>
                  <a:cubicBezTo>
                    <a:pt x="775049" y="1318649"/>
                    <a:pt x="766979" y="1326719"/>
                    <a:pt x="757024" y="1326719"/>
                  </a:cubicBezTo>
                  <a:cubicBezTo>
                    <a:pt x="747070" y="1326719"/>
                    <a:pt x="739000" y="1318649"/>
                    <a:pt x="739000" y="1308694"/>
                  </a:cubicBezTo>
                  <a:cubicBezTo>
                    <a:pt x="739000" y="1298740"/>
                    <a:pt x="747070" y="1290670"/>
                    <a:pt x="757024" y="1290670"/>
                  </a:cubicBezTo>
                  <a:close/>
                  <a:moveTo>
                    <a:pt x="4427995" y="1284661"/>
                  </a:moveTo>
                  <a:cubicBezTo>
                    <a:pt x="4437950" y="1284661"/>
                    <a:pt x="4446020" y="1292731"/>
                    <a:pt x="4446020" y="1302685"/>
                  </a:cubicBezTo>
                  <a:cubicBezTo>
                    <a:pt x="4446020" y="1312640"/>
                    <a:pt x="4437950" y="1320710"/>
                    <a:pt x="4427995" y="1320710"/>
                  </a:cubicBezTo>
                  <a:cubicBezTo>
                    <a:pt x="4418040" y="1320710"/>
                    <a:pt x="4409970" y="1312640"/>
                    <a:pt x="4409970" y="1302685"/>
                  </a:cubicBezTo>
                  <a:cubicBezTo>
                    <a:pt x="4409970" y="1292731"/>
                    <a:pt x="4418040" y="1284661"/>
                    <a:pt x="4427995" y="1284661"/>
                  </a:cubicBezTo>
                  <a:close/>
                  <a:moveTo>
                    <a:pt x="2763741" y="1278653"/>
                  </a:moveTo>
                  <a:cubicBezTo>
                    <a:pt x="2773696" y="1278653"/>
                    <a:pt x="2781766" y="1286723"/>
                    <a:pt x="2781766" y="1296678"/>
                  </a:cubicBezTo>
                  <a:cubicBezTo>
                    <a:pt x="2781766" y="1306632"/>
                    <a:pt x="2773696" y="1314702"/>
                    <a:pt x="2763741" y="1314702"/>
                  </a:cubicBezTo>
                  <a:cubicBezTo>
                    <a:pt x="2753786" y="1314702"/>
                    <a:pt x="2745717" y="1306632"/>
                    <a:pt x="2745717" y="1296678"/>
                  </a:cubicBezTo>
                  <a:cubicBezTo>
                    <a:pt x="2745717" y="1286723"/>
                    <a:pt x="2753786" y="1278653"/>
                    <a:pt x="2763741" y="1278653"/>
                  </a:cubicBezTo>
                  <a:close/>
                  <a:moveTo>
                    <a:pt x="2217002" y="1272645"/>
                  </a:moveTo>
                  <a:cubicBezTo>
                    <a:pt x="2226956" y="1272645"/>
                    <a:pt x="2235026" y="1280714"/>
                    <a:pt x="2235026" y="1290669"/>
                  </a:cubicBezTo>
                  <a:cubicBezTo>
                    <a:pt x="2235026" y="1300624"/>
                    <a:pt x="2226956" y="1308694"/>
                    <a:pt x="2217002" y="1308694"/>
                  </a:cubicBezTo>
                  <a:cubicBezTo>
                    <a:pt x="2207047" y="1308694"/>
                    <a:pt x="2198977" y="1300624"/>
                    <a:pt x="2198977" y="1290669"/>
                  </a:cubicBezTo>
                  <a:cubicBezTo>
                    <a:pt x="2198977" y="1280714"/>
                    <a:pt x="2207047" y="1272645"/>
                    <a:pt x="2217002" y="1272645"/>
                  </a:cubicBezTo>
                  <a:close/>
                  <a:moveTo>
                    <a:pt x="1874537" y="1272645"/>
                  </a:moveTo>
                  <a:cubicBezTo>
                    <a:pt x="1884492" y="1272645"/>
                    <a:pt x="1892562" y="1280714"/>
                    <a:pt x="1892562" y="1290669"/>
                  </a:cubicBezTo>
                  <a:cubicBezTo>
                    <a:pt x="1892562" y="1300624"/>
                    <a:pt x="1884492" y="1308694"/>
                    <a:pt x="1874537" y="1308694"/>
                  </a:cubicBezTo>
                  <a:cubicBezTo>
                    <a:pt x="1864583" y="1308694"/>
                    <a:pt x="1856513" y="1300624"/>
                    <a:pt x="1856513" y="1290669"/>
                  </a:cubicBezTo>
                  <a:cubicBezTo>
                    <a:pt x="1856513" y="1280714"/>
                    <a:pt x="1864583" y="1272645"/>
                    <a:pt x="1874537" y="1272645"/>
                  </a:cubicBezTo>
                  <a:close/>
                  <a:moveTo>
                    <a:pt x="3376571" y="1266637"/>
                  </a:moveTo>
                  <a:cubicBezTo>
                    <a:pt x="3386526" y="1266637"/>
                    <a:pt x="3394596" y="1274707"/>
                    <a:pt x="3394596" y="1284661"/>
                  </a:cubicBezTo>
                  <a:cubicBezTo>
                    <a:pt x="3394596" y="1294616"/>
                    <a:pt x="3386526" y="1302686"/>
                    <a:pt x="3376571" y="1302686"/>
                  </a:cubicBezTo>
                  <a:cubicBezTo>
                    <a:pt x="3366616" y="1302686"/>
                    <a:pt x="3358546" y="1294616"/>
                    <a:pt x="3358546" y="1284661"/>
                  </a:cubicBezTo>
                  <a:cubicBezTo>
                    <a:pt x="3358546" y="1274707"/>
                    <a:pt x="3366616" y="1266637"/>
                    <a:pt x="3376571" y="1266637"/>
                  </a:cubicBezTo>
                  <a:close/>
                  <a:moveTo>
                    <a:pt x="2643579" y="1266637"/>
                  </a:moveTo>
                  <a:cubicBezTo>
                    <a:pt x="2653534" y="1266637"/>
                    <a:pt x="2661604" y="1274707"/>
                    <a:pt x="2661604" y="1284661"/>
                  </a:cubicBezTo>
                  <a:cubicBezTo>
                    <a:pt x="2661604" y="1294616"/>
                    <a:pt x="2653534" y="1302686"/>
                    <a:pt x="2643579" y="1302686"/>
                  </a:cubicBezTo>
                  <a:cubicBezTo>
                    <a:pt x="2633624" y="1302686"/>
                    <a:pt x="2625555" y="1294616"/>
                    <a:pt x="2625555" y="1284661"/>
                  </a:cubicBezTo>
                  <a:cubicBezTo>
                    <a:pt x="2625555" y="1274707"/>
                    <a:pt x="2633624" y="1266637"/>
                    <a:pt x="2643579" y="1266637"/>
                  </a:cubicBezTo>
                  <a:close/>
                  <a:moveTo>
                    <a:pt x="1754375" y="1266637"/>
                  </a:moveTo>
                  <a:cubicBezTo>
                    <a:pt x="1764330" y="1266637"/>
                    <a:pt x="1772400" y="1274707"/>
                    <a:pt x="1772400" y="1284661"/>
                  </a:cubicBezTo>
                  <a:cubicBezTo>
                    <a:pt x="1772400" y="1294616"/>
                    <a:pt x="1764330" y="1302686"/>
                    <a:pt x="1754375" y="1302686"/>
                  </a:cubicBezTo>
                  <a:cubicBezTo>
                    <a:pt x="1744421" y="1302686"/>
                    <a:pt x="1736351" y="1294616"/>
                    <a:pt x="1736351" y="1284661"/>
                  </a:cubicBezTo>
                  <a:cubicBezTo>
                    <a:pt x="1736351" y="1274707"/>
                    <a:pt x="1744421" y="1266637"/>
                    <a:pt x="1754375" y="1266637"/>
                  </a:cubicBezTo>
                  <a:close/>
                  <a:moveTo>
                    <a:pt x="4740418" y="1260629"/>
                  </a:moveTo>
                  <a:cubicBezTo>
                    <a:pt x="4750373" y="1260629"/>
                    <a:pt x="4758443" y="1268699"/>
                    <a:pt x="4758443" y="1278653"/>
                  </a:cubicBezTo>
                  <a:cubicBezTo>
                    <a:pt x="4758443" y="1288608"/>
                    <a:pt x="4750373" y="1296678"/>
                    <a:pt x="4740418" y="1296678"/>
                  </a:cubicBezTo>
                  <a:cubicBezTo>
                    <a:pt x="4730464" y="1296678"/>
                    <a:pt x="4722394" y="1288608"/>
                    <a:pt x="4722394" y="1278653"/>
                  </a:cubicBezTo>
                  <a:cubicBezTo>
                    <a:pt x="4722394" y="1268699"/>
                    <a:pt x="4730464" y="1260629"/>
                    <a:pt x="4740418" y="1260629"/>
                  </a:cubicBezTo>
                  <a:close/>
                  <a:moveTo>
                    <a:pt x="4103556" y="1260629"/>
                  </a:moveTo>
                  <a:cubicBezTo>
                    <a:pt x="4113511" y="1260629"/>
                    <a:pt x="4121581" y="1268699"/>
                    <a:pt x="4121581" y="1278653"/>
                  </a:cubicBezTo>
                  <a:cubicBezTo>
                    <a:pt x="4121581" y="1288608"/>
                    <a:pt x="4113511" y="1296678"/>
                    <a:pt x="4103556" y="1296678"/>
                  </a:cubicBezTo>
                  <a:cubicBezTo>
                    <a:pt x="4093602" y="1296678"/>
                    <a:pt x="4085532" y="1288608"/>
                    <a:pt x="4085532" y="1278653"/>
                  </a:cubicBezTo>
                  <a:cubicBezTo>
                    <a:pt x="4085532" y="1268699"/>
                    <a:pt x="4093602" y="1260629"/>
                    <a:pt x="4103556" y="1260629"/>
                  </a:cubicBezTo>
                  <a:close/>
                  <a:moveTo>
                    <a:pt x="3725043" y="1260629"/>
                  </a:moveTo>
                  <a:cubicBezTo>
                    <a:pt x="3734998" y="1260629"/>
                    <a:pt x="3743068" y="1268699"/>
                    <a:pt x="3743068" y="1278653"/>
                  </a:cubicBezTo>
                  <a:cubicBezTo>
                    <a:pt x="3743068" y="1288608"/>
                    <a:pt x="3734998" y="1296678"/>
                    <a:pt x="3725043" y="1296678"/>
                  </a:cubicBezTo>
                  <a:cubicBezTo>
                    <a:pt x="3715088" y="1296678"/>
                    <a:pt x="3707019" y="1288608"/>
                    <a:pt x="3707019" y="1278653"/>
                  </a:cubicBezTo>
                  <a:cubicBezTo>
                    <a:pt x="3707019" y="1268699"/>
                    <a:pt x="3715088" y="1260629"/>
                    <a:pt x="3725043" y="1260629"/>
                  </a:cubicBezTo>
                  <a:close/>
                  <a:moveTo>
                    <a:pt x="1405904" y="1260629"/>
                  </a:moveTo>
                  <a:cubicBezTo>
                    <a:pt x="1415858" y="1260629"/>
                    <a:pt x="1423928" y="1268699"/>
                    <a:pt x="1423928" y="1278653"/>
                  </a:cubicBezTo>
                  <a:cubicBezTo>
                    <a:pt x="1423928" y="1288608"/>
                    <a:pt x="1415858" y="1296678"/>
                    <a:pt x="1405904" y="1296678"/>
                  </a:cubicBezTo>
                  <a:cubicBezTo>
                    <a:pt x="1395949" y="1296678"/>
                    <a:pt x="1387879" y="1288608"/>
                    <a:pt x="1387879" y="1278653"/>
                  </a:cubicBezTo>
                  <a:cubicBezTo>
                    <a:pt x="1387879" y="1268699"/>
                    <a:pt x="1395949" y="1260629"/>
                    <a:pt x="1405904" y="1260629"/>
                  </a:cubicBezTo>
                  <a:close/>
                  <a:moveTo>
                    <a:pt x="492666" y="1260629"/>
                  </a:moveTo>
                  <a:cubicBezTo>
                    <a:pt x="502621" y="1260629"/>
                    <a:pt x="510691" y="1268699"/>
                    <a:pt x="510691" y="1278653"/>
                  </a:cubicBezTo>
                  <a:cubicBezTo>
                    <a:pt x="510691" y="1288608"/>
                    <a:pt x="502621" y="1296678"/>
                    <a:pt x="492666" y="1296678"/>
                  </a:cubicBezTo>
                  <a:cubicBezTo>
                    <a:pt x="482712" y="1296678"/>
                    <a:pt x="474642" y="1288608"/>
                    <a:pt x="474642" y="1278653"/>
                  </a:cubicBezTo>
                  <a:cubicBezTo>
                    <a:pt x="474642" y="1268699"/>
                    <a:pt x="482712" y="1260629"/>
                    <a:pt x="492666" y="1260629"/>
                  </a:cubicBezTo>
                  <a:close/>
                  <a:moveTo>
                    <a:pt x="4229726" y="1248613"/>
                  </a:moveTo>
                  <a:cubicBezTo>
                    <a:pt x="4239681" y="1248613"/>
                    <a:pt x="4247751" y="1256683"/>
                    <a:pt x="4247751" y="1266638"/>
                  </a:cubicBezTo>
                  <a:cubicBezTo>
                    <a:pt x="4247751" y="1276592"/>
                    <a:pt x="4239681" y="1284662"/>
                    <a:pt x="4229726" y="1284662"/>
                  </a:cubicBezTo>
                  <a:cubicBezTo>
                    <a:pt x="4219772" y="1284662"/>
                    <a:pt x="4211702" y="1276592"/>
                    <a:pt x="4211702" y="1266638"/>
                  </a:cubicBezTo>
                  <a:cubicBezTo>
                    <a:pt x="4211702" y="1256683"/>
                    <a:pt x="4219772" y="1248613"/>
                    <a:pt x="4229726" y="1248613"/>
                  </a:cubicBezTo>
                  <a:close/>
                  <a:moveTo>
                    <a:pt x="2439302" y="1248613"/>
                  </a:moveTo>
                  <a:cubicBezTo>
                    <a:pt x="2449257" y="1248613"/>
                    <a:pt x="2457327" y="1256683"/>
                    <a:pt x="2457327" y="1266638"/>
                  </a:cubicBezTo>
                  <a:cubicBezTo>
                    <a:pt x="2457327" y="1276592"/>
                    <a:pt x="2449257" y="1284662"/>
                    <a:pt x="2439302" y="1284662"/>
                  </a:cubicBezTo>
                  <a:cubicBezTo>
                    <a:pt x="2429347" y="1284662"/>
                    <a:pt x="2421278" y="1276592"/>
                    <a:pt x="2421278" y="1266638"/>
                  </a:cubicBezTo>
                  <a:cubicBezTo>
                    <a:pt x="2421278" y="1256683"/>
                    <a:pt x="2429347" y="1248613"/>
                    <a:pt x="2439302" y="1248613"/>
                  </a:cubicBezTo>
                  <a:close/>
                  <a:moveTo>
                    <a:pt x="2337165" y="1248613"/>
                  </a:moveTo>
                  <a:cubicBezTo>
                    <a:pt x="2347119" y="1248613"/>
                    <a:pt x="2355189" y="1256683"/>
                    <a:pt x="2355189" y="1266638"/>
                  </a:cubicBezTo>
                  <a:cubicBezTo>
                    <a:pt x="2355189" y="1276592"/>
                    <a:pt x="2347119" y="1284662"/>
                    <a:pt x="2337165" y="1284662"/>
                  </a:cubicBezTo>
                  <a:cubicBezTo>
                    <a:pt x="2327210" y="1284662"/>
                    <a:pt x="2319140" y="1276592"/>
                    <a:pt x="2319140" y="1266638"/>
                  </a:cubicBezTo>
                  <a:cubicBezTo>
                    <a:pt x="2319140" y="1256683"/>
                    <a:pt x="2327210" y="1248613"/>
                    <a:pt x="2337165" y="1248613"/>
                  </a:cubicBezTo>
                  <a:close/>
                  <a:moveTo>
                    <a:pt x="2012725" y="1248613"/>
                  </a:moveTo>
                  <a:cubicBezTo>
                    <a:pt x="2022680" y="1248613"/>
                    <a:pt x="2030750" y="1256683"/>
                    <a:pt x="2030750" y="1266638"/>
                  </a:cubicBezTo>
                  <a:cubicBezTo>
                    <a:pt x="2030750" y="1276592"/>
                    <a:pt x="2022680" y="1284662"/>
                    <a:pt x="2012725" y="1284662"/>
                  </a:cubicBezTo>
                  <a:cubicBezTo>
                    <a:pt x="2002771" y="1284662"/>
                    <a:pt x="1994701" y="1276592"/>
                    <a:pt x="1994701" y="1266638"/>
                  </a:cubicBezTo>
                  <a:cubicBezTo>
                    <a:pt x="1994701" y="1256683"/>
                    <a:pt x="2002771" y="1248613"/>
                    <a:pt x="2012725" y="1248613"/>
                  </a:cubicBezTo>
                  <a:close/>
                  <a:moveTo>
                    <a:pt x="1165578" y="1248613"/>
                  </a:moveTo>
                  <a:cubicBezTo>
                    <a:pt x="1175532" y="1248613"/>
                    <a:pt x="1183602" y="1256683"/>
                    <a:pt x="1183602" y="1266638"/>
                  </a:cubicBezTo>
                  <a:cubicBezTo>
                    <a:pt x="1183602" y="1276592"/>
                    <a:pt x="1175532" y="1284662"/>
                    <a:pt x="1165578" y="1284662"/>
                  </a:cubicBezTo>
                  <a:cubicBezTo>
                    <a:pt x="1155623" y="1284662"/>
                    <a:pt x="1147553" y="1276592"/>
                    <a:pt x="1147553" y="1266638"/>
                  </a:cubicBezTo>
                  <a:cubicBezTo>
                    <a:pt x="1147553" y="1256683"/>
                    <a:pt x="1155623" y="1248613"/>
                    <a:pt x="1165578" y="1248613"/>
                  </a:cubicBezTo>
                  <a:close/>
                  <a:moveTo>
                    <a:pt x="3989401" y="1242605"/>
                  </a:moveTo>
                  <a:cubicBezTo>
                    <a:pt x="3999356" y="1242605"/>
                    <a:pt x="4007426" y="1250674"/>
                    <a:pt x="4007426" y="1260629"/>
                  </a:cubicBezTo>
                  <a:cubicBezTo>
                    <a:pt x="4007426" y="1270584"/>
                    <a:pt x="3999356" y="1278654"/>
                    <a:pt x="3989401" y="1278654"/>
                  </a:cubicBezTo>
                  <a:cubicBezTo>
                    <a:pt x="3979447" y="1278654"/>
                    <a:pt x="3971377" y="1270584"/>
                    <a:pt x="3971377" y="1260629"/>
                  </a:cubicBezTo>
                  <a:cubicBezTo>
                    <a:pt x="3971377" y="1250674"/>
                    <a:pt x="3979447" y="1242605"/>
                    <a:pt x="3989401" y="1242605"/>
                  </a:cubicBezTo>
                  <a:close/>
                  <a:moveTo>
                    <a:pt x="1514049" y="1242605"/>
                  </a:moveTo>
                  <a:cubicBezTo>
                    <a:pt x="1524004" y="1242605"/>
                    <a:pt x="1532074" y="1250674"/>
                    <a:pt x="1532074" y="1260629"/>
                  </a:cubicBezTo>
                  <a:cubicBezTo>
                    <a:pt x="1532074" y="1270584"/>
                    <a:pt x="1524004" y="1278654"/>
                    <a:pt x="1514049" y="1278654"/>
                  </a:cubicBezTo>
                  <a:cubicBezTo>
                    <a:pt x="1504095" y="1278654"/>
                    <a:pt x="1496025" y="1270584"/>
                    <a:pt x="1496025" y="1260629"/>
                  </a:cubicBezTo>
                  <a:cubicBezTo>
                    <a:pt x="1496025" y="1250674"/>
                    <a:pt x="1504095" y="1242605"/>
                    <a:pt x="1514049" y="1242605"/>
                  </a:cubicBezTo>
                  <a:close/>
                  <a:moveTo>
                    <a:pt x="3088181" y="1230588"/>
                  </a:moveTo>
                  <a:cubicBezTo>
                    <a:pt x="3098136" y="1230588"/>
                    <a:pt x="3106206" y="1238658"/>
                    <a:pt x="3106206" y="1248612"/>
                  </a:cubicBezTo>
                  <a:cubicBezTo>
                    <a:pt x="3106206" y="1258567"/>
                    <a:pt x="3098136" y="1266637"/>
                    <a:pt x="3088181" y="1266637"/>
                  </a:cubicBezTo>
                  <a:cubicBezTo>
                    <a:pt x="3078227" y="1266637"/>
                    <a:pt x="3070157" y="1258567"/>
                    <a:pt x="3070157" y="1248612"/>
                  </a:cubicBezTo>
                  <a:cubicBezTo>
                    <a:pt x="3070157" y="1238658"/>
                    <a:pt x="3078227" y="1230588"/>
                    <a:pt x="3088181" y="1230588"/>
                  </a:cubicBezTo>
                  <a:close/>
                  <a:moveTo>
                    <a:pt x="895212" y="1230588"/>
                  </a:moveTo>
                  <a:cubicBezTo>
                    <a:pt x="905166" y="1230588"/>
                    <a:pt x="913236" y="1238658"/>
                    <a:pt x="913236" y="1248612"/>
                  </a:cubicBezTo>
                  <a:cubicBezTo>
                    <a:pt x="913236" y="1258567"/>
                    <a:pt x="905166" y="1266637"/>
                    <a:pt x="895212" y="1266637"/>
                  </a:cubicBezTo>
                  <a:cubicBezTo>
                    <a:pt x="885257" y="1266637"/>
                    <a:pt x="877187" y="1258567"/>
                    <a:pt x="877187" y="1248612"/>
                  </a:cubicBezTo>
                  <a:cubicBezTo>
                    <a:pt x="877187" y="1238658"/>
                    <a:pt x="885257" y="1230588"/>
                    <a:pt x="895212" y="1230588"/>
                  </a:cubicBezTo>
                  <a:close/>
                  <a:moveTo>
                    <a:pt x="4626263" y="1224580"/>
                  </a:moveTo>
                  <a:cubicBezTo>
                    <a:pt x="4636218" y="1224580"/>
                    <a:pt x="4644288" y="1232650"/>
                    <a:pt x="4644288" y="1242604"/>
                  </a:cubicBezTo>
                  <a:cubicBezTo>
                    <a:pt x="4644288" y="1252559"/>
                    <a:pt x="4636218" y="1260629"/>
                    <a:pt x="4626263" y="1260629"/>
                  </a:cubicBezTo>
                  <a:cubicBezTo>
                    <a:pt x="4616308" y="1260629"/>
                    <a:pt x="4608239" y="1252559"/>
                    <a:pt x="4608239" y="1242604"/>
                  </a:cubicBezTo>
                  <a:cubicBezTo>
                    <a:pt x="4608239" y="1232650"/>
                    <a:pt x="4616308" y="1224580"/>
                    <a:pt x="4626263" y="1224580"/>
                  </a:cubicBezTo>
                  <a:close/>
                  <a:moveTo>
                    <a:pt x="2547449" y="1224580"/>
                  </a:moveTo>
                  <a:cubicBezTo>
                    <a:pt x="2557404" y="1224580"/>
                    <a:pt x="2565474" y="1232650"/>
                    <a:pt x="2565474" y="1242604"/>
                  </a:cubicBezTo>
                  <a:cubicBezTo>
                    <a:pt x="2565474" y="1252559"/>
                    <a:pt x="2557404" y="1260629"/>
                    <a:pt x="2547449" y="1260629"/>
                  </a:cubicBezTo>
                  <a:cubicBezTo>
                    <a:pt x="2537495" y="1260629"/>
                    <a:pt x="2529425" y="1252559"/>
                    <a:pt x="2529425" y="1242604"/>
                  </a:cubicBezTo>
                  <a:cubicBezTo>
                    <a:pt x="2529425" y="1232650"/>
                    <a:pt x="2537495" y="1224580"/>
                    <a:pt x="2547449" y="1224580"/>
                  </a:cubicBezTo>
                  <a:close/>
                  <a:moveTo>
                    <a:pt x="1628204" y="1224580"/>
                  </a:moveTo>
                  <a:cubicBezTo>
                    <a:pt x="1638159" y="1224580"/>
                    <a:pt x="1646229" y="1232650"/>
                    <a:pt x="1646229" y="1242604"/>
                  </a:cubicBezTo>
                  <a:cubicBezTo>
                    <a:pt x="1646229" y="1252559"/>
                    <a:pt x="1638159" y="1260629"/>
                    <a:pt x="1628204" y="1260629"/>
                  </a:cubicBezTo>
                  <a:cubicBezTo>
                    <a:pt x="1618250" y="1260629"/>
                    <a:pt x="1610180" y="1252559"/>
                    <a:pt x="1610180" y="1242604"/>
                  </a:cubicBezTo>
                  <a:cubicBezTo>
                    <a:pt x="1610180" y="1232650"/>
                    <a:pt x="1618250" y="1224580"/>
                    <a:pt x="1628204" y="1224580"/>
                  </a:cubicBezTo>
                  <a:close/>
                  <a:moveTo>
                    <a:pt x="5052841" y="1212564"/>
                  </a:moveTo>
                  <a:cubicBezTo>
                    <a:pt x="5062796" y="1212564"/>
                    <a:pt x="5070866" y="1220633"/>
                    <a:pt x="5070866" y="1230588"/>
                  </a:cubicBezTo>
                  <a:cubicBezTo>
                    <a:pt x="5070866" y="1240543"/>
                    <a:pt x="5062796" y="1248613"/>
                    <a:pt x="5052841" y="1248613"/>
                  </a:cubicBezTo>
                  <a:cubicBezTo>
                    <a:pt x="5042886" y="1248613"/>
                    <a:pt x="5034817" y="1240543"/>
                    <a:pt x="5034817" y="1230588"/>
                  </a:cubicBezTo>
                  <a:cubicBezTo>
                    <a:pt x="5034817" y="1220633"/>
                    <a:pt x="5042886" y="1212564"/>
                    <a:pt x="5052841" y="1212564"/>
                  </a:cubicBezTo>
                  <a:close/>
                  <a:moveTo>
                    <a:pt x="3845206" y="1206556"/>
                  </a:moveTo>
                  <a:cubicBezTo>
                    <a:pt x="3855161" y="1206556"/>
                    <a:pt x="3863231" y="1214626"/>
                    <a:pt x="3863231" y="1224580"/>
                  </a:cubicBezTo>
                  <a:cubicBezTo>
                    <a:pt x="3863231" y="1234535"/>
                    <a:pt x="3855161" y="1242605"/>
                    <a:pt x="3845206" y="1242605"/>
                  </a:cubicBezTo>
                  <a:cubicBezTo>
                    <a:pt x="3835251" y="1242605"/>
                    <a:pt x="3827182" y="1234535"/>
                    <a:pt x="3827182" y="1224580"/>
                  </a:cubicBezTo>
                  <a:cubicBezTo>
                    <a:pt x="3827182" y="1214626"/>
                    <a:pt x="3835251" y="1206556"/>
                    <a:pt x="3845206" y="1206556"/>
                  </a:cubicBezTo>
                  <a:close/>
                  <a:moveTo>
                    <a:pt x="3604880" y="1206556"/>
                  </a:moveTo>
                  <a:cubicBezTo>
                    <a:pt x="3614835" y="1206556"/>
                    <a:pt x="3622905" y="1214626"/>
                    <a:pt x="3622905" y="1224580"/>
                  </a:cubicBezTo>
                  <a:cubicBezTo>
                    <a:pt x="3622905" y="1234535"/>
                    <a:pt x="3614835" y="1242605"/>
                    <a:pt x="3604880" y="1242605"/>
                  </a:cubicBezTo>
                  <a:cubicBezTo>
                    <a:pt x="3594925" y="1242605"/>
                    <a:pt x="3586856" y="1234535"/>
                    <a:pt x="3586856" y="1224580"/>
                  </a:cubicBezTo>
                  <a:cubicBezTo>
                    <a:pt x="3586856" y="1214626"/>
                    <a:pt x="3594925" y="1206556"/>
                    <a:pt x="3604880" y="1206556"/>
                  </a:cubicBezTo>
                  <a:close/>
                  <a:moveTo>
                    <a:pt x="600813" y="1200548"/>
                  </a:moveTo>
                  <a:cubicBezTo>
                    <a:pt x="610768" y="1200548"/>
                    <a:pt x="618838" y="1208618"/>
                    <a:pt x="618838" y="1218572"/>
                  </a:cubicBezTo>
                  <a:cubicBezTo>
                    <a:pt x="618838" y="1228527"/>
                    <a:pt x="610768" y="1236597"/>
                    <a:pt x="600813" y="1236597"/>
                  </a:cubicBezTo>
                  <a:cubicBezTo>
                    <a:pt x="590859" y="1236597"/>
                    <a:pt x="582789" y="1228527"/>
                    <a:pt x="582789" y="1218572"/>
                  </a:cubicBezTo>
                  <a:cubicBezTo>
                    <a:pt x="582789" y="1208618"/>
                    <a:pt x="590859" y="1200548"/>
                    <a:pt x="600813" y="1200548"/>
                  </a:cubicBezTo>
                  <a:close/>
                  <a:moveTo>
                    <a:pt x="2949994" y="1194539"/>
                  </a:moveTo>
                  <a:cubicBezTo>
                    <a:pt x="2959949" y="1194539"/>
                    <a:pt x="2968019" y="1202609"/>
                    <a:pt x="2968019" y="1212563"/>
                  </a:cubicBezTo>
                  <a:cubicBezTo>
                    <a:pt x="2968019" y="1222518"/>
                    <a:pt x="2959949" y="1230588"/>
                    <a:pt x="2949994" y="1230588"/>
                  </a:cubicBezTo>
                  <a:cubicBezTo>
                    <a:pt x="2940039" y="1230588"/>
                    <a:pt x="2931970" y="1222518"/>
                    <a:pt x="2931970" y="1212563"/>
                  </a:cubicBezTo>
                  <a:cubicBezTo>
                    <a:pt x="2931970" y="1202609"/>
                    <a:pt x="2940039" y="1194539"/>
                    <a:pt x="2949994" y="1194539"/>
                  </a:cubicBezTo>
                  <a:close/>
                  <a:moveTo>
                    <a:pt x="1009366" y="1194539"/>
                  </a:moveTo>
                  <a:cubicBezTo>
                    <a:pt x="1019321" y="1194539"/>
                    <a:pt x="1027391" y="1202609"/>
                    <a:pt x="1027391" y="1212563"/>
                  </a:cubicBezTo>
                  <a:cubicBezTo>
                    <a:pt x="1027391" y="1222518"/>
                    <a:pt x="1019321" y="1230588"/>
                    <a:pt x="1009366" y="1230588"/>
                  </a:cubicBezTo>
                  <a:cubicBezTo>
                    <a:pt x="999412" y="1230588"/>
                    <a:pt x="991342" y="1222518"/>
                    <a:pt x="991342" y="1212563"/>
                  </a:cubicBezTo>
                  <a:cubicBezTo>
                    <a:pt x="991342" y="1202609"/>
                    <a:pt x="999412" y="1194539"/>
                    <a:pt x="1009366" y="1194539"/>
                  </a:cubicBezTo>
                  <a:close/>
                  <a:moveTo>
                    <a:pt x="4932678" y="1188531"/>
                  </a:moveTo>
                  <a:cubicBezTo>
                    <a:pt x="4942633" y="1188531"/>
                    <a:pt x="4950703" y="1196601"/>
                    <a:pt x="4950703" y="1206556"/>
                  </a:cubicBezTo>
                  <a:cubicBezTo>
                    <a:pt x="4950703" y="1216510"/>
                    <a:pt x="4942633" y="1224580"/>
                    <a:pt x="4932678" y="1224580"/>
                  </a:cubicBezTo>
                  <a:cubicBezTo>
                    <a:pt x="4922723" y="1224580"/>
                    <a:pt x="4914654" y="1216510"/>
                    <a:pt x="4914654" y="1206556"/>
                  </a:cubicBezTo>
                  <a:cubicBezTo>
                    <a:pt x="4914654" y="1196601"/>
                    <a:pt x="4922723" y="1188531"/>
                    <a:pt x="4932678" y="1188531"/>
                  </a:cubicBezTo>
                  <a:close/>
                  <a:moveTo>
                    <a:pt x="4361905" y="1188531"/>
                  </a:moveTo>
                  <a:cubicBezTo>
                    <a:pt x="4371860" y="1188531"/>
                    <a:pt x="4379930" y="1196601"/>
                    <a:pt x="4379930" y="1206556"/>
                  </a:cubicBezTo>
                  <a:cubicBezTo>
                    <a:pt x="4379930" y="1216510"/>
                    <a:pt x="4371860" y="1224580"/>
                    <a:pt x="4361905" y="1224580"/>
                  </a:cubicBezTo>
                  <a:cubicBezTo>
                    <a:pt x="4351950" y="1224580"/>
                    <a:pt x="4343881" y="1216510"/>
                    <a:pt x="4343881" y="1206556"/>
                  </a:cubicBezTo>
                  <a:cubicBezTo>
                    <a:pt x="4343881" y="1196601"/>
                    <a:pt x="4351950" y="1188531"/>
                    <a:pt x="4361905" y="1188531"/>
                  </a:cubicBezTo>
                  <a:close/>
                  <a:moveTo>
                    <a:pt x="3220360" y="1188531"/>
                  </a:moveTo>
                  <a:cubicBezTo>
                    <a:pt x="3230315" y="1188531"/>
                    <a:pt x="3238385" y="1196601"/>
                    <a:pt x="3238385" y="1206556"/>
                  </a:cubicBezTo>
                  <a:cubicBezTo>
                    <a:pt x="3238385" y="1216510"/>
                    <a:pt x="3230315" y="1224580"/>
                    <a:pt x="3220360" y="1224580"/>
                  </a:cubicBezTo>
                  <a:cubicBezTo>
                    <a:pt x="3210405" y="1224580"/>
                    <a:pt x="3202336" y="1216510"/>
                    <a:pt x="3202336" y="1206556"/>
                  </a:cubicBezTo>
                  <a:cubicBezTo>
                    <a:pt x="3202336" y="1196601"/>
                    <a:pt x="3210405" y="1188531"/>
                    <a:pt x="3220360" y="1188531"/>
                  </a:cubicBezTo>
                  <a:close/>
                  <a:moveTo>
                    <a:pt x="708959" y="1188531"/>
                  </a:moveTo>
                  <a:cubicBezTo>
                    <a:pt x="718914" y="1188531"/>
                    <a:pt x="726984" y="1196601"/>
                    <a:pt x="726984" y="1206556"/>
                  </a:cubicBezTo>
                  <a:cubicBezTo>
                    <a:pt x="726984" y="1216510"/>
                    <a:pt x="718914" y="1224580"/>
                    <a:pt x="708959" y="1224580"/>
                  </a:cubicBezTo>
                  <a:cubicBezTo>
                    <a:pt x="699005" y="1224580"/>
                    <a:pt x="690935" y="1216510"/>
                    <a:pt x="690935" y="1206556"/>
                  </a:cubicBezTo>
                  <a:cubicBezTo>
                    <a:pt x="690935" y="1196601"/>
                    <a:pt x="699005" y="1188531"/>
                    <a:pt x="708959" y="1188531"/>
                  </a:cubicBezTo>
                  <a:close/>
                  <a:moveTo>
                    <a:pt x="4824532" y="1182523"/>
                  </a:moveTo>
                  <a:cubicBezTo>
                    <a:pt x="4834487" y="1182523"/>
                    <a:pt x="4842557" y="1190592"/>
                    <a:pt x="4842557" y="1200547"/>
                  </a:cubicBezTo>
                  <a:cubicBezTo>
                    <a:pt x="4842557" y="1210502"/>
                    <a:pt x="4834487" y="1218572"/>
                    <a:pt x="4824532" y="1218572"/>
                  </a:cubicBezTo>
                  <a:cubicBezTo>
                    <a:pt x="4814578" y="1218572"/>
                    <a:pt x="4806508" y="1210502"/>
                    <a:pt x="4806508" y="1200547"/>
                  </a:cubicBezTo>
                  <a:cubicBezTo>
                    <a:pt x="4806508" y="1190592"/>
                    <a:pt x="4814578" y="1182523"/>
                    <a:pt x="4824532" y="1182523"/>
                  </a:cubicBezTo>
                  <a:close/>
                  <a:moveTo>
                    <a:pt x="1279732" y="1170507"/>
                  </a:moveTo>
                  <a:cubicBezTo>
                    <a:pt x="1289687" y="1170507"/>
                    <a:pt x="1297757" y="1178577"/>
                    <a:pt x="1297757" y="1188531"/>
                  </a:cubicBezTo>
                  <a:cubicBezTo>
                    <a:pt x="1297757" y="1198486"/>
                    <a:pt x="1289687" y="1206556"/>
                    <a:pt x="1279732" y="1206556"/>
                  </a:cubicBezTo>
                  <a:cubicBezTo>
                    <a:pt x="1269778" y="1206556"/>
                    <a:pt x="1261708" y="1198486"/>
                    <a:pt x="1261708" y="1188531"/>
                  </a:cubicBezTo>
                  <a:cubicBezTo>
                    <a:pt x="1261708" y="1178577"/>
                    <a:pt x="1269778" y="1170507"/>
                    <a:pt x="1279732" y="1170507"/>
                  </a:cubicBezTo>
                  <a:close/>
                  <a:moveTo>
                    <a:pt x="3478710" y="1164499"/>
                  </a:moveTo>
                  <a:cubicBezTo>
                    <a:pt x="3488665" y="1164499"/>
                    <a:pt x="3496735" y="1172569"/>
                    <a:pt x="3496735" y="1182523"/>
                  </a:cubicBezTo>
                  <a:cubicBezTo>
                    <a:pt x="3496735" y="1192478"/>
                    <a:pt x="3488665" y="1200548"/>
                    <a:pt x="3478710" y="1200548"/>
                  </a:cubicBezTo>
                  <a:cubicBezTo>
                    <a:pt x="3468756" y="1200548"/>
                    <a:pt x="3460686" y="1192478"/>
                    <a:pt x="3460686" y="1182523"/>
                  </a:cubicBezTo>
                  <a:cubicBezTo>
                    <a:pt x="3460686" y="1172569"/>
                    <a:pt x="3468756" y="1164499"/>
                    <a:pt x="3478710" y="1164499"/>
                  </a:cubicBezTo>
                  <a:close/>
                  <a:moveTo>
                    <a:pt x="2703660" y="1164499"/>
                  </a:moveTo>
                  <a:cubicBezTo>
                    <a:pt x="2713615" y="1164499"/>
                    <a:pt x="2721685" y="1172569"/>
                    <a:pt x="2721685" y="1182523"/>
                  </a:cubicBezTo>
                  <a:cubicBezTo>
                    <a:pt x="2721685" y="1192478"/>
                    <a:pt x="2713615" y="1200548"/>
                    <a:pt x="2703660" y="1200548"/>
                  </a:cubicBezTo>
                  <a:cubicBezTo>
                    <a:pt x="2693705" y="1200548"/>
                    <a:pt x="2685636" y="1192478"/>
                    <a:pt x="2685636" y="1182523"/>
                  </a:cubicBezTo>
                  <a:cubicBezTo>
                    <a:pt x="2685636" y="1172569"/>
                    <a:pt x="2693705" y="1164499"/>
                    <a:pt x="2703660" y="1164499"/>
                  </a:cubicBezTo>
                  <a:close/>
                  <a:moveTo>
                    <a:pt x="4500093" y="1158491"/>
                  </a:moveTo>
                  <a:cubicBezTo>
                    <a:pt x="4510048" y="1158491"/>
                    <a:pt x="4518118" y="1166561"/>
                    <a:pt x="4518118" y="1176516"/>
                  </a:cubicBezTo>
                  <a:cubicBezTo>
                    <a:pt x="4518118" y="1186470"/>
                    <a:pt x="4510048" y="1194540"/>
                    <a:pt x="4500093" y="1194540"/>
                  </a:cubicBezTo>
                  <a:cubicBezTo>
                    <a:pt x="4490139" y="1194540"/>
                    <a:pt x="4482069" y="1186470"/>
                    <a:pt x="4482069" y="1176516"/>
                  </a:cubicBezTo>
                  <a:cubicBezTo>
                    <a:pt x="4482069" y="1166561"/>
                    <a:pt x="4490139" y="1158491"/>
                    <a:pt x="4500093" y="1158491"/>
                  </a:cubicBezTo>
                  <a:close/>
                  <a:moveTo>
                    <a:pt x="4199686" y="1158491"/>
                  </a:moveTo>
                  <a:cubicBezTo>
                    <a:pt x="4209641" y="1158491"/>
                    <a:pt x="4217711" y="1166561"/>
                    <a:pt x="4217711" y="1176516"/>
                  </a:cubicBezTo>
                  <a:cubicBezTo>
                    <a:pt x="4217711" y="1186470"/>
                    <a:pt x="4209641" y="1194540"/>
                    <a:pt x="4199686" y="1194540"/>
                  </a:cubicBezTo>
                  <a:cubicBezTo>
                    <a:pt x="4189732" y="1194540"/>
                    <a:pt x="4181662" y="1186470"/>
                    <a:pt x="4181662" y="1176516"/>
                  </a:cubicBezTo>
                  <a:cubicBezTo>
                    <a:pt x="4181662" y="1166561"/>
                    <a:pt x="4189732" y="1158491"/>
                    <a:pt x="4199686" y="1158491"/>
                  </a:cubicBezTo>
                  <a:close/>
                  <a:moveTo>
                    <a:pt x="2132887" y="1158491"/>
                  </a:moveTo>
                  <a:cubicBezTo>
                    <a:pt x="2142842" y="1158491"/>
                    <a:pt x="2150912" y="1166561"/>
                    <a:pt x="2150912" y="1176516"/>
                  </a:cubicBezTo>
                  <a:cubicBezTo>
                    <a:pt x="2150912" y="1186470"/>
                    <a:pt x="2142842" y="1194540"/>
                    <a:pt x="2132887" y="1194540"/>
                  </a:cubicBezTo>
                  <a:cubicBezTo>
                    <a:pt x="2122933" y="1194540"/>
                    <a:pt x="2114863" y="1186470"/>
                    <a:pt x="2114863" y="1176516"/>
                  </a:cubicBezTo>
                  <a:cubicBezTo>
                    <a:pt x="2114863" y="1166561"/>
                    <a:pt x="2122933" y="1158491"/>
                    <a:pt x="2132887" y="1158491"/>
                  </a:cubicBezTo>
                  <a:close/>
                  <a:moveTo>
                    <a:pt x="1850505" y="1158491"/>
                  </a:moveTo>
                  <a:cubicBezTo>
                    <a:pt x="1860460" y="1158491"/>
                    <a:pt x="1868530" y="1166561"/>
                    <a:pt x="1868530" y="1176516"/>
                  </a:cubicBezTo>
                  <a:cubicBezTo>
                    <a:pt x="1868530" y="1186470"/>
                    <a:pt x="1860460" y="1194540"/>
                    <a:pt x="1850505" y="1194540"/>
                  </a:cubicBezTo>
                  <a:cubicBezTo>
                    <a:pt x="1840551" y="1194540"/>
                    <a:pt x="1832481" y="1186470"/>
                    <a:pt x="1832481" y="1176516"/>
                  </a:cubicBezTo>
                  <a:cubicBezTo>
                    <a:pt x="1832481" y="1166561"/>
                    <a:pt x="1840551" y="1158491"/>
                    <a:pt x="1850505" y="1158491"/>
                  </a:cubicBezTo>
                  <a:close/>
                  <a:moveTo>
                    <a:pt x="3340522" y="1152483"/>
                  </a:moveTo>
                  <a:cubicBezTo>
                    <a:pt x="3350477" y="1152483"/>
                    <a:pt x="3358547" y="1160552"/>
                    <a:pt x="3358547" y="1170507"/>
                  </a:cubicBezTo>
                  <a:cubicBezTo>
                    <a:pt x="3358547" y="1180462"/>
                    <a:pt x="3350477" y="1188532"/>
                    <a:pt x="3340522" y="1188532"/>
                  </a:cubicBezTo>
                  <a:cubicBezTo>
                    <a:pt x="3330567" y="1188532"/>
                    <a:pt x="3322498" y="1180462"/>
                    <a:pt x="3322498" y="1170507"/>
                  </a:cubicBezTo>
                  <a:cubicBezTo>
                    <a:pt x="3322498" y="1160552"/>
                    <a:pt x="3330567" y="1152483"/>
                    <a:pt x="3340522" y="1152483"/>
                  </a:cubicBezTo>
                  <a:close/>
                  <a:moveTo>
                    <a:pt x="2829831" y="1152483"/>
                  </a:moveTo>
                  <a:cubicBezTo>
                    <a:pt x="2839786" y="1152483"/>
                    <a:pt x="2847856" y="1160552"/>
                    <a:pt x="2847856" y="1170507"/>
                  </a:cubicBezTo>
                  <a:cubicBezTo>
                    <a:pt x="2847856" y="1180462"/>
                    <a:pt x="2839786" y="1188532"/>
                    <a:pt x="2829831" y="1188532"/>
                  </a:cubicBezTo>
                  <a:cubicBezTo>
                    <a:pt x="2819876" y="1188532"/>
                    <a:pt x="2811807" y="1180462"/>
                    <a:pt x="2811807" y="1170507"/>
                  </a:cubicBezTo>
                  <a:cubicBezTo>
                    <a:pt x="2811807" y="1160552"/>
                    <a:pt x="2819876" y="1152483"/>
                    <a:pt x="2829831" y="1152483"/>
                  </a:cubicBezTo>
                  <a:close/>
                  <a:moveTo>
                    <a:pt x="2253050" y="1152483"/>
                  </a:moveTo>
                  <a:cubicBezTo>
                    <a:pt x="2263005" y="1152483"/>
                    <a:pt x="2271075" y="1160552"/>
                    <a:pt x="2271075" y="1170507"/>
                  </a:cubicBezTo>
                  <a:cubicBezTo>
                    <a:pt x="2271075" y="1180462"/>
                    <a:pt x="2263005" y="1188532"/>
                    <a:pt x="2253050" y="1188532"/>
                  </a:cubicBezTo>
                  <a:cubicBezTo>
                    <a:pt x="2243096" y="1188532"/>
                    <a:pt x="2235026" y="1180462"/>
                    <a:pt x="2235026" y="1170507"/>
                  </a:cubicBezTo>
                  <a:cubicBezTo>
                    <a:pt x="2235026" y="1160552"/>
                    <a:pt x="2243096" y="1152483"/>
                    <a:pt x="2253050" y="1152483"/>
                  </a:cubicBezTo>
                  <a:close/>
                  <a:moveTo>
                    <a:pt x="1994700" y="1146474"/>
                  </a:moveTo>
                  <a:cubicBezTo>
                    <a:pt x="2004655" y="1146474"/>
                    <a:pt x="2012725" y="1154544"/>
                    <a:pt x="2012725" y="1164498"/>
                  </a:cubicBezTo>
                  <a:cubicBezTo>
                    <a:pt x="2012725" y="1174453"/>
                    <a:pt x="2004655" y="1182523"/>
                    <a:pt x="1994700" y="1182523"/>
                  </a:cubicBezTo>
                  <a:cubicBezTo>
                    <a:pt x="1984746" y="1182523"/>
                    <a:pt x="1976676" y="1174453"/>
                    <a:pt x="1976676" y="1164498"/>
                  </a:cubicBezTo>
                  <a:cubicBezTo>
                    <a:pt x="1976676" y="1154544"/>
                    <a:pt x="1984746" y="1146474"/>
                    <a:pt x="1994700" y="1146474"/>
                  </a:cubicBezTo>
                  <a:close/>
                  <a:moveTo>
                    <a:pt x="1718326" y="1146474"/>
                  </a:moveTo>
                  <a:cubicBezTo>
                    <a:pt x="1728281" y="1146474"/>
                    <a:pt x="1736351" y="1154544"/>
                    <a:pt x="1736351" y="1164498"/>
                  </a:cubicBezTo>
                  <a:cubicBezTo>
                    <a:pt x="1736351" y="1174453"/>
                    <a:pt x="1728281" y="1182523"/>
                    <a:pt x="1718326" y="1182523"/>
                  </a:cubicBezTo>
                  <a:cubicBezTo>
                    <a:pt x="1708372" y="1182523"/>
                    <a:pt x="1700302" y="1174453"/>
                    <a:pt x="1700302" y="1164498"/>
                  </a:cubicBezTo>
                  <a:cubicBezTo>
                    <a:pt x="1700302" y="1154544"/>
                    <a:pt x="1708372" y="1146474"/>
                    <a:pt x="1718326" y="1146474"/>
                  </a:cubicBezTo>
                  <a:close/>
                  <a:moveTo>
                    <a:pt x="1129529" y="1146474"/>
                  </a:moveTo>
                  <a:cubicBezTo>
                    <a:pt x="1139484" y="1146474"/>
                    <a:pt x="1147554" y="1154544"/>
                    <a:pt x="1147554" y="1164498"/>
                  </a:cubicBezTo>
                  <a:cubicBezTo>
                    <a:pt x="1147554" y="1174453"/>
                    <a:pt x="1139484" y="1182523"/>
                    <a:pt x="1129529" y="1182523"/>
                  </a:cubicBezTo>
                  <a:cubicBezTo>
                    <a:pt x="1119575" y="1182523"/>
                    <a:pt x="1111505" y="1174453"/>
                    <a:pt x="1111505" y="1164498"/>
                  </a:cubicBezTo>
                  <a:cubicBezTo>
                    <a:pt x="1111505" y="1154544"/>
                    <a:pt x="1119575" y="1146474"/>
                    <a:pt x="1129529" y="1146474"/>
                  </a:cubicBezTo>
                  <a:close/>
                  <a:moveTo>
                    <a:pt x="498674" y="1140466"/>
                  </a:moveTo>
                  <a:cubicBezTo>
                    <a:pt x="508629" y="1140466"/>
                    <a:pt x="516699" y="1148536"/>
                    <a:pt x="516699" y="1158490"/>
                  </a:cubicBezTo>
                  <a:cubicBezTo>
                    <a:pt x="516699" y="1168445"/>
                    <a:pt x="508629" y="1176515"/>
                    <a:pt x="498674" y="1176515"/>
                  </a:cubicBezTo>
                  <a:cubicBezTo>
                    <a:pt x="488720" y="1176515"/>
                    <a:pt x="480650" y="1168445"/>
                    <a:pt x="480650" y="1158490"/>
                  </a:cubicBezTo>
                  <a:cubicBezTo>
                    <a:pt x="480650" y="1148536"/>
                    <a:pt x="488720" y="1140466"/>
                    <a:pt x="498674" y="1140466"/>
                  </a:cubicBezTo>
                  <a:close/>
                  <a:moveTo>
                    <a:pt x="3707019" y="1134458"/>
                  </a:moveTo>
                  <a:cubicBezTo>
                    <a:pt x="3716974" y="1134458"/>
                    <a:pt x="3725044" y="1142528"/>
                    <a:pt x="3725044" y="1152482"/>
                  </a:cubicBezTo>
                  <a:cubicBezTo>
                    <a:pt x="3725044" y="1162437"/>
                    <a:pt x="3716974" y="1170507"/>
                    <a:pt x="3707019" y="1170507"/>
                  </a:cubicBezTo>
                  <a:cubicBezTo>
                    <a:pt x="3697064" y="1170507"/>
                    <a:pt x="3688994" y="1162437"/>
                    <a:pt x="3688994" y="1152482"/>
                  </a:cubicBezTo>
                  <a:cubicBezTo>
                    <a:pt x="3688994" y="1142528"/>
                    <a:pt x="3697064" y="1134458"/>
                    <a:pt x="3707019" y="1134458"/>
                  </a:cubicBezTo>
                  <a:close/>
                  <a:moveTo>
                    <a:pt x="799081" y="1134458"/>
                  </a:moveTo>
                  <a:cubicBezTo>
                    <a:pt x="809036" y="1134458"/>
                    <a:pt x="817106" y="1142528"/>
                    <a:pt x="817106" y="1152482"/>
                  </a:cubicBezTo>
                  <a:cubicBezTo>
                    <a:pt x="817106" y="1162437"/>
                    <a:pt x="809036" y="1170507"/>
                    <a:pt x="799081" y="1170507"/>
                  </a:cubicBezTo>
                  <a:cubicBezTo>
                    <a:pt x="789127" y="1170507"/>
                    <a:pt x="781057" y="1162437"/>
                    <a:pt x="781057" y="1152482"/>
                  </a:cubicBezTo>
                  <a:cubicBezTo>
                    <a:pt x="781057" y="1142528"/>
                    <a:pt x="789127" y="1134458"/>
                    <a:pt x="799081" y="1134458"/>
                  </a:cubicBezTo>
                  <a:close/>
                  <a:moveTo>
                    <a:pt x="384520" y="1134458"/>
                  </a:moveTo>
                  <a:cubicBezTo>
                    <a:pt x="394475" y="1134458"/>
                    <a:pt x="402545" y="1142528"/>
                    <a:pt x="402545" y="1152482"/>
                  </a:cubicBezTo>
                  <a:cubicBezTo>
                    <a:pt x="402545" y="1162437"/>
                    <a:pt x="394475" y="1170507"/>
                    <a:pt x="384520" y="1170507"/>
                  </a:cubicBezTo>
                  <a:cubicBezTo>
                    <a:pt x="374566" y="1170507"/>
                    <a:pt x="366496" y="1162437"/>
                    <a:pt x="366496" y="1152482"/>
                  </a:cubicBezTo>
                  <a:cubicBezTo>
                    <a:pt x="366496" y="1142528"/>
                    <a:pt x="374566" y="1134458"/>
                    <a:pt x="384520" y="1134458"/>
                  </a:cubicBezTo>
                  <a:close/>
                  <a:moveTo>
                    <a:pt x="3935328" y="1128450"/>
                  </a:moveTo>
                  <a:cubicBezTo>
                    <a:pt x="3945283" y="1128450"/>
                    <a:pt x="3953353" y="1136520"/>
                    <a:pt x="3953353" y="1146475"/>
                  </a:cubicBezTo>
                  <a:cubicBezTo>
                    <a:pt x="3953353" y="1156429"/>
                    <a:pt x="3945283" y="1164499"/>
                    <a:pt x="3935328" y="1164499"/>
                  </a:cubicBezTo>
                  <a:cubicBezTo>
                    <a:pt x="3925373" y="1164499"/>
                    <a:pt x="3917304" y="1156429"/>
                    <a:pt x="3917304" y="1146475"/>
                  </a:cubicBezTo>
                  <a:cubicBezTo>
                    <a:pt x="3917304" y="1136520"/>
                    <a:pt x="3925373" y="1128450"/>
                    <a:pt x="3935328" y="1128450"/>
                  </a:cubicBezTo>
                  <a:close/>
                  <a:moveTo>
                    <a:pt x="1514049" y="1128450"/>
                  </a:moveTo>
                  <a:cubicBezTo>
                    <a:pt x="1524004" y="1128450"/>
                    <a:pt x="1532074" y="1136520"/>
                    <a:pt x="1532074" y="1146475"/>
                  </a:cubicBezTo>
                  <a:cubicBezTo>
                    <a:pt x="1532074" y="1156429"/>
                    <a:pt x="1524004" y="1164499"/>
                    <a:pt x="1514049" y="1164499"/>
                  </a:cubicBezTo>
                  <a:cubicBezTo>
                    <a:pt x="1504095" y="1164499"/>
                    <a:pt x="1496025" y="1156429"/>
                    <a:pt x="1496025" y="1146475"/>
                  </a:cubicBezTo>
                  <a:cubicBezTo>
                    <a:pt x="1496025" y="1136520"/>
                    <a:pt x="1504095" y="1128450"/>
                    <a:pt x="1514049" y="1128450"/>
                  </a:cubicBezTo>
                  <a:close/>
                  <a:moveTo>
                    <a:pt x="4650296" y="1122442"/>
                  </a:moveTo>
                  <a:cubicBezTo>
                    <a:pt x="4660251" y="1122442"/>
                    <a:pt x="4668321" y="1130511"/>
                    <a:pt x="4668321" y="1140466"/>
                  </a:cubicBezTo>
                  <a:cubicBezTo>
                    <a:pt x="4668321" y="1150421"/>
                    <a:pt x="4660251" y="1158491"/>
                    <a:pt x="4650296" y="1158491"/>
                  </a:cubicBezTo>
                  <a:cubicBezTo>
                    <a:pt x="4640342" y="1158491"/>
                    <a:pt x="4632272" y="1150421"/>
                    <a:pt x="4632272" y="1140466"/>
                  </a:cubicBezTo>
                  <a:cubicBezTo>
                    <a:pt x="4632272" y="1130511"/>
                    <a:pt x="4640342" y="1122442"/>
                    <a:pt x="4650296" y="1122442"/>
                  </a:cubicBezTo>
                  <a:close/>
                  <a:moveTo>
                    <a:pt x="4073515" y="1122442"/>
                  </a:moveTo>
                  <a:cubicBezTo>
                    <a:pt x="4083470" y="1122442"/>
                    <a:pt x="4091540" y="1130511"/>
                    <a:pt x="4091540" y="1140466"/>
                  </a:cubicBezTo>
                  <a:cubicBezTo>
                    <a:pt x="4091540" y="1150421"/>
                    <a:pt x="4083470" y="1158491"/>
                    <a:pt x="4073515" y="1158491"/>
                  </a:cubicBezTo>
                  <a:cubicBezTo>
                    <a:pt x="4063561" y="1158491"/>
                    <a:pt x="4055491" y="1150421"/>
                    <a:pt x="4055491" y="1140466"/>
                  </a:cubicBezTo>
                  <a:cubicBezTo>
                    <a:pt x="4055491" y="1130511"/>
                    <a:pt x="4063561" y="1122442"/>
                    <a:pt x="4073515" y="1122442"/>
                  </a:cubicBezTo>
                  <a:close/>
                  <a:moveTo>
                    <a:pt x="2475351" y="1122442"/>
                  </a:moveTo>
                  <a:cubicBezTo>
                    <a:pt x="2485306" y="1122442"/>
                    <a:pt x="2493376" y="1130511"/>
                    <a:pt x="2493376" y="1140466"/>
                  </a:cubicBezTo>
                  <a:cubicBezTo>
                    <a:pt x="2493376" y="1150421"/>
                    <a:pt x="2485306" y="1158491"/>
                    <a:pt x="2475351" y="1158491"/>
                  </a:cubicBezTo>
                  <a:cubicBezTo>
                    <a:pt x="2465396" y="1158491"/>
                    <a:pt x="2457326" y="1150421"/>
                    <a:pt x="2457326" y="1140466"/>
                  </a:cubicBezTo>
                  <a:cubicBezTo>
                    <a:pt x="2457326" y="1130511"/>
                    <a:pt x="2465396" y="1122442"/>
                    <a:pt x="2475351" y="1122442"/>
                  </a:cubicBezTo>
                  <a:close/>
                  <a:moveTo>
                    <a:pt x="1393887" y="1122442"/>
                  </a:moveTo>
                  <a:cubicBezTo>
                    <a:pt x="1403842" y="1122442"/>
                    <a:pt x="1411912" y="1130511"/>
                    <a:pt x="1411912" y="1140466"/>
                  </a:cubicBezTo>
                  <a:cubicBezTo>
                    <a:pt x="1411912" y="1150421"/>
                    <a:pt x="1403842" y="1158491"/>
                    <a:pt x="1393887" y="1158491"/>
                  </a:cubicBezTo>
                  <a:cubicBezTo>
                    <a:pt x="1383933" y="1158491"/>
                    <a:pt x="1375863" y="1150421"/>
                    <a:pt x="1375863" y="1140466"/>
                  </a:cubicBezTo>
                  <a:cubicBezTo>
                    <a:pt x="1375863" y="1130511"/>
                    <a:pt x="1383933" y="1122442"/>
                    <a:pt x="1393887" y="1122442"/>
                  </a:cubicBezTo>
                  <a:close/>
                  <a:moveTo>
                    <a:pt x="3058140" y="1116434"/>
                  </a:moveTo>
                  <a:cubicBezTo>
                    <a:pt x="3068095" y="1116434"/>
                    <a:pt x="3076165" y="1124504"/>
                    <a:pt x="3076165" y="1134458"/>
                  </a:cubicBezTo>
                  <a:cubicBezTo>
                    <a:pt x="3076165" y="1144413"/>
                    <a:pt x="3068095" y="1152483"/>
                    <a:pt x="3058140" y="1152483"/>
                  </a:cubicBezTo>
                  <a:cubicBezTo>
                    <a:pt x="3048186" y="1152483"/>
                    <a:pt x="3040116" y="1144413"/>
                    <a:pt x="3040116" y="1134458"/>
                  </a:cubicBezTo>
                  <a:cubicBezTo>
                    <a:pt x="3040116" y="1124504"/>
                    <a:pt x="3048186" y="1116434"/>
                    <a:pt x="3058140" y="1116434"/>
                  </a:cubicBezTo>
                  <a:close/>
                  <a:moveTo>
                    <a:pt x="4800499" y="1092401"/>
                  </a:moveTo>
                  <a:cubicBezTo>
                    <a:pt x="4810454" y="1092401"/>
                    <a:pt x="4818524" y="1100470"/>
                    <a:pt x="4818524" y="1110425"/>
                  </a:cubicBezTo>
                  <a:cubicBezTo>
                    <a:pt x="4818524" y="1120380"/>
                    <a:pt x="4810454" y="1128450"/>
                    <a:pt x="4800499" y="1128450"/>
                  </a:cubicBezTo>
                  <a:cubicBezTo>
                    <a:pt x="4790545" y="1128450"/>
                    <a:pt x="4782475" y="1120380"/>
                    <a:pt x="4782475" y="1110425"/>
                  </a:cubicBezTo>
                  <a:cubicBezTo>
                    <a:pt x="4782475" y="1100470"/>
                    <a:pt x="4790545" y="1092401"/>
                    <a:pt x="4800499" y="1092401"/>
                  </a:cubicBezTo>
                  <a:close/>
                  <a:moveTo>
                    <a:pt x="2349180" y="1092401"/>
                  </a:moveTo>
                  <a:cubicBezTo>
                    <a:pt x="2359135" y="1092401"/>
                    <a:pt x="2367205" y="1100470"/>
                    <a:pt x="2367205" y="1110425"/>
                  </a:cubicBezTo>
                  <a:cubicBezTo>
                    <a:pt x="2367205" y="1120380"/>
                    <a:pt x="2359135" y="1128450"/>
                    <a:pt x="2349180" y="1128450"/>
                  </a:cubicBezTo>
                  <a:cubicBezTo>
                    <a:pt x="2339226" y="1128450"/>
                    <a:pt x="2331156" y="1120380"/>
                    <a:pt x="2331156" y="1110425"/>
                  </a:cubicBezTo>
                  <a:cubicBezTo>
                    <a:pt x="2331156" y="1100470"/>
                    <a:pt x="2339226" y="1092401"/>
                    <a:pt x="2349180" y="1092401"/>
                  </a:cubicBezTo>
                  <a:close/>
                  <a:moveTo>
                    <a:pt x="931260" y="1092401"/>
                  </a:moveTo>
                  <a:cubicBezTo>
                    <a:pt x="941215" y="1092401"/>
                    <a:pt x="949285" y="1100470"/>
                    <a:pt x="949285" y="1110425"/>
                  </a:cubicBezTo>
                  <a:cubicBezTo>
                    <a:pt x="949285" y="1120380"/>
                    <a:pt x="941215" y="1128450"/>
                    <a:pt x="931260" y="1128450"/>
                  </a:cubicBezTo>
                  <a:cubicBezTo>
                    <a:pt x="921306" y="1128450"/>
                    <a:pt x="913236" y="1120380"/>
                    <a:pt x="913236" y="1110425"/>
                  </a:cubicBezTo>
                  <a:cubicBezTo>
                    <a:pt x="913236" y="1100470"/>
                    <a:pt x="921306" y="1092401"/>
                    <a:pt x="931260" y="1092401"/>
                  </a:cubicBezTo>
                  <a:close/>
                  <a:moveTo>
                    <a:pt x="4986752" y="1086393"/>
                  </a:moveTo>
                  <a:cubicBezTo>
                    <a:pt x="4996707" y="1086393"/>
                    <a:pt x="5004777" y="1094463"/>
                    <a:pt x="5004777" y="1104417"/>
                  </a:cubicBezTo>
                  <a:cubicBezTo>
                    <a:pt x="5004777" y="1114372"/>
                    <a:pt x="4996707" y="1122442"/>
                    <a:pt x="4986752" y="1122442"/>
                  </a:cubicBezTo>
                  <a:cubicBezTo>
                    <a:pt x="4976797" y="1122442"/>
                    <a:pt x="4968728" y="1114372"/>
                    <a:pt x="4968728" y="1104417"/>
                  </a:cubicBezTo>
                  <a:cubicBezTo>
                    <a:pt x="4968728" y="1094463"/>
                    <a:pt x="4976797" y="1086393"/>
                    <a:pt x="4986752" y="1086393"/>
                  </a:cubicBezTo>
                  <a:close/>
                  <a:moveTo>
                    <a:pt x="3815165" y="1086393"/>
                  </a:moveTo>
                  <a:cubicBezTo>
                    <a:pt x="3825120" y="1086393"/>
                    <a:pt x="3833190" y="1094463"/>
                    <a:pt x="3833190" y="1104417"/>
                  </a:cubicBezTo>
                  <a:cubicBezTo>
                    <a:pt x="3833190" y="1114372"/>
                    <a:pt x="3825120" y="1122442"/>
                    <a:pt x="3815165" y="1122442"/>
                  </a:cubicBezTo>
                  <a:cubicBezTo>
                    <a:pt x="3805210" y="1122442"/>
                    <a:pt x="3797141" y="1114372"/>
                    <a:pt x="3797141" y="1104417"/>
                  </a:cubicBezTo>
                  <a:cubicBezTo>
                    <a:pt x="3797141" y="1094463"/>
                    <a:pt x="3805210" y="1086393"/>
                    <a:pt x="3815165" y="1086393"/>
                  </a:cubicBezTo>
                  <a:close/>
                  <a:moveTo>
                    <a:pt x="3586856" y="1086393"/>
                  </a:moveTo>
                  <a:cubicBezTo>
                    <a:pt x="3596811" y="1086393"/>
                    <a:pt x="3604881" y="1094463"/>
                    <a:pt x="3604881" y="1104417"/>
                  </a:cubicBezTo>
                  <a:cubicBezTo>
                    <a:pt x="3604881" y="1114372"/>
                    <a:pt x="3596811" y="1122442"/>
                    <a:pt x="3586856" y="1122442"/>
                  </a:cubicBezTo>
                  <a:cubicBezTo>
                    <a:pt x="3576901" y="1122442"/>
                    <a:pt x="3568831" y="1114372"/>
                    <a:pt x="3568831" y="1104417"/>
                  </a:cubicBezTo>
                  <a:cubicBezTo>
                    <a:pt x="3568831" y="1094463"/>
                    <a:pt x="3576901" y="1086393"/>
                    <a:pt x="3586856" y="1086393"/>
                  </a:cubicBezTo>
                  <a:close/>
                  <a:moveTo>
                    <a:pt x="3166287" y="1086393"/>
                  </a:moveTo>
                  <a:cubicBezTo>
                    <a:pt x="3176242" y="1086393"/>
                    <a:pt x="3184312" y="1094463"/>
                    <a:pt x="3184312" y="1104417"/>
                  </a:cubicBezTo>
                  <a:cubicBezTo>
                    <a:pt x="3184312" y="1114372"/>
                    <a:pt x="3176242" y="1122442"/>
                    <a:pt x="3166287" y="1122442"/>
                  </a:cubicBezTo>
                  <a:cubicBezTo>
                    <a:pt x="3156332" y="1122442"/>
                    <a:pt x="3148262" y="1114372"/>
                    <a:pt x="3148262" y="1104417"/>
                  </a:cubicBezTo>
                  <a:cubicBezTo>
                    <a:pt x="3148262" y="1094463"/>
                    <a:pt x="3156332" y="1086393"/>
                    <a:pt x="3166287" y="1086393"/>
                  </a:cubicBezTo>
                  <a:close/>
                  <a:moveTo>
                    <a:pt x="2595514" y="1086393"/>
                  </a:moveTo>
                  <a:cubicBezTo>
                    <a:pt x="2605469" y="1086393"/>
                    <a:pt x="2613539" y="1094463"/>
                    <a:pt x="2613539" y="1104417"/>
                  </a:cubicBezTo>
                  <a:cubicBezTo>
                    <a:pt x="2613539" y="1114372"/>
                    <a:pt x="2605469" y="1122442"/>
                    <a:pt x="2595514" y="1122442"/>
                  </a:cubicBezTo>
                  <a:cubicBezTo>
                    <a:pt x="2585559" y="1122442"/>
                    <a:pt x="2577489" y="1114372"/>
                    <a:pt x="2577489" y="1104417"/>
                  </a:cubicBezTo>
                  <a:cubicBezTo>
                    <a:pt x="2577489" y="1094463"/>
                    <a:pt x="2585559" y="1086393"/>
                    <a:pt x="2595514" y="1086393"/>
                  </a:cubicBezTo>
                  <a:close/>
                  <a:moveTo>
                    <a:pt x="1628204" y="1074377"/>
                  </a:moveTo>
                  <a:cubicBezTo>
                    <a:pt x="1638159" y="1074377"/>
                    <a:pt x="1646229" y="1082447"/>
                    <a:pt x="1646229" y="1092401"/>
                  </a:cubicBezTo>
                  <a:cubicBezTo>
                    <a:pt x="1646229" y="1102356"/>
                    <a:pt x="1638159" y="1110426"/>
                    <a:pt x="1628204" y="1110426"/>
                  </a:cubicBezTo>
                  <a:cubicBezTo>
                    <a:pt x="1618250" y="1110426"/>
                    <a:pt x="1610180" y="1102356"/>
                    <a:pt x="1610180" y="1092401"/>
                  </a:cubicBezTo>
                  <a:cubicBezTo>
                    <a:pt x="1610180" y="1082447"/>
                    <a:pt x="1618250" y="1074377"/>
                    <a:pt x="1628204" y="1074377"/>
                  </a:cubicBezTo>
                  <a:close/>
                  <a:moveTo>
                    <a:pt x="642870" y="1074377"/>
                  </a:moveTo>
                  <a:cubicBezTo>
                    <a:pt x="652825" y="1074377"/>
                    <a:pt x="660895" y="1082447"/>
                    <a:pt x="660895" y="1092401"/>
                  </a:cubicBezTo>
                  <a:cubicBezTo>
                    <a:pt x="660895" y="1102356"/>
                    <a:pt x="652825" y="1110426"/>
                    <a:pt x="642870" y="1110426"/>
                  </a:cubicBezTo>
                  <a:cubicBezTo>
                    <a:pt x="632916" y="1110426"/>
                    <a:pt x="624846" y="1102356"/>
                    <a:pt x="624846" y="1092401"/>
                  </a:cubicBezTo>
                  <a:cubicBezTo>
                    <a:pt x="624846" y="1082447"/>
                    <a:pt x="632916" y="1074377"/>
                    <a:pt x="642870" y="1074377"/>
                  </a:cubicBezTo>
                  <a:close/>
                  <a:moveTo>
                    <a:pt x="2925961" y="1068369"/>
                  </a:moveTo>
                  <a:cubicBezTo>
                    <a:pt x="2935916" y="1068369"/>
                    <a:pt x="2943986" y="1076439"/>
                    <a:pt x="2943986" y="1086394"/>
                  </a:cubicBezTo>
                  <a:cubicBezTo>
                    <a:pt x="2943986" y="1096348"/>
                    <a:pt x="2935916" y="1104418"/>
                    <a:pt x="2925961" y="1104418"/>
                  </a:cubicBezTo>
                  <a:cubicBezTo>
                    <a:pt x="2916006" y="1104418"/>
                    <a:pt x="2907936" y="1096348"/>
                    <a:pt x="2907936" y="1086394"/>
                  </a:cubicBezTo>
                  <a:cubicBezTo>
                    <a:pt x="2907936" y="1076439"/>
                    <a:pt x="2916006" y="1068369"/>
                    <a:pt x="2925961" y="1068369"/>
                  </a:cubicBezTo>
                  <a:close/>
                  <a:moveTo>
                    <a:pt x="3424636" y="1062360"/>
                  </a:moveTo>
                  <a:cubicBezTo>
                    <a:pt x="3434591" y="1062360"/>
                    <a:pt x="3442661" y="1070429"/>
                    <a:pt x="3442661" y="1080384"/>
                  </a:cubicBezTo>
                  <a:cubicBezTo>
                    <a:pt x="3442661" y="1090339"/>
                    <a:pt x="3434591" y="1098409"/>
                    <a:pt x="3424636" y="1098409"/>
                  </a:cubicBezTo>
                  <a:cubicBezTo>
                    <a:pt x="3414681" y="1098409"/>
                    <a:pt x="3406612" y="1090339"/>
                    <a:pt x="3406612" y="1080384"/>
                  </a:cubicBezTo>
                  <a:cubicBezTo>
                    <a:pt x="3406612" y="1070429"/>
                    <a:pt x="3414681" y="1062360"/>
                    <a:pt x="3424636" y="1062360"/>
                  </a:cubicBezTo>
                  <a:close/>
                  <a:moveTo>
                    <a:pt x="1249691" y="1062360"/>
                  </a:moveTo>
                  <a:cubicBezTo>
                    <a:pt x="1259646" y="1062360"/>
                    <a:pt x="1267716" y="1070429"/>
                    <a:pt x="1267716" y="1080384"/>
                  </a:cubicBezTo>
                  <a:cubicBezTo>
                    <a:pt x="1267716" y="1090339"/>
                    <a:pt x="1259646" y="1098409"/>
                    <a:pt x="1249691" y="1098409"/>
                  </a:cubicBezTo>
                  <a:cubicBezTo>
                    <a:pt x="1239737" y="1098409"/>
                    <a:pt x="1231667" y="1090339"/>
                    <a:pt x="1231667" y="1080384"/>
                  </a:cubicBezTo>
                  <a:cubicBezTo>
                    <a:pt x="1231667" y="1070429"/>
                    <a:pt x="1239737" y="1062360"/>
                    <a:pt x="1249691" y="1062360"/>
                  </a:cubicBezTo>
                  <a:close/>
                  <a:moveTo>
                    <a:pt x="1075456" y="1062360"/>
                  </a:moveTo>
                  <a:cubicBezTo>
                    <a:pt x="1085410" y="1062360"/>
                    <a:pt x="1093480" y="1070429"/>
                    <a:pt x="1093480" y="1080384"/>
                  </a:cubicBezTo>
                  <a:cubicBezTo>
                    <a:pt x="1093480" y="1090339"/>
                    <a:pt x="1085410" y="1098409"/>
                    <a:pt x="1075456" y="1098409"/>
                  </a:cubicBezTo>
                  <a:cubicBezTo>
                    <a:pt x="1065501" y="1098409"/>
                    <a:pt x="1057431" y="1090339"/>
                    <a:pt x="1057431" y="1080384"/>
                  </a:cubicBezTo>
                  <a:cubicBezTo>
                    <a:pt x="1057431" y="1070429"/>
                    <a:pt x="1065501" y="1062360"/>
                    <a:pt x="1075456" y="1062360"/>
                  </a:cubicBezTo>
                  <a:close/>
                  <a:moveTo>
                    <a:pt x="1928611" y="1056352"/>
                  </a:moveTo>
                  <a:cubicBezTo>
                    <a:pt x="1938566" y="1056352"/>
                    <a:pt x="1946636" y="1064422"/>
                    <a:pt x="1946636" y="1074376"/>
                  </a:cubicBezTo>
                  <a:cubicBezTo>
                    <a:pt x="1946636" y="1084331"/>
                    <a:pt x="1938566" y="1092401"/>
                    <a:pt x="1928611" y="1092401"/>
                  </a:cubicBezTo>
                  <a:cubicBezTo>
                    <a:pt x="1918657" y="1092401"/>
                    <a:pt x="1910587" y="1084331"/>
                    <a:pt x="1910587" y="1074376"/>
                  </a:cubicBezTo>
                  <a:cubicBezTo>
                    <a:pt x="1910587" y="1064422"/>
                    <a:pt x="1918657" y="1056352"/>
                    <a:pt x="1928611" y="1056352"/>
                  </a:cubicBezTo>
                  <a:close/>
                  <a:moveTo>
                    <a:pt x="2709668" y="1044336"/>
                  </a:moveTo>
                  <a:cubicBezTo>
                    <a:pt x="2719623" y="1044336"/>
                    <a:pt x="2727693" y="1052406"/>
                    <a:pt x="2727693" y="1062360"/>
                  </a:cubicBezTo>
                  <a:cubicBezTo>
                    <a:pt x="2727693" y="1072315"/>
                    <a:pt x="2719623" y="1080385"/>
                    <a:pt x="2709668" y="1080385"/>
                  </a:cubicBezTo>
                  <a:cubicBezTo>
                    <a:pt x="2699713" y="1080385"/>
                    <a:pt x="2691644" y="1072315"/>
                    <a:pt x="2691644" y="1062360"/>
                  </a:cubicBezTo>
                  <a:cubicBezTo>
                    <a:pt x="2691644" y="1052406"/>
                    <a:pt x="2699713" y="1044336"/>
                    <a:pt x="2709668" y="1044336"/>
                  </a:cubicBezTo>
                  <a:close/>
                  <a:moveTo>
                    <a:pt x="1784415" y="1044336"/>
                  </a:moveTo>
                  <a:cubicBezTo>
                    <a:pt x="1794370" y="1044336"/>
                    <a:pt x="1802440" y="1052406"/>
                    <a:pt x="1802440" y="1062360"/>
                  </a:cubicBezTo>
                  <a:cubicBezTo>
                    <a:pt x="1802440" y="1072315"/>
                    <a:pt x="1794370" y="1080385"/>
                    <a:pt x="1784415" y="1080385"/>
                  </a:cubicBezTo>
                  <a:cubicBezTo>
                    <a:pt x="1774461" y="1080385"/>
                    <a:pt x="1766391" y="1072315"/>
                    <a:pt x="1766391" y="1062360"/>
                  </a:cubicBezTo>
                  <a:cubicBezTo>
                    <a:pt x="1766391" y="1052406"/>
                    <a:pt x="1774461" y="1044336"/>
                    <a:pt x="1784415" y="1044336"/>
                  </a:cubicBezTo>
                  <a:close/>
                  <a:moveTo>
                    <a:pt x="3292457" y="1038328"/>
                  </a:moveTo>
                  <a:cubicBezTo>
                    <a:pt x="3302412" y="1038328"/>
                    <a:pt x="3310482" y="1046398"/>
                    <a:pt x="3310482" y="1056353"/>
                  </a:cubicBezTo>
                  <a:cubicBezTo>
                    <a:pt x="3310482" y="1066307"/>
                    <a:pt x="3302412" y="1074377"/>
                    <a:pt x="3292457" y="1074377"/>
                  </a:cubicBezTo>
                  <a:cubicBezTo>
                    <a:pt x="3282503" y="1074377"/>
                    <a:pt x="3274433" y="1066307"/>
                    <a:pt x="3274433" y="1056353"/>
                  </a:cubicBezTo>
                  <a:cubicBezTo>
                    <a:pt x="3274433" y="1046398"/>
                    <a:pt x="3282503" y="1038328"/>
                    <a:pt x="3292457" y="1038328"/>
                  </a:cubicBezTo>
                  <a:close/>
                  <a:moveTo>
                    <a:pt x="2198977" y="1038328"/>
                  </a:moveTo>
                  <a:cubicBezTo>
                    <a:pt x="2208932" y="1038328"/>
                    <a:pt x="2217002" y="1046398"/>
                    <a:pt x="2217002" y="1056353"/>
                  </a:cubicBezTo>
                  <a:cubicBezTo>
                    <a:pt x="2217002" y="1066307"/>
                    <a:pt x="2208932" y="1074377"/>
                    <a:pt x="2198977" y="1074377"/>
                  </a:cubicBezTo>
                  <a:cubicBezTo>
                    <a:pt x="2189023" y="1074377"/>
                    <a:pt x="2180953" y="1066307"/>
                    <a:pt x="2180953" y="1056353"/>
                  </a:cubicBezTo>
                  <a:cubicBezTo>
                    <a:pt x="2180953" y="1046398"/>
                    <a:pt x="2189023" y="1038328"/>
                    <a:pt x="2198977" y="1038328"/>
                  </a:cubicBezTo>
                  <a:close/>
                  <a:moveTo>
                    <a:pt x="2078814" y="1032320"/>
                  </a:moveTo>
                  <a:cubicBezTo>
                    <a:pt x="2088769" y="1032320"/>
                    <a:pt x="2096839" y="1040389"/>
                    <a:pt x="2096839" y="1050344"/>
                  </a:cubicBezTo>
                  <a:cubicBezTo>
                    <a:pt x="2096839" y="1060299"/>
                    <a:pt x="2088769" y="1068369"/>
                    <a:pt x="2078814" y="1068369"/>
                  </a:cubicBezTo>
                  <a:cubicBezTo>
                    <a:pt x="2068860" y="1068369"/>
                    <a:pt x="2060790" y="1060299"/>
                    <a:pt x="2060790" y="1050344"/>
                  </a:cubicBezTo>
                  <a:cubicBezTo>
                    <a:pt x="2060790" y="1040389"/>
                    <a:pt x="2068860" y="1032320"/>
                    <a:pt x="2078814" y="1032320"/>
                  </a:cubicBezTo>
                  <a:close/>
                  <a:moveTo>
                    <a:pt x="3983393" y="1026312"/>
                  </a:moveTo>
                  <a:cubicBezTo>
                    <a:pt x="3993348" y="1026312"/>
                    <a:pt x="4001418" y="1034382"/>
                    <a:pt x="4001418" y="1044336"/>
                  </a:cubicBezTo>
                  <a:cubicBezTo>
                    <a:pt x="4001418" y="1054291"/>
                    <a:pt x="3993348" y="1062361"/>
                    <a:pt x="3983393" y="1062361"/>
                  </a:cubicBezTo>
                  <a:cubicBezTo>
                    <a:pt x="3973439" y="1062361"/>
                    <a:pt x="3965369" y="1054291"/>
                    <a:pt x="3965369" y="1044336"/>
                  </a:cubicBezTo>
                  <a:cubicBezTo>
                    <a:pt x="3965369" y="1034382"/>
                    <a:pt x="3973439" y="1026312"/>
                    <a:pt x="3983393" y="1026312"/>
                  </a:cubicBezTo>
                  <a:close/>
                  <a:moveTo>
                    <a:pt x="817106" y="1020304"/>
                  </a:moveTo>
                  <a:cubicBezTo>
                    <a:pt x="823743" y="1020304"/>
                    <a:pt x="829123" y="1025684"/>
                    <a:pt x="829123" y="1032320"/>
                  </a:cubicBezTo>
                  <a:cubicBezTo>
                    <a:pt x="829123" y="1038957"/>
                    <a:pt x="823743" y="1044336"/>
                    <a:pt x="817106" y="1044336"/>
                  </a:cubicBezTo>
                  <a:cubicBezTo>
                    <a:pt x="810470" y="1044336"/>
                    <a:pt x="805090" y="1038956"/>
                    <a:pt x="805090" y="1032320"/>
                  </a:cubicBezTo>
                  <a:cubicBezTo>
                    <a:pt x="805090" y="1025684"/>
                    <a:pt x="810470" y="1020304"/>
                    <a:pt x="817106" y="1020304"/>
                  </a:cubicBezTo>
                  <a:close/>
                  <a:moveTo>
                    <a:pt x="2817815" y="1014295"/>
                  </a:moveTo>
                  <a:cubicBezTo>
                    <a:pt x="2827770" y="1014295"/>
                    <a:pt x="2835840" y="1022365"/>
                    <a:pt x="2835840" y="1032319"/>
                  </a:cubicBezTo>
                  <a:cubicBezTo>
                    <a:pt x="2835840" y="1042274"/>
                    <a:pt x="2827770" y="1050344"/>
                    <a:pt x="2817815" y="1050344"/>
                  </a:cubicBezTo>
                  <a:cubicBezTo>
                    <a:pt x="2807861" y="1050344"/>
                    <a:pt x="2799791" y="1042274"/>
                    <a:pt x="2799791" y="1032319"/>
                  </a:cubicBezTo>
                  <a:cubicBezTo>
                    <a:pt x="2799791" y="1022365"/>
                    <a:pt x="2807861" y="1014295"/>
                    <a:pt x="2817815" y="1014295"/>
                  </a:cubicBezTo>
                  <a:close/>
                  <a:moveTo>
                    <a:pt x="2445310" y="1014295"/>
                  </a:moveTo>
                  <a:cubicBezTo>
                    <a:pt x="2455265" y="1014295"/>
                    <a:pt x="2463335" y="1022365"/>
                    <a:pt x="2463335" y="1032319"/>
                  </a:cubicBezTo>
                  <a:cubicBezTo>
                    <a:pt x="2463335" y="1042274"/>
                    <a:pt x="2455265" y="1050344"/>
                    <a:pt x="2445310" y="1050344"/>
                  </a:cubicBezTo>
                  <a:cubicBezTo>
                    <a:pt x="2435355" y="1050344"/>
                    <a:pt x="2427285" y="1042274"/>
                    <a:pt x="2427285" y="1032319"/>
                  </a:cubicBezTo>
                  <a:cubicBezTo>
                    <a:pt x="2427285" y="1022365"/>
                    <a:pt x="2435355" y="1014295"/>
                    <a:pt x="2445310" y="1014295"/>
                  </a:cubicBezTo>
                  <a:close/>
                  <a:moveTo>
                    <a:pt x="420569" y="1014295"/>
                  </a:moveTo>
                  <a:cubicBezTo>
                    <a:pt x="430524" y="1014295"/>
                    <a:pt x="438594" y="1022365"/>
                    <a:pt x="438594" y="1032319"/>
                  </a:cubicBezTo>
                  <a:cubicBezTo>
                    <a:pt x="438594" y="1042274"/>
                    <a:pt x="430524" y="1050344"/>
                    <a:pt x="420569" y="1050344"/>
                  </a:cubicBezTo>
                  <a:cubicBezTo>
                    <a:pt x="410615" y="1050344"/>
                    <a:pt x="402545" y="1042274"/>
                    <a:pt x="402545" y="1032319"/>
                  </a:cubicBezTo>
                  <a:cubicBezTo>
                    <a:pt x="402545" y="1022365"/>
                    <a:pt x="410615" y="1014295"/>
                    <a:pt x="420569" y="1014295"/>
                  </a:cubicBezTo>
                  <a:close/>
                  <a:moveTo>
                    <a:pt x="1520057" y="1008287"/>
                  </a:moveTo>
                  <a:cubicBezTo>
                    <a:pt x="1530012" y="1008287"/>
                    <a:pt x="1538082" y="1016357"/>
                    <a:pt x="1538082" y="1026312"/>
                  </a:cubicBezTo>
                  <a:cubicBezTo>
                    <a:pt x="1538082" y="1036266"/>
                    <a:pt x="1530012" y="1044336"/>
                    <a:pt x="1520057" y="1044336"/>
                  </a:cubicBezTo>
                  <a:cubicBezTo>
                    <a:pt x="1510103" y="1044336"/>
                    <a:pt x="1502033" y="1036266"/>
                    <a:pt x="1502033" y="1026312"/>
                  </a:cubicBezTo>
                  <a:cubicBezTo>
                    <a:pt x="1502033" y="1016357"/>
                    <a:pt x="1510103" y="1008287"/>
                    <a:pt x="1520057" y="1008287"/>
                  </a:cubicBezTo>
                  <a:close/>
                  <a:moveTo>
                    <a:pt x="1387878" y="1008287"/>
                  </a:moveTo>
                  <a:cubicBezTo>
                    <a:pt x="1397833" y="1008287"/>
                    <a:pt x="1405903" y="1016357"/>
                    <a:pt x="1405903" y="1026312"/>
                  </a:cubicBezTo>
                  <a:cubicBezTo>
                    <a:pt x="1405903" y="1036266"/>
                    <a:pt x="1397833" y="1044336"/>
                    <a:pt x="1387878" y="1044336"/>
                  </a:cubicBezTo>
                  <a:cubicBezTo>
                    <a:pt x="1377924" y="1044336"/>
                    <a:pt x="1369854" y="1036266"/>
                    <a:pt x="1369854" y="1026312"/>
                  </a:cubicBezTo>
                  <a:cubicBezTo>
                    <a:pt x="1369854" y="1016357"/>
                    <a:pt x="1377924" y="1008287"/>
                    <a:pt x="1387878" y="1008287"/>
                  </a:cubicBezTo>
                  <a:close/>
                  <a:moveTo>
                    <a:pt x="534724" y="1008287"/>
                  </a:moveTo>
                  <a:cubicBezTo>
                    <a:pt x="544678" y="1008287"/>
                    <a:pt x="552748" y="1016357"/>
                    <a:pt x="552748" y="1026312"/>
                  </a:cubicBezTo>
                  <a:cubicBezTo>
                    <a:pt x="552748" y="1036266"/>
                    <a:pt x="544678" y="1044336"/>
                    <a:pt x="534724" y="1044336"/>
                  </a:cubicBezTo>
                  <a:cubicBezTo>
                    <a:pt x="524769" y="1044336"/>
                    <a:pt x="516699" y="1036266"/>
                    <a:pt x="516699" y="1026312"/>
                  </a:cubicBezTo>
                  <a:cubicBezTo>
                    <a:pt x="516699" y="1016357"/>
                    <a:pt x="524769" y="1008287"/>
                    <a:pt x="534724" y="1008287"/>
                  </a:cubicBezTo>
                  <a:close/>
                  <a:moveTo>
                    <a:pt x="3016083" y="1002279"/>
                  </a:moveTo>
                  <a:cubicBezTo>
                    <a:pt x="3026038" y="1002279"/>
                    <a:pt x="3034108" y="1010348"/>
                    <a:pt x="3034108" y="1020303"/>
                  </a:cubicBezTo>
                  <a:cubicBezTo>
                    <a:pt x="3034108" y="1030258"/>
                    <a:pt x="3026038" y="1038328"/>
                    <a:pt x="3016083" y="1038328"/>
                  </a:cubicBezTo>
                  <a:cubicBezTo>
                    <a:pt x="3006128" y="1038328"/>
                    <a:pt x="2998058" y="1030258"/>
                    <a:pt x="2998058" y="1020303"/>
                  </a:cubicBezTo>
                  <a:cubicBezTo>
                    <a:pt x="2998058" y="1010348"/>
                    <a:pt x="3006128" y="1002279"/>
                    <a:pt x="3016083" y="1002279"/>
                  </a:cubicBezTo>
                  <a:close/>
                  <a:moveTo>
                    <a:pt x="294398" y="996271"/>
                  </a:moveTo>
                  <a:cubicBezTo>
                    <a:pt x="304353" y="996271"/>
                    <a:pt x="312423" y="1004341"/>
                    <a:pt x="312423" y="1014295"/>
                  </a:cubicBezTo>
                  <a:cubicBezTo>
                    <a:pt x="312423" y="1024250"/>
                    <a:pt x="304353" y="1032320"/>
                    <a:pt x="294398" y="1032320"/>
                  </a:cubicBezTo>
                  <a:cubicBezTo>
                    <a:pt x="284444" y="1032320"/>
                    <a:pt x="276374" y="1024250"/>
                    <a:pt x="276374" y="1014295"/>
                  </a:cubicBezTo>
                  <a:cubicBezTo>
                    <a:pt x="276374" y="1004341"/>
                    <a:pt x="284444" y="996271"/>
                    <a:pt x="294398" y="996271"/>
                  </a:cubicBezTo>
                  <a:close/>
                  <a:moveTo>
                    <a:pt x="3676978" y="990263"/>
                  </a:moveTo>
                  <a:cubicBezTo>
                    <a:pt x="3686933" y="990263"/>
                    <a:pt x="3695003" y="998333"/>
                    <a:pt x="3695003" y="1008287"/>
                  </a:cubicBezTo>
                  <a:cubicBezTo>
                    <a:pt x="3695003" y="1018242"/>
                    <a:pt x="3686933" y="1026312"/>
                    <a:pt x="3676978" y="1026312"/>
                  </a:cubicBezTo>
                  <a:cubicBezTo>
                    <a:pt x="3667023" y="1026312"/>
                    <a:pt x="3658953" y="1018242"/>
                    <a:pt x="3658953" y="1008287"/>
                  </a:cubicBezTo>
                  <a:cubicBezTo>
                    <a:pt x="3658953" y="998333"/>
                    <a:pt x="3667023" y="990263"/>
                    <a:pt x="3676978" y="990263"/>
                  </a:cubicBezTo>
                  <a:close/>
                  <a:moveTo>
                    <a:pt x="3544799" y="984255"/>
                  </a:moveTo>
                  <a:cubicBezTo>
                    <a:pt x="3554754" y="984255"/>
                    <a:pt x="3562824" y="992325"/>
                    <a:pt x="3562824" y="1002279"/>
                  </a:cubicBezTo>
                  <a:cubicBezTo>
                    <a:pt x="3562824" y="1012234"/>
                    <a:pt x="3554754" y="1020304"/>
                    <a:pt x="3544799" y="1020304"/>
                  </a:cubicBezTo>
                  <a:cubicBezTo>
                    <a:pt x="3534844" y="1020304"/>
                    <a:pt x="3526775" y="1012234"/>
                    <a:pt x="3526775" y="1002279"/>
                  </a:cubicBezTo>
                  <a:cubicBezTo>
                    <a:pt x="3526775" y="992325"/>
                    <a:pt x="3534844" y="984255"/>
                    <a:pt x="3544799" y="984255"/>
                  </a:cubicBezTo>
                  <a:close/>
                  <a:moveTo>
                    <a:pt x="708959" y="984255"/>
                  </a:moveTo>
                  <a:cubicBezTo>
                    <a:pt x="718914" y="984255"/>
                    <a:pt x="726984" y="992325"/>
                    <a:pt x="726984" y="1002279"/>
                  </a:cubicBezTo>
                  <a:cubicBezTo>
                    <a:pt x="726984" y="1012234"/>
                    <a:pt x="718914" y="1020304"/>
                    <a:pt x="708959" y="1020304"/>
                  </a:cubicBezTo>
                  <a:cubicBezTo>
                    <a:pt x="699005" y="1020304"/>
                    <a:pt x="690935" y="1012234"/>
                    <a:pt x="690935" y="1002279"/>
                  </a:cubicBezTo>
                  <a:cubicBezTo>
                    <a:pt x="690935" y="992325"/>
                    <a:pt x="699005" y="984255"/>
                    <a:pt x="708959" y="984255"/>
                  </a:cubicBezTo>
                  <a:close/>
                  <a:moveTo>
                    <a:pt x="3803149" y="978247"/>
                  </a:moveTo>
                  <a:cubicBezTo>
                    <a:pt x="3813104" y="978247"/>
                    <a:pt x="3821174" y="986317"/>
                    <a:pt x="3821174" y="996272"/>
                  </a:cubicBezTo>
                  <a:cubicBezTo>
                    <a:pt x="3821174" y="1006226"/>
                    <a:pt x="3813104" y="1014296"/>
                    <a:pt x="3803149" y="1014296"/>
                  </a:cubicBezTo>
                  <a:cubicBezTo>
                    <a:pt x="3793195" y="1014296"/>
                    <a:pt x="3785125" y="1006226"/>
                    <a:pt x="3785125" y="996272"/>
                  </a:cubicBezTo>
                  <a:cubicBezTo>
                    <a:pt x="3785125" y="986317"/>
                    <a:pt x="3793195" y="978247"/>
                    <a:pt x="3803149" y="978247"/>
                  </a:cubicBezTo>
                  <a:close/>
                  <a:moveTo>
                    <a:pt x="1003358" y="978247"/>
                  </a:moveTo>
                  <a:cubicBezTo>
                    <a:pt x="1013313" y="978247"/>
                    <a:pt x="1021383" y="986317"/>
                    <a:pt x="1021383" y="996272"/>
                  </a:cubicBezTo>
                  <a:cubicBezTo>
                    <a:pt x="1021383" y="1006226"/>
                    <a:pt x="1013313" y="1014296"/>
                    <a:pt x="1003358" y="1014296"/>
                  </a:cubicBezTo>
                  <a:cubicBezTo>
                    <a:pt x="993404" y="1014296"/>
                    <a:pt x="985334" y="1006226"/>
                    <a:pt x="985334" y="996272"/>
                  </a:cubicBezTo>
                  <a:cubicBezTo>
                    <a:pt x="985334" y="986317"/>
                    <a:pt x="993404" y="978247"/>
                    <a:pt x="1003358" y="978247"/>
                  </a:cubicBezTo>
                  <a:close/>
                  <a:moveTo>
                    <a:pt x="3196327" y="972238"/>
                  </a:moveTo>
                  <a:cubicBezTo>
                    <a:pt x="3206282" y="972238"/>
                    <a:pt x="3214352" y="980307"/>
                    <a:pt x="3214352" y="990262"/>
                  </a:cubicBezTo>
                  <a:cubicBezTo>
                    <a:pt x="3214352" y="1000217"/>
                    <a:pt x="3206282" y="1008287"/>
                    <a:pt x="3196327" y="1008287"/>
                  </a:cubicBezTo>
                  <a:cubicBezTo>
                    <a:pt x="3186372" y="1008287"/>
                    <a:pt x="3178302" y="1000217"/>
                    <a:pt x="3178302" y="990262"/>
                  </a:cubicBezTo>
                  <a:cubicBezTo>
                    <a:pt x="3178302" y="980307"/>
                    <a:pt x="3186372" y="972238"/>
                    <a:pt x="3196327" y="972238"/>
                  </a:cubicBezTo>
                  <a:close/>
                  <a:moveTo>
                    <a:pt x="1183602" y="972238"/>
                  </a:moveTo>
                  <a:cubicBezTo>
                    <a:pt x="1193557" y="972238"/>
                    <a:pt x="1201627" y="980307"/>
                    <a:pt x="1201627" y="990262"/>
                  </a:cubicBezTo>
                  <a:cubicBezTo>
                    <a:pt x="1201627" y="1000217"/>
                    <a:pt x="1193557" y="1008287"/>
                    <a:pt x="1183602" y="1008287"/>
                  </a:cubicBezTo>
                  <a:cubicBezTo>
                    <a:pt x="1173648" y="1008287"/>
                    <a:pt x="1165578" y="1000217"/>
                    <a:pt x="1165578" y="990262"/>
                  </a:cubicBezTo>
                  <a:cubicBezTo>
                    <a:pt x="1165578" y="980307"/>
                    <a:pt x="1173648" y="972238"/>
                    <a:pt x="1183602" y="972238"/>
                  </a:cubicBezTo>
                  <a:close/>
                  <a:moveTo>
                    <a:pt x="2271074" y="960222"/>
                  </a:moveTo>
                  <a:cubicBezTo>
                    <a:pt x="2281029" y="960222"/>
                    <a:pt x="2289099" y="968292"/>
                    <a:pt x="2289099" y="978246"/>
                  </a:cubicBezTo>
                  <a:cubicBezTo>
                    <a:pt x="2289099" y="988201"/>
                    <a:pt x="2281029" y="996271"/>
                    <a:pt x="2271074" y="996271"/>
                  </a:cubicBezTo>
                  <a:cubicBezTo>
                    <a:pt x="2261120" y="996271"/>
                    <a:pt x="2253050" y="988201"/>
                    <a:pt x="2253050" y="978246"/>
                  </a:cubicBezTo>
                  <a:cubicBezTo>
                    <a:pt x="2253050" y="968292"/>
                    <a:pt x="2261120" y="960222"/>
                    <a:pt x="2271074" y="960222"/>
                  </a:cubicBezTo>
                  <a:close/>
                  <a:moveTo>
                    <a:pt x="1658245" y="960222"/>
                  </a:moveTo>
                  <a:cubicBezTo>
                    <a:pt x="1668200" y="960222"/>
                    <a:pt x="1676270" y="968292"/>
                    <a:pt x="1676270" y="978246"/>
                  </a:cubicBezTo>
                  <a:cubicBezTo>
                    <a:pt x="1676270" y="988201"/>
                    <a:pt x="1668200" y="996271"/>
                    <a:pt x="1658245" y="996271"/>
                  </a:cubicBezTo>
                  <a:cubicBezTo>
                    <a:pt x="1648291" y="996271"/>
                    <a:pt x="1640221" y="988201"/>
                    <a:pt x="1640221" y="978246"/>
                  </a:cubicBezTo>
                  <a:cubicBezTo>
                    <a:pt x="1640221" y="968292"/>
                    <a:pt x="1648291" y="960222"/>
                    <a:pt x="1658245" y="960222"/>
                  </a:cubicBezTo>
                  <a:close/>
                  <a:moveTo>
                    <a:pt x="1958651" y="954214"/>
                  </a:moveTo>
                  <a:cubicBezTo>
                    <a:pt x="1968606" y="954214"/>
                    <a:pt x="1976676" y="962284"/>
                    <a:pt x="1976676" y="972238"/>
                  </a:cubicBezTo>
                  <a:cubicBezTo>
                    <a:pt x="1976676" y="982193"/>
                    <a:pt x="1968606" y="990263"/>
                    <a:pt x="1958651" y="990263"/>
                  </a:cubicBezTo>
                  <a:cubicBezTo>
                    <a:pt x="1948697" y="990263"/>
                    <a:pt x="1940627" y="982193"/>
                    <a:pt x="1940627" y="972238"/>
                  </a:cubicBezTo>
                  <a:cubicBezTo>
                    <a:pt x="1940627" y="962284"/>
                    <a:pt x="1948697" y="954214"/>
                    <a:pt x="1958651" y="954214"/>
                  </a:cubicBezTo>
                  <a:close/>
                  <a:moveTo>
                    <a:pt x="2631562" y="948206"/>
                  </a:moveTo>
                  <a:cubicBezTo>
                    <a:pt x="2641517" y="948206"/>
                    <a:pt x="2649587" y="956276"/>
                    <a:pt x="2649587" y="966231"/>
                  </a:cubicBezTo>
                  <a:cubicBezTo>
                    <a:pt x="2649587" y="976185"/>
                    <a:pt x="2641517" y="984255"/>
                    <a:pt x="2631562" y="984255"/>
                  </a:cubicBezTo>
                  <a:cubicBezTo>
                    <a:pt x="2621608" y="984255"/>
                    <a:pt x="2613538" y="976185"/>
                    <a:pt x="2613538" y="966231"/>
                  </a:cubicBezTo>
                  <a:cubicBezTo>
                    <a:pt x="2613538" y="956276"/>
                    <a:pt x="2621608" y="948206"/>
                    <a:pt x="2631562" y="948206"/>
                  </a:cubicBezTo>
                  <a:close/>
                  <a:moveTo>
                    <a:pt x="1838489" y="948206"/>
                  </a:moveTo>
                  <a:cubicBezTo>
                    <a:pt x="1848444" y="948206"/>
                    <a:pt x="1856514" y="956276"/>
                    <a:pt x="1856514" y="966231"/>
                  </a:cubicBezTo>
                  <a:cubicBezTo>
                    <a:pt x="1856514" y="976185"/>
                    <a:pt x="1848444" y="984255"/>
                    <a:pt x="1838489" y="984255"/>
                  </a:cubicBezTo>
                  <a:cubicBezTo>
                    <a:pt x="1828535" y="984255"/>
                    <a:pt x="1820465" y="976185"/>
                    <a:pt x="1820465" y="966231"/>
                  </a:cubicBezTo>
                  <a:cubicBezTo>
                    <a:pt x="1820465" y="956276"/>
                    <a:pt x="1828535" y="948206"/>
                    <a:pt x="1838489" y="948206"/>
                  </a:cubicBezTo>
                  <a:close/>
                  <a:moveTo>
                    <a:pt x="3430644" y="942198"/>
                  </a:moveTo>
                  <a:cubicBezTo>
                    <a:pt x="3440599" y="942198"/>
                    <a:pt x="3448669" y="950267"/>
                    <a:pt x="3448669" y="960222"/>
                  </a:cubicBezTo>
                  <a:cubicBezTo>
                    <a:pt x="3448669" y="970177"/>
                    <a:pt x="3440599" y="978247"/>
                    <a:pt x="3430644" y="978247"/>
                  </a:cubicBezTo>
                  <a:cubicBezTo>
                    <a:pt x="3420689" y="978247"/>
                    <a:pt x="3412620" y="970177"/>
                    <a:pt x="3412620" y="960222"/>
                  </a:cubicBezTo>
                  <a:cubicBezTo>
                    <a:pt x="3412620" y="950267"/>
                    <a:pt x="3420689" y="942198"/>
                    <a:pt x="3430644" y="942198"/>
                  </a:cubicBezTo>
                  <a:close/>
                  <a:moveTo>
                    <a:pt x="2529424" y="942198"/>
                  </a:moveTo>
                  <a:cubicBezTo>
                    <a:pt x="2539379" y="942198"/>
                    <a:pt x="2547449" y="950267"/>
                    <a:pt x="2547449" y="960222"/>
                  </a:cubicBezTo>
                  <a:cubicBezTo>
                    <a:pt x="2547449" y="970177"/>
                    <a:pt x="2539379" y="978247"/>
                    <a:pt x="2529424" y="978247"/>
                  </a:cubicBezTo>
                  <a:cubicBezTo>
                    <a:pt x="2519469" y="978247"/>
                    <a:pt x="2511400" y="970177"/>
                    <a:pt x="2511400" y="960222"/>
                  </a:cubicBezTo>
                  <a:cubicBezTo>
                    <a:pt x="2511400" y="950267"/>
                    <a:pt x="2519469" y="942198"/>
                    <a:pt x="2529424" y="942198"/>
                  </a:cubicBezTo>
                  <a:close/>
                  <a:moveTo>
                    <a:pt x="889203" y="942198"/>
                  </a:moveTo>
                  <a:cubicBezTo>
                    <a:pt x="899158" y="942198"/>
                    <a:pt x="907228" y="950267"/>
                    <a:pt x="907228" y="960222"/>
                  </a:cubicBezTo>
                  <a:cubicBezTo>
                    <a:pt x="907228" y="970177"/>
                    <a:pt x="899158" y="978247"/>
                    <a:pt x="889203" y="978247"/>
                  </a:cubicBezTo>
                  <a:cubicBezTo>
                    <a:pt x="879249" y="978247"/>
                    <a:pt x="871179" y="970177"/>
                    <a:pt x="871179" y="960222"/>
                  </a:cubicBezTo>
                  <a:cubicBezTo>
                    <a:pt x="871179" y="950267"/>
                    <a:pt x="879249" y="942198"/>
                    <a:pt x="889203" y="942198"/>
                  </a:cubicBezTo>
                  <a:close/>
                  <a:moveTo>
                    <a:pt x="3935328" y="936190"/>
                  </a:moveTo>
                  <a:cubicBezTo>
                    <a:pt x="3945283" y="936190"/>
                    <a:pt x="3953353" y="944260"/>
                    <a:pt x="3953353" y="954214"/>
                  </a:cubicBezTo>
                  <a:cubicBezTo>
                    <a:pt x="3953353" y="964169"/>
                    <a:pt x="3945283" y="972239"/>
                    <a:pt x="3935328" y="972239"/>
                  </a:cubicBezTo>
                  <a:cubicBezTo>
                    <a:pt x="3925373" y="972239"/>
                    <a:pt x="3917304" y="964169"/>
                    <a:pt x="3917304" y="954214"/>
                  </a:cubicBezTo>
                  <a:cubicBezTo>
                    <a:pt x="3917304" y="944260"/>
                    <a:pt x="3925373" y="936190"/>
                    <a:pt x="3935328" y="936190"/>
                  </a:cubicBezTo>
                  <a:close/>
                  <a:moveTo>
                    <a:pt x="1303765" y="936190"/>
                  </a:moveTo>
                  <a:cubicBezTo>
                    <a:pt x="1313720" y="936190"/>
                    <a:pt x="1321790" y="944260"/>
                    <a:pt x="1321790" y="954214"/>
                  </a:cubicBezTo>
                  <a:cubicBezTo>
                    <a:pt x="1321790" y="964169"/>
                    <a:pt x="1313720" y="972239"/>
                    <a:pt x="1303765" y="972239"/>
                  </a:cubicBezTo>
                  <a:cubicBezTo>
                    <a:pt x="1293811" y="972239"/>
                    <a:pt x="1285741" y="964169"/>
                    <a:pt x="1285741" y="954214"/>
                  </a:cubicBezTo>
                  <a:cubicBezTo>
                    <a:pt x="1285741" y="944260"/>
                    <a:pt x="1293811" y="936190"/>
                    <a:pt x="1303765" y="936190"/>
                  </a:cubicBezTo>
                  <a:close/>
                  <a:moveTo>
                    <a:pt x="600813" y="924173"/>
                  </a:moveTo>
                  <a:cubicBezTo>
                    <a:pt x="610768" y="924173"/>
                    <a:pt x="618838" y="932243"/>
                    <a:pt x="618838" y="942197"/>
                  </a:cubicBezTo>
                  <a:cubicBezTo>
                    <a:pt x="618838" y="952152"/>
                    <a:pt x="610768" y="960222"/>
                    <a:pt x="600813" y="960222"/>
                  </a:cubicBezTo>
                  <a:cubicBezTo>
                    <a:pt x="590859" y="960222"/>
                    <a:pt x="582789" y="952152"/>
                    <a:pt x="582789" y="942197"/>
                  </a:cubicBezTo>
                  <a:cubicBezTo>
                    <a:pt x="582789" y="932243"/>
                    <a:pt x="590859" y="924173"/>
                    <a:pt x="600813" y="924173"/>
                  </a:cubicBezTo>
                  <a:close/>
                  <a:moveTo>
                    <a:pt x="3088181" y="918165"/>
                  </a:moveTo>
                  <a:cubicBezTo>
                    <a:pt x="3098136" y="918165"/>
                    <a:pt x="3106206" y="926235"/>
                    <a:pt x="3106206" y="936190"/>
                  </a:cubicBezTo>
                  <a:cubicBezTo>
                    <a:pt x="3106206" y="946144"/>
                    <a:pt x="3098136" y="954214"/>
                    <a:pt x="3088181" y="954214"/>
                  </a:cubicBezTo>
                  <a:cubicBezTo>
                    <a:pt x="3078227" y="954214"/>
                    <a:pt x="3070157" y="946144"/>
                    <a:pt x="3070157" y="936190"/>
                  </a:cubicBezTo>
                  <a:cubicBezTo>
                    <a:pt x="3070157" y="926235"/>
                    <a:pt x="3078227" y="918165"/>
                    <a:pt x="3088181" y="918165"/>
                  </a:cubicBezTo>
                  <a:close/>
                  <a:moveTo>
                    <a:pt x="2883904" y="918165"/>
                  </a:moveTo>
                  <a:cubicBezTo>
                    <a:pt x="2893859" y="918165"/>
                    <a:pt x="2901929" y="926235"/>
                    <a:pt x="2901929" y="936190"/>
                  </a:cubicBezTo>
                  <a:cubicBezTo>
                    <a:pt x="2901929" y="946144"/>
                    <a:pt x="2893859" y="954214"/>
                    <a:pt x="2883904" y="954214"/>
                  </a:cubicBezTo>
                  <a:cubicBezTo>
                    <a:pt x="2873949" y="954214"/>
                    <a:pt x="2865880" y="946144"/>
                    <a:pt x="2865880" y="936190"/>
                  </a:cubicBezTo>
                  <a:cubicBezTo>
                    <a:pt x="2865880" y="926235"/>
                    <a:pt x="2873949" y="918165"/>
                    <a:pt x="2883904" y="918165"/>
                  </a:cubicBezTo>
                  <a:close/>
                  <a:moveTo>
                    <a:pt x="2379221" y="918165"/>
                  </a:moveTo>
                  <a:cubicBezTo>
                    <a:pt x="2389176" y="918165"/>
                    <a:pt x="2397246" y="926235"/>
                    <a:pt x="2397246" y="936190"/>
                  </a:cubicBezTo>
                  <a:cubicBezTo>
                    <a:pt x="2397246" y="946144"/>
                    <a:pt x="2389176" y="954214"/>
                    <a:pt x="2379221" y="954214"/>
                  </a:cubicBezTo>
                  <a:cubicBezTo>
                    <a:pt x="2369267" y="954214"/>
                    <a:pt x="2361197" y="946144"/>
                    <a:pt x="2361197" y="936190"/>
                  </a:cubicBezTo>
                  <a:cubicBezTo>
                    <a:pt x="2361197" y="926235"/>
                    <a:pt x="2369267" y="918165"/>
                    <a:pt x="2379221" y="918165"/>
                  </a:cubicBezTo>
                  <a:close/>
                  <a:moveTo>
                    <a:pt x="2120871" y="918165"/>
                  </a:moveTo>
                  <a:cubicBezTo>
                    <a:pt x="2130826" y="918165"/>
                    <a:pt x="2138896" y="926235"/>
                    <a:pt x="2138896" y="936190"/>
                  </a:cubicBezTo>
                  <a:cubicBezTo>
                    <a:pt x="2138896" y="946144"/>
                    <a:pt x="2130826" y="954214"/>
                    <a:pt x="2120871" y="954214"/>
                  </a:cubicBezTo>
                  <a:cubicBezTo>
                    <a:pt x="2110917" y="954214"/>
                    <a:pt x="2102847" y="946144"/>
                    <a:pt x="2102847" y="936190"/>
                  </a:cubicBezTo>
                  <a:cubicBezTo>
                    <a:pt x="2102847" y="926235"/>
                    <a:pt x="2110917" y="918165"/>
                    <a:pt x="2120871" y="918165"/>
                  </a:cubicBezTo>
                  <a:close/>
                  <a:moveTo>
                    <a:pt x="3328506" y="906149"/>
                  </a:moveTo>
                  <a:cubicBezTo>
                    <a:pt x="3338461" y="906149"/>
                    <a:pt x="3346531" y="914219"/>
                    <a:pt x="3346531" y="924173"/>
                  </a:cubicBezTo>
                  <a:cubicBezTo>
                    <a:pt x="3346531" y="934128"/>
                    <a:pt x="3338461" y="942198"/>
                    <a:pt x="3328506" y="942198"/>
                  </a:cubicBezTo>
                  <a:cubicBezTo>
                    <a:pt x="3318552" y="942198"/>
                    <a:pt x="3310482" y="934128"/>
                    <a:pt x="3310482" y="924173"/>
                  </a:cubicBezTo>
                  <a:cubicBezTo>
                    <a:pt x="3310482" y="914219"/>
                    <a:pt x="3318552" y="906149"/>
                    <a:pt x="3328506" y="906149"/>
                  </a:cubicBezTo>
                  <a:close/>
                  <a:moveTo>
                    <a:pt x="1508041" y="900141"/>
                  </a:moveTo>
                  <a:cubicBezTo>
                    <a:pt x="1517996" y="900141"/>
                    <a:pt x="1526066" y="908211"/>
                    <a:pt x="1526066" y="918165"/>
                  </a:cubicBezTo>
                  <a:cubicBezTo>
                    <a:pt x="1526066" y="928120"/>
                    <a:pt x="1517996" y="936190"/>
                    <a:pt x="1508041" y="936190"/>
                  </a:cubicBezTo>
                  <a:cubicBezTo>
                    <a:pt x="1498087" y="936190"/>
                    <a:pt x="1490017" y="928120"/>
                    <a:pt x="1490017" y="918165"/>
                  </a:cubicBezTo>
                  <a:cubicBezTo>
                    <a:pt x="1490017" y="908211"/>
                    <a:pt x="1498087" y="900141"/>
                    <a:pt x="1508041" y="900141"/>
                  </a:cubicBezTo>
                  <a:close/>
                  <a:moveTo>
                    <a:pt x="2739709" y="894133"/>
                  </a:moveTo>
                  <a:cubicBezTo>
                    <a:pt x="2749664" y="894133"/>
                    <a:pt x="2757734" y="902203"/>
                    <a:pt x="2757734" y="912157"/>
                  </a:cubicBezTo>
                  <a:cubicBezTo>
                    <a:pt x="2757734" y="922112"/>
                    <a:pt x="2749664" y="930182"/>
                    <a:pt x="2739709" y="930182"/>
                  </a:cubicBezTo>
                  <a:cubicBezTo>
                    <a:pt x="2729754" y="930182"/>
                    <a:pt x="2721685" y="922112"/>
                    <a:pt x="2721685" y="912157"/>
                  </a:cubicBezTo>
                  <a:cubicBezTo>
                    <a:pt x="2721685" y="902203"/>
                    <a:pt x="2729754" y="894133"/>
                    <a:pt x="2739709" y="894133"/>
                  </a:cubicBezTo>
                  <a:close/>
                  <a:moveTo>
                    <a:pt x="360487" y="894133"/>
                  </a:moveTo>
                  <a:cubicBezTo>
                    <a:pt x="370442" y="894133"/>
                    <a:pt x="378512" y="902203"/>
                    <a:pt x="378512" y="912157"/>
                  </a:cubicBezTo>
                  <a:cubicBezTo>
                    <a:pt x="378512" y="922112"/>
                    <a:pt x="370442" y="930182"/>
                    <a:pt x="360487" y="930182"/>
                  </a:cubicBezTo>
                  <a:cubicBezTo>
                    <a:pt x="350533" y="930182"/>
                    <a:pt x="342463" y="922112"/>
                    <a:pt x="342463" y="912157"/>
                  </a:cubicBezTo>
                  <a:cubicBezTo>
                    <a:pt x="342463" y="902203"/>
                    <a:pt x="350533" y="894133"/>
                    <a:pt x="360487" y="894133"/>
                  </a:cubicBezTo>
                  <a:close/>
                  <a:moveTo>
                    <a:pt x="1093480" y="888125"/>
                  </a:moveTo>
                  <a:cubicBezTo>
                    <a:pt x="1103435" y="888125"/>
                    <a:pt x="1111505" y="896195"/>
                    <a:pt x="1111505" y="906150"/>
                  </a:cubicBezTo>
                  <a:cubicBezTo>
                    <a:pt x="1111505" y="916104"/>
                    <a:pt x="1103435" y="924174"/>
                    <a:pt x="1093480" y="924174"/>
                  </a:cubicBezTo>
                  <a:cubicBezTo>
                    <a:pt x="1083526" y="924174"/>
                    <a:pt x="1075456" y="916104"/>
                    <a:pt x="1075456" y="906150"/>
                  </a:cubicBezTo>
                  <a:cubicBezTo>
                    <a:pt x="1075456" y="896195"/>
                    <a:pt x="1083526" y="888125"/>
                    <a:pt x="1093480" y="888125"/>
                  </a:cubicBezTo>
                  <a:close/>
                  <a:moveTo>
                    <a:pt x="3707019" y="882116"/>
                  </a:moveTo>
                  <a:cubicBezTo>
                    <a:pt x="3716974" y="882116"/>
                    <a:pt x="3725044" y="890185"/>
                    <a:pt x="3725044" y="900140"/>
                  </a:cubicBezTo>
                  <a:cubicBezTo>
                    <a:pt x="3725044" y="910095"/>
                    <a:pt x="3716974" y="918165"/>
                    <a:pt x="3707019" y="918165"/>
                  </a:cubicBezTo>
                  <a:cubicBezTo>
                    <a:pt x="3697064" y="918165"/>
                    <a:pt x="3688994" y="910095"/>
                    <a:pt x="3688994" y="900140"/>
                  </a:cubicBezTo>
                  <a:cubicBezTo>
                    <a:pt x="3688994" y="890185"/>
                    <a:pt x="3697064" y="882116"/>
                    <a:pt x="3707019" y="882116"/>
                  </a:cubicBezTo>
                  <a:close/>
                  <a:moveTo>
                    <a:pt x="1742358" y="882116"/>
                  </a:moveTo>
                  <a:cubicBezTo>
                    <a:pt x="1752313" y="882116"/>
                    <a:pt x="1760383" y="890185"/>
                    <a:pt x="1760383" y="900140"/>
                  </a:cubicBezTo>
                  <a:cubicBezTo>
                    <a:pt x="1760383" y="910095"/>
                    <a:pt x="1752313" y="918165"/>
                    <a:pt x="1742358" y="918165"/>
                  </a:cubicBezTo>
                  <a:cubicBezTo>
                    <a:pt x="1732404" y="918165"/>
                    <a:pt x="1724334" y="910095"/>
                    <a:pt x="1724334" y="900140"/>
                  </a:cubicBezTo>
                  <a:cubicBezTo>
                    <a:pt x="1724334" y="890185"/>
                    <a:pt x="1732404" y="882116"/>
                    <a:pt x="1742358" y="882116"/>
                  </a:cubicBezTo>
                  <a:close/>
                  <a:moveTo>
                    <a:pt x="757024" y="876108"/>
                  </a:moveTo>
                  <a:cubicBezTo>
                    <a:pt x="766979" y="876108"/>
                    <a:pt x="775049" y="884178"/>
                    <a:pt x="775049" y="894132"/>
                  </a:cubicBezTo>
                  <a:cubicBezTo>
                    <a:pt x="775049" y="904087"/>
                    <a:pt x="766979" y="912157"/>
                    <a:pt x="757024" y="912157"/>
                  </a:cubicBezTo>
                  <a:cubicBezTo>
                    <a:pt x="747070" y="912157"/>
                    <a:pt x="739000" y="904087"/>
                    <a:pt x="739000" y="894132"/>
                  </a:cubicBezTo>
                  <a:cubicBezTo>
                    <a:pt x="739000" y="884178"/>
                    <a:pt x="747070" y="876108"/>
                    <a:pt x="757024" y="876108"/>
                  </a:cubicBezTo>
                  <a:close/>
                  <a:moveTo>
                    <a:pt x="6104265" y="870100"/>
                  </a:moveTo>
                  <a:cubicBezTo>
                    <a:pt x="6114220" y="870100"/>
                    <a:pt x="6122290" y="878170"/>
                    <a:pt x="6122290" y="888124"/>
                  </a:cubicBezTo>
                  <a:cubicBezTo>
                    <a:pt x="6122290" y="898079"/>
                    <a:pt x="6114220" y="906149"/>
                    <a:pt x="6104265" y="906149"/>
                  </a:cubicBezTo>
                  <a:cubicBezTo>
                    <a:pt x="6094310" y="906149"/>
                    <a:pt x="6086241" y="898079"/>
                    <a:pt x="6086241" y="888124"/>
                  </a:cubicBezTo>
                  <a:cubicBezTo>
                    <a:pt x="6086241" y="878170"/>
                    <a:pt x="6094310" y="870100"/>
                    <a:pt x="6104265" y="870100"/>
                  </a:cubicBezTo>
                  <a:close/>
                  <a:moveTo>
                    <a:pt x="474642" y="870100"/>
                  </a:moveTo>
                  <a:cubicBezTo>
                    <a:pt x="484597" y="870100"/>
                    <a:pt x="492667" y="878170"/>
                    <a:pt x="492667" y="888124"/>
                  </a:cubicBezTo>
                  <a:cubicBezTo>
                    <a:pt x="492667" y="898079"/>
                    <a:pt x="484597" y="906149"/>
                    <a:pt x="474642" y="906149"/>
                  </a:cubicBezTo>
                  <a:cubicBezTo>
                    <a:pt x="464688" y="906149"/>
                    <a:pt x="456618" y="898079"/>
                    <a:pt x="456618" y="888124"/>
                  </a:cubicBezTo>
                  <a:cubicBezTo>
                    <a:pt x="456618" y="878170"/>
                    <a:pt x="464688" y="870100"/>
                    <a:pt x="474642" y="870100"/>
                  </a:cubicBezTo>
                  <a:close/>
                  <a:moveTo>
                    <a:pt x="3568832" y="864092"/>
                  </a:moveTo>
                  <a:cubicBezTo>
                    <a:pt x="3578787" y="864092"/>
                    <a:pt x="3586857" y="872162"/>
                    <a:pt x="3586857" y="882116"/>
                  </a:cubicBezTo>
                  <a:cubicBezTo>
                    <a:pt x="3586857" y="892071"/>
                    <a:pt x="3578787" y="900141"/>
                    <a:pt x="3568832" y="900141"/>
                  </a:cubicBezTo>
                  <a:cubicBezTo>
                    <a:pt x="3558878" y="900141"/>
                    <a:pt x="3550808" y="892071"/>
                    <a:pt x="3550808" y="882116"/>
                  </a:cubicBezTo>
                  <a:cubicBezTo>
                    <a:pt x="3550808" y="872162"/>
                    <a:pt x="3558878" y="864092"/>
                    <a:pt x="3568832" y="864092"/>
                  </a:cubicBezTo>
                  <a:close/>
                  <a:moveTo>
                    <a:pt x="2980034" y="864092"/>
                  </a:moveTo>
                  <a:cubicBezTo>
                    <a:pt x="2989989" y="864092"/>
                    <a:pt x="2998059" y="872162"/>
                    <a:pt x="2998059" y="882116"/>
                  </a:cubicBezTo>
                  <a:cubicBezTo>
                    <a:pt x="2998059" y="892071"/>
                    <a:pt x="2989989" y="900141"/>
                    <a:pt x="2980034" y="900141"/>
                  </a:cubicBezTo>
                  <a:cubicBezTo>
                    <a:pt x="2970079" y="900141"/>
                    <a:pt x="2962010" y="892071"/>
                    <a:pt x="2962010" y="882116"/>
                  </a:cubicBezTo>
                  <a:cubicBezTo>
                    <a:pt x="2962010" y="872162"/>
                    <a:pt x="2970079" y="864092"/>
                    <a:pt x="2980034" y="864092"/>
                  </a:cubicBezTo>
                  <a:close/>
                  <a:moveTo>
                    <a:pt x="2012725" y="864092"/>
                  </a:moveTo>
                  <a:cubicBezTo>
                    <a:pt x="2022680" y="864092"/>
                    <a:pt x="2030750" y="872162"/>
                    <a:pt x="2030750" y="882116"/>
                  </a:cubicBezTo>
                  <a:cubicBezTo>
                    <a:pt x="2030750" y="892071"/>
                    <a:pt x="2022680" y="900141"/>
                    <a:pt x="2012725" y="900141"/>
                  </a:cubicBezTo>
                  <a:cubicBezTo>
                    <a:pt x="2002771" y="900141"/>
                    <a:pt x="1994701" y="892071"/>
                    <a:pt x="1994701" y="882116"/>
                  </a:cubicBezTo>
                  <a:cubicBezTo>
                    <a:pt x="1994701" y="872162"/>
                    <a:pt x="2002771" y="864092"/>
                    <a:pt x="2012725" y="864092"/>
                  </a:cubicBezTo>
                  <a:close/>
                  <a:moveTo>
                    <a:pt x="3857222" y="858084"/>
                  </a:moveTo>
                  <a:cubicBezTo>
                    <a:pt x="3867177" y="858084"/>
                    <a:pt x="3875247" y="866154"/>
                    <a:pt x="3875247" y="876109"/>
                  </a:cubicBezTo>
                  <a:cubicBezTo>
                    <a:pt x="3875247" y="886063"/>
                    <a:pt x="3867177" y="894133"/>
                    <a:pt x="3857222" y="894133"/>
                  </a:cubicBezTo>
                  <a:cubicBezTo>
                    <a:pt x="3847267" y="894133"/>
                    <a:pt x="3839197" y="886063"/>
                    <a:pt x="3839197" y="876109"/>
                  </a:cubicBezTo>
                  <a:cubicBezTo>
                    <a:pt x="3839197" y="866154"/>
                    <a:pt x="3847267" y="858084"/>
                    <a:pt x="3857222" y="858084"/>
                  </a:cubicBezTo>
                  <a:close/>
                  <a:moveTo>
                    <a:pt x="1387878" y="858084"/>
                  </a:moveTo>
                  <a:cubicBezTo>
                    <a:pt x="1397833" y="858084"/>
                    <a:pt x="1405903" y="866154"/>
                    <a:pt x="1405903" y="876109"/>
                  </a:cubicBezTo>
                  <a:cubicBezTo>
                    <a:pt x="1405903" y="886063"/>
                    <a:pt x="1397833" y="894133"/>
                    <a:pt x="1387878" y="894133"/>
                  </a:cubicBezTo>
                  <a:cubicBezTo>
                    <a:pt x="1377924" y="894133"/>
                    <a:pt x="1369854" y="886063"/>
                    <a:pt x="1369854" y="876109"/>
                  </a:cubicBezTo>
                  <a:cubicBezTo>
                    <a:pt x="1369854" y="866154"/>
                    <a:pt x="1377924" y="858084"/>
                    <a:pt x="1387878" y="858084"/>
                  </a:cubicBezTo>
                  <a:close/>
                  <a:moveTo>
                    <a:pt x="973317" y="852076"/>
                  </a:moveTo>
                  <a:cubicBezTo>
                    <a:pt x="983272" y="852076"/>
                    <a:pt x="991342" y="860145"/>
                    <a:pt x="991342" y="870100"/>
                  </a:cubicBezTo>
                  <a:cubicBezTo>
                    <a:pt x="991342" y="880055"/>
                    <a:pt x="983272" y="888125"/>
                    <a:pt x="973317" y="888125"/>
                  </a:cubicBezTo>
                  <a:cubicBezTo>
                    <a:pt x="963363" y="888125"/>
                    <a:pt x="955293" y="880055"/>
                    <a:pt x="955293" y="870100"/>
                  </a:cubicBezTo>
                  <a:cubicBezTo>
                    <a:pt x="955293" y="860145"/>
                    <a:pt x="963363" y="852076"/>
                    <a:pt x="973317" y="852076"/>
                  </a:cubicBezTo>
                  <a:close/>
                  <a:moveTo>
                    <a:pt x="228308" y="852076"/>
                  </a:moveTo>
                  <a:cubicBezTo>
                    <a:pt x="238263" y="852076"/>
                    <a:pt x="246333" y="860145"/>
                    <a:pt x="246333" y="870100"/>
                  </a:cubicBezTo>
                  <a:cubicBezTo>
                    <a:pt x="246333" y="880055"/>
                    <a:pt x="238263" y="888125"/>
                    <a:pt x="228308" y="888125"/>
                  </a:cubicBezTo>
                  <a:cubicBezTo>
                    <a:pt x="218354" y="888125"/>
                    <a:pt x="210284" y="880055"/>
                    <a:pt x="210284" y="870100"/>
                  </a:cubicBezTo>
                  <a:cubicBezTo>
                    <a:pt x="210284" y="860145"/>
                    <a:pt x="218354" y="852076"/>
                    <a:pt x="228308" y="852076"/>
                  </a:cubicBezTo>
                  <a:close/>
                  <a:moveTo>
                    <a:pt x="3196327" y="846068"/>
                  </a:moveTo>
                  <a:cubicBezTo>
                    <a:pt x="3206282" y="846068"/>
                    <a:pt x="3214352" y="854138"/>
                    <a:pt x="3214352" y="864092"/>
                  </a:cubicBezTo>
                  <a:cubicBezTo>
                    <a:pt x="3214352" y="874047"/>
                    <a:pt x="3206282" y="882117"/>
                    <a:pt x="3196327" y="882117"/>
                  </a:cubicBezTo>
                  <a:cubicBezTo>
                    <a:pt x="3186372" y="882117"/>
                    <a:pt x="3178302" y="874047"/>
                    <a:pt x="3178302" y="864092"/>
                  </a:cubicBezTo>
                  <a:cubicBezTo>
                    <a:pt x="3178302" y="854138"/>
                    <a:pt x="3186372" y="846068"/>
                    <a:pt x="3196327" y="846068"/>
                  </a:cubicBezTo>
                  <a:close/>
                  <a:moveTo>
                    <a:pt x="6218419" y="840059"/>
                  </a:moveTo>
                  <a:cubicBezTo>
                    <a:pt x="6228374" y="840059"/>
                    <a:pt x="6236444" y="848129"/>
                    <a:pt x="6236444" y="858083"/>
                  </a:cubicBezTo>
                  <a:cubicBezTo>
                    <a:pt x="6236444" y="868038"/>
                    <a:pt x="6228374" y="876108"/>
                    <a:pt x="6218419" y="876108"/>
                  </a:cubicBezTo>
                  <a:cubicBezTo>
                    <a:pt x="6208464" y="876108"/>
                    <a:pt x="6200395" y="868038"/>
                    <a:pt x="6200395" y="858083"/>
                  </a:cubicBezTo>
                  <a:cubicBezTo>
                    <a:pt x="6200395" y="848129"/>
                    <a:pt x="6208464" y="840059"/>
                    <a:pt x="6218419" y="840059"/>
                  </a:cubicBezTo>
                  <a:close/>
                  <a:moveTo>
                    <a:pt x="5978094" y="834051"/>
                  </a:moveTo>
                  <a:cubicBezTo>
                    <a:pt x="5988049" y="834051"/>
                    <a:pt x="5996119" y="842121"/>
                    <a:pt x="5996119" y="852075"/>
                  </a:cubicBezTo>
                  <a:cubicBezTo>
                    <a:pt x="5996119" y="862030"/>
                    <a:pt x="5988049" y="870100"/>
                    <a:pt x="5978094" y="870100"/>
                  </a:cubicBezTo>
                  <a:cubicBezTo>
                    <a:pt x="5968139" y="870100"/>
                    <a:pt x="5960070" y="862030"/>
                    <a:pt x="5960070" y="852075"/>
                  </a:cubicBezTo>
                  <a:cubicBezTo>
                    <a:pt x="5960070" y="842121"/>
                    <a:pt x="5968139" y="834051"/>
                    <a:pt x="5978094" y="834051"/>
                  </a:cubicBezTo>
                  <a:close/>
                  <a:moveTo>
                    <a:pt x="2198977" y="834051"/>
                  </a:moveTo>
                  <a:cubicBezTo>
                    <a:pt x="2208932" y="834051"/>
                    <a:pt x="2217002" y="842121"/>
                    <a:pt x="2217002" y="852075"/>
                  </a:cubicBezTo>
                  <a:cubicBezTo>
                    <a:pt x="2217002" y="862030"/>
                    <a:pt x="2208932" y="870100"/>
                    <a:pt x="2198977" y="870100"/>
                  </a:cubicBezTo>
                  <a:cubicBezTo>
                    <a:pt x="2189023" y="870100"/>
                    <a:pt x="2180953" y="862030"/>
                    <a:pt x="2180953" y="852075"/>
                  </a:cubicBezTo>
                  <a:cubicBezTo>
                    <a:pt x="2180953" y="842121"/>
                    <a:pt x="2189023" y="834051"/>
                    <a:pt x="2198977" y="834051"/>
                  </a:cubicBezTo>
                  <a:close/>
                  <a:moveTo>
                    <a:pt x="1622196" y="834051"/>
                  </a:moveTo>
                  <a:cubicBezTo>
                    <a:pt x="1632151" y="834051"/>
                    <a:pt x="1640221" y="842121"/>
                    <a:pt x="1640221" y="852075"/>
                  </a:cubicBezTo>
                  <a:cubicBezTo>
                    <a:pt x="1640221" y="862030"/>
                    <a:pt x="1632151" y="870100"/>
                    <a:pt x="1622196" y="870100"/>
                  </a:cubicBezTo>
                  <a:cubicBezTo>
                    <a:pt x="1612242" y="870100"/>
                    <a:pt x="1604172" y="862030"/>
                    <a:pt x="1604172" y="852075"/>
                  </a:cubicBezTo>
                  <a:cubicBezTo>
                    <a:pt x="1604172" y="842121"/>
                    <a:pt x="1612242" y="834051"/>
                    <a:pt x="1622196" y="834051"/>
                  </a:cubicBezTo>
                  <a:close/>
                  <a:moveTo>
                    <a:pt x="1201626" y="834051"/>
                  </a:moveTo>
                  <a:cubicBezTo>
                    <a:pt x="1211581" y="834051"/>
                    <a:pt x="1219651" y="842121"/>
                    <a:pt x="1219651" y="852075"/>
                  </a:cubicBezTo>
                  <a:cubicBezTo>
                    <a:pt x="1219651" y="862030"/>
                    <a:pt x="1211581" y="870100"/>
                    <a:pt x="1201626" y="870100"/>
                  </a:cubicBezTo>
                  <a:cubicBezTo>
                    <a:pt x="1191672" y="870100"/>
                    <a:pt x="1183602" y="862030"/>
                    <a:pt x="1183602" y="852075"/>
                  </a:cubicBezTo>
                  <a:cubicBezTo>
                    <a:pt x="1183602" y="842121"/>
                    <a:pt x="1191672" y="834051"/>
                    <a:pt x="1201626" y="834051"/>
                  </a:cubicBezTo>
                  <a:close/>
                  <a:moveTo>
                    <a:pt x="2469343" y="828043"/>
                  </a:moveTo>
                  <a:cubicBezTo>
                    <a:pt x="2479298" y="828043"/>
                    <a:pt x="2487368" y="836113"/>
                    <a:pt x="2487368" y="846068"/>
                  </a:cubicBezTo>
                  <a:cubicBezTo>
                    <a:pt x="2487368" y="856022"/>
                    <a:pt x="2479298" y="864092"/>
                    <a:pt x="2469343" y="864092"/>
                  </a:cubicBezTo>
                  <a:cubicBezTo>
                    <a:pt x="2459388" y="864092"/>
                    <a:pt x="2451319" y="856022"/>
                    <a:pt x="2451319" y="846068"/>
                  </a:cubicBezTo>
                  <a:cubicBezTo>
                    <a:pt x="2451319" y="836113"/>
                    <a:pt x="2459388" y="828043"/>
                    <a:pt x="2469343" y="828043"/>
                  </a:cubicBezTo>
                  <a:close/>
                  <a:moveTo>
                    <a:pt x="3448669" y="822035"/>
                  </a:moveTo>
                  <a:cubicBezTo>
                    <a:pt x="3458624" y="822035"/>
                    <a:pt x="3466694" y="830104"/>
                    <a:pt x="3466694" y="840059"/>
                  </a:cubicBezTo>
                  <a:cubicBezTo>
                    <a:pt x="3466694" y="850014"/>
                    <a:pt x="3458624" y="858084"/>
                    <a:pt x="3448669" y="858084"/>
                  </a:cubicBezTo>
                  <a:cubicBezTo>
                    <a:pt x="3438715" y="858084"/>
                    <a:pt x="3430645" y="850014"/>
                    <a:pt x="3430645" y="840059"/>
                  </a:cubicBezTo>
                  <a:cubicBezTo>
                    <a:pt x="3430645" y="830104"/>
                    <a:pt x="3438715" y="822035"/>
                    <a:pt x="3448669" y="822035"/>
                  </a:cubicBezTo>
                  <a:close/>
                  <a:moveTo>
                    <a:pt x="1874537" y="822035"/>
                  </a:moveTo>
                  <a:cubicBezTo>
                    <a:pt x="1884492" y="822035"/>
                    <a:pt x="1892562" y="830104"/>
                    <a:pt x="1892562" y="840059"/>
                  </a:cubicBezTo>
                  <a:cubicBezTo>
                    <a:pt x="1892562" y="850014"/>
                    <a:pt x="1884492" y="858084"/>
                    <a:pt x="1874537" y="858084"/>
                  </a:cubicBezTo>
                  <a:cubicBezTo>
                    <a:pt x="1864583" y="858084"/>
                    <a:pt x="1856513" y="850014"/>
                    <a:pt x="1856513" y="840059"/>
                  </a:cubicBezTo>
                  <a:cubicBezTo>
                    <a:pt x="1856513" y="830104"/>
                    <a:pt x="1864583" y="822035"/>
                    <a:pt x="1874537" y="822035"/>
                  </a:cubicBezTo>
                  <a:close/>
                  <a:moveTo>
                    <a:pt x="2823823" y="816027"/>
                  </a:moveTo>
                  <a:cubicBezTo>
                    <a:pt x="2833778" y="816027"/>
                    <a:pt x="2841848" y="824097"/>
                    <a:pt x="2841848" y="834051"/>
                  </a:cubicBezTo>
                  <a:cubicBezTo>
                    <a:pt x="2841848" y="844006"/>
                    <a:pt x="2833778" y="852076"/>
                    <a:pt x="2823823" y="852076"/>
                  </a:cubicBezTo>
                  <a:cubicBezTo>
                    <a:pt x="2813868" y="852076"/>
                    <a:pt x="2805799" y="844006"/>
                    <a:pt x="2805799" y="834051"/>
                  </a:cubicBezTo>
                  <a:cubicBezTo>
                    <a:pt x="2805799" y="824097"/>
                    <a:pt x="2813868" y="816027"/>
                    <a:pt x="2823823" y="816027"/>
                  </a:cubicBezTo>
                  <a:close/>
                  <a:moveTo>
                    <a:pt x="2595514" y="816027"/>
                  </a:moveTo>
                  <a:cubicBezTo>
                    <a:pt x="2605469" y="816027"/>
                    <a:pt x="2613539" y="824097"/>
                    <a:pt x="2613539" y="834051"/>
                  </a:cubicBezTo>
                  <a:cubicBezTo>
                    <a:pt x="2613539" y="844006"/>
                    <a:pt x="2605469" y="852076"/>
                    <a:pt x="2595514" y="852076"/>
                  </a:cubicBezTo>
                  <a:cubicBezTo>
                    <a:pt x="2585559" y="852076"/>
                    <a:pt x="2577489" y="844006"/>
                    <a:pt x="2577489" y="834051"/>
                  </a:cubicBezTo>
                  <a:cubicBezTo>
                    <a:pt x="2577489" y="824097"/>
                    <a:pt x="2585559" y="816027"/>
                    <a:pt x="2595514" y="816027"/>
                  </a:cubicBezTo>
                  <a:close/>
                  <a:moveTo>
                    <a:pt x="2307124" y="816027"/>
                  </a:moveTo>
                  <a:cubicBezTo>
                    <a:pt x="2317078" y="816027"/>
                    <a:pt x="2325148" y="824097"/>
                    <a:pt x="2325148" y="834051"/>
                  </a:cubicBezTo>
                  <a:cubicBezTo>
                    <a:pt x="2325148" y="844006"/>
                    <a:pt x="2317078" y="852076"/>
                    <a:pt x="2307124" y="852076"/>
                  </a:cubicBezTo>
                  <a:cubicBezTo>
                    <a:pt x="2297169" y="852076"/>
                    <a:pt x="2289099" y="844006"/>
                    <a:pt x="2289099" y="834051"/>
                  </a:cubicBezTo>
                  <a:cubicBezTo>
                    <a:pt x="2289099" y="824097"/>
                    <a:pt x="2297169" y="816027"/>
                    <a:pt x="2307124" y="816027"/>
                  </a:cubicBezTo>
                  <a:close/>
                  <a:moveTo>
                    <a:pt x="606821" y="816027"/>
                  </a:moveTo>
                  <a:cubicBezTo>
                    <a:pt x="616776" y="816027"/>
                    <a:pt x="624846" y="824097"/>
                    <a:pt x="624846" y="834051"/>
                  </a:cubicBezTo>
                  <a:cubicBezTo>
                    <a:pt x="624846" y="844006"/>
                    <a:pt x="616776" y="852076"/>
                    <a:pt x="606821" y="852076"/>
                  </a:cubicBezTo>
                  <a:cubicBezTo>
                    <a:pt x="596867" y="852076"/>
                    <a:pt x="588797" y="844006"/>
                    <a:pt x="588797" y="834051"/>
                  </a:cubicBezTo>
                  <a:cubicBezTo>
                    <a:pt x="588797" y="824097"/>
                    <a:pt x="596867" y="816027"/>
                    <a:pt x="606821" y="816027"/>
                  </a:cubicBezTo>
                  <a:close/>
                  <a:moveTo>
                    <a:pt x="3292457" y="791994"/>
                  </a:moveTo>
                  <a:cubicBezTo>
                    <a:pt x="3302412" y="791994"/>
                    <a:pt x="3310482" y="800063"/>
                    <a:pt x="3310482" y="810018"/>
                  </a:cubicBezTo>
                  <a:cubicBezTo>
                    <a:pt x="3310482" y="819973"/>
                    <a:pt x="3302412" y="828043"/>
                    <a:pt x="3292457" y="828043"/>
                  </a:cubicBezTo>
                  <a:cubicBezTo>
                    <a:pt x="3282503" y="828043"/>
                    <a:pt x="3274433" y="819973"/>
                    <a:pt x="3274433" y="810018"/>
                  </a:cubicBezTo>
                  <a:cubicBezTo>
                    <a:pt x="3274433" y="800063"/>
                    <a:pt x="3282503" y="791994"/>
                    <a:pt x="3292457" y="791994"/>
                  </a:cubicBezTo>
                  <a:close/>
                  <a:moveTo>
                    <a:pt x="859163" y="791994"/>
                  </a:moveTo>
                  <a:cubicBezTo>
                    <a:pt x="869118" y="791994"/>
                    <a:pt x="877188" y="800063"/>
                    <a:pt x="877188" y="810018"/>
                  </a:cubicBezTo>
                  <a:cubicBezTo>
                    <a:pt x="877188" y="819973"/>
                    <a:pt x="869118" y="828043"/>
                    <a:pt x="859163" y="828043"/>
                  </a:cubicBezTo>
                  <a:cubicBezTo>
                    <a:pt x="849209" y="828043"/>
                    <a:pt x="841139" y="819973"/>
                    <a:pt x="841139" y="810018"/>
                  </a:cubicBezTo>
                  <a:cubicBezTo>
                    <a:pt x="841139" y="800063"/>
                    <a:pt x="849209" y="791994"/>
                    <a:pt x="859163" y="791994"/>
                  </a:cubicBezTo>
                  <a:close/>
                  <a:moveTo>
                    <a:pt x="1297756" y="785986"/>
                  </a:moveTo>
                  <a:cubicBezTo>
                    <a:pt x="1307711" y="785986"/>
                    <a:pt x="1315781" y="794056"/>
                    <a:pt x="1315781" y="804010"/>
                  </a:cubicBezTo>
                  <a:cubicBezTo>
                    <a:pt x="1315781" y="813965"/>
                    <a:pt x="1307711" y="822035"/>
                    <a:pt x="1297756" y="822035"/>
                  </a:cubicBezTo>
                  <a:cubicBezTo>
                    <a:pt x="1287802" y="822035"/>
                    <a:pt x="1279732" y="813965"/>
                    <a:pt x="1279732" y="804010"/>
                  </a:cubicBezTo>
                  <a:cubicBezTo>
                    <a:pt x="1279732" y="794056"/>
                    <a:pt x="1287802" y="785986"/>
                    <a:pt x="1297756" y="785986"/>
                  </a:cubicBezTo>
                  <a:close/>
                  <a:moveTo>
                    <a:pt x="324438" y="785986"/>
                  </a:moveTo>
                  <a:cubicBezTo>
                    <a:pt x="334393" y="785986"/>
                    <a:pt x="342463" y="794056"/>
                    <a:pt x="342463" y="804010"/>
                  </a:cubicBezTo>
                  <a:cubicBezTo>
                    <a:pt x="342463" y="813965"/>
                    <a:pt x="334393" y="822035"/>
                    <a:pt x="324438" y="822035"/>
                  </a:cubicBezTo>
                  <a:cubicBezTo>
                    <a:pt x="314484" y="822035"/>
                    <a:pt x="306414" y="813965"/>
                    <a:pt x="306414" y="804010"/>
                  </a:cubicBezTo>
                  <a:cubicBezTo>
                    <a:pt x="306414" y="794056"/>
                    <a:pt x="314484" y="785986"/>
                    <a:pt x="324438" y="785986"/>
                  </a:cubicBezTo>
                  <a:close/>
                  <a:moveTo>
                    <a:pt x="3755084" y="779978"/>
                  </a:moveTo>
                  <a:cubicBezTo>
                    <a:pt x="3765039" y="779978"/>
                    <a:pt x="3773109" y="788048"/>
                    <a:pt x="3773109" y="798002"/>
                  </a:cubicBezTo>
                  <a:cubicBezTo>
                    <a:pt x="3773109" y="807957"/>
                    <a:pt x="3765039" y="816027"/>
                    <a:pt x="3755084" y="816027"/>
                  </a:cubicBezTo>
                  <a:cubicBezTo>
                    <a:pt x="3745129" y="816027"/>
                    <a:pt x="3737060" y="807957"/>
                    <a:pt x="3737060" y="798002"/>
                  </a:cubicBezTo>
                  <a:cubicBezTo>
                    <a:pt x="3737060" y="788048"/>
                    <a:pt x="3745129" y="779978"/>
                    <a:pt x="3755084" y="779978"/>
                  </a:cubicBezTo>
                  <a:close/>
                  <a:moveTo>
                    <a:pt x="1496026" y="779978"/>
                  </a:moveTo>
                  <a:cubicBezTo>
                    <a:pt x="1505980" y="779978"/>
                    <a:pt x="1514050" y="788048"/>
                    <a:pt x="1514050" y="798002"/>
                  </a:cubicBezTo>
                  <a:cubicBezTo>
                    <a:pt x="1514050" y="807957"/>
                    <a:pt x="1505980" y="816027"/>
                    <a:pt x="1496026" y="816027"/>
                  </a:cubicBezTo>
                  <a:cubicBezTo>
                    <a:pt x="1486071" y="816027"/>
                    <a:pt x="1478001" y="807957"/>
                    <a:pt x="1478001" y="798002"/>
                  </a:cubicBezTo>
                  <a:cubicBezTo>
                    <a:pt x="1478001" y="788048"/>
                    <a:pt x="1486071" y="779978"/>
                    <a:pt x="1496026" y="779978"/>
                  </a:cubicBezTo>
                  <a:close/>
                  <a:moveTo>
                    <a:pt x="3622905" y="767962"/>
                  </a:moveTo>
                  <a:cubicBezTo>
                    <a:pt x="3632860" y="767962"/>
                    <a:pt x="3640930" y="776032"/>
                    <a:pt x="3640930" y="785987"/>
                  </a:cubicBezTo>
                  <a:cubicBezTo>
                    <a:pt x="3640930" y="795941"/>
                    <a:pt x="3632860" y="804011"/>
                    <a:pt x="3622905" y="804011"/>
                  </a:cubicBezTo>
                  <a:cubicBezTo>
                    <a:pt x="3612951" y="804011"/>
                    <a:pt x="3604881" y="795941"/>
                    <a:pt x="3604881" y="785987"/>
                  </a:cubicBezTo>
                  <a:cubicBezTo>
                    <a:pt x="3604881" y="776032"/>
                    <a:pt x="3612951" y="767962"/>
                    <a:pt x="3622905" y="767962"/>
                  </a:cubicBezTo>
                  <a:close/>
                  <a:moveTo>
                    <a:pt x="3112213" y="767962"/>
                  </a:moveTo>
                  <a:cubicBezTo>
                    <a:pt x="3122168" y="767962"/>
                    <a:pt x="3130238" y="776032"/>
                    <a:pt x="3130238" y="785987"/>
                  </a:cubicBezTo>
                  <a:cubicBezTo>
                    <a:pt x="3130238" y="795941"/>
                    <a:pt x="3122168" y="804011"/>
                    <a:pt x="3112213" y="804011"/>
                  </a:cubicBezTo>
                  <a:cubicBezTo>
                    <a:pt x="3102259" y="804011"/>
                    <a:pt x="3094189" y="795941"/>
                    <a:pt x="3094189" y="785987"/>
                  </a:cubicBezTo>
                  <a:cubicBezTo>
                    <a:pt x="3094189" y="776032"/>
                    <a:pt x="3102259" y="767962"/>
                    <a:pt x="3112213" y="767962"/>
                  </a:cubicBezTo>
                  <a:close/>
                  <a:moveTo>
                    <a:pt x="714968" y="767962"/>
                  </a:moveTo>
                  <a:cubicBezTo>
                    <a:pt x="724922" y="767962"/>
                    <a:pt x="732992" y="776032"/>
                    <a:pt x="732992" y="785987"/>
                  </a:cubicBezTo>
                  <a:cubicBezTo>
                    <a:pt x="732992" y="795941"/>
                    <a:pt x="724922" y="804011"/>
                    <a:pt x="714968" y="804011"/>
                  </a:cubicBezTo>
                  <a:cubicBezTo>
                    <a:pt x="705013" y="804011"/>
                    <a:pt x="696943" y="795941"/>
                    <a:pt x="696943" y="785987"/>
                  </a:cubicBezTo>
                  <a:cubicBezTo>
                    <a:pt x="696943" y="776032"/>
                    <a:pt x="705013" y="767962"/>
                    <a:pt x="714968" y="767962"/>
                  </a:cubicBezTo>
                  <a:close/>
                  <a:moveTo>
                    <a:pt x="2986042" y="761954"/>
                  </a:moveTo>
                  <a:cubicBezTo>
                    <a:pt x="2995997" y="761954"/>
                    <a:pt x="3004067" y="770023"/>
                    <a:pt x="3004067" y="779978"/>
                  </a:cubicBezTo>
                  <a:cubicBezTo>
                    <a:pt x="3004067" y="789933"/>
                    <a:pt x="2995997" y="798003"/>
                    <a:pt x="2986042" y="798003"/>
                  </a:cubicBezTo>
                  <a:cubicBezTo>
                    <a:pt x="2976087" y="798003"/>
                    <a:pt x="2968017" y="789933"/>
                    <a:pt x="2968017" y="779978"/>
                  </a:cubicBezTo>
                  <a:cubicBezTo>
                    <a:pt x="2968017" y="770023"/>
                    <a:pt x="2976087" y="761954"/>
                    <a:pt x="2986042" y="761954"/>
                  </a:cubicBezTo>
                  <a:close/>
                  <a:moveTo>
                    <a:pt x="1736351" y="761954"/>
                  </a:moveTo>
                  <a:cubicBezTo>
                    <a:pt x="1746305" y="761954"/>
                    <a:pt x="1754375" y="770023"/>
                    <a:pt x="1754375" y="779978"/>
                  </a:cubicBezTo>
                  <a:cubicBezTo>
                    <a:pt x="1754375" y="789933"/>
                    <a:pt x="1746305" y="798003"/>
                    <a:pt x="1736351" y="798003"/>
                  </a:cubicBezTo>
                  <a:cubicBezTo>
                    <a:pt x="1726396" y="798003"/>
                    <a:pt x="1718326" y="789933"/>
                    <a:pt x="1718326" y="779978"/>
                  </a:cubicBezTo>
                  <a:cubicBezTo>
                    <a:pt x="1718326" y="770023"/>
                    <a:pt x="1726396" y="761954"/>
                    <a:pt x="1736351" y="761954"/>
                  </a:cubicBezTo>
                  <a:close/>
                  <a:moveTo>
                    <a:pt x="5863939" y="755946"/>
                  </a:moveTo>
                  <a:cubicBezTo>
                    <a:pt x="5873894" y="755946"/>
                    <a:pt x="5881964" y="764016"/>
                    <a:pt x="5881964" y="773970"/>
                  </a:cubicBezTo>
                  <a:cubicBezTo>
                    <a:pt x="5881964" y="783925"/>
                    <a:pt x="5873894" y="791995"/>
                    <a:pt x="5863939" y="791995"/>
                  </a:cubicBezTo>
                  <a:cubicBezTo>
                    <a:pt x="5853984" y="791995"/>
                    <a:pt x="5845915" y="783925"/>
                    <a:pt x="5845915" y="773970"/>
                  </a:cubicBezTo>
                  <a:cubicBezTo>
                    <a:pt x="5845915" y="764016"/>
                    <a:pt x="5853984" y="755946"/>
                    <a:pt x="5863939" y="755946"/>
                  </a:cubicBezTo>
                  <a:close/>
                  <a:moveTo>
                    <a:pt x="2685636" y="755946"/>
                  </a:moveTo>
                  <a:cubicBezTo>
                    <a:pt x="2695591" y="755946"/>
                    <a:pt x="2703661" y="764016"/>
                    <a:pt x="2703661" y="773970"/>
                  </a:cubicBezTo>
                  <a:cubicBezTo>
                    <a:pt x="2703661" y="783925"/>
                    <a:pt x="2695591" y="791995"/>
                    <a:pt x="2685636" y="791995"/>
                  </a:cubicBezTo>
                  <a:cubicBezTo>
                    <a:pt x="2675681" y="791995"/>
                    <a:pt x="2667611" y="783925"/>
                    <a:pt x="2667611" y="773970"/>
                  </a:cubicBezTo>
                  <a:cubicBezTo>
                    <a:pt x="2667611" y="764016"/>
                    <a:pt x="2675681" y="755946"/>
                    <a:pt x="2685636" y="755946"/>
                  </a:cubicBezTo>
                  <a:close/>
                  <a:moveTo>
                    <a:pt x="1069447" y="755946"/>
                  </a:moveTo>
                  <a:cubicBezTo>
                    <a:pt x="1079402" y="755946"/>
                    <a:pt x="1087472" y="764016"/>
                    <a:pt x="1087472" y="773970"/>
                  </a:cubicBezTo>
                  <a:cubicBezTo>
                    <a:pt x="1087472" y="783925"/>
                    <a:pt x="1079402" y="791995"/>
                    <a:pt x="1069447" y="791995"/>
                  </a:cubicBezTo>
                  <a:cubicBezTo>
                    <a:pt x="1059493" y="791995"/>
                    <a:pt x="1051423" y="783925"/>
                    <a:pt x="1051423" y="773970"/>
                  </a:cubicBezTo>
                  <a:cubicBezTo>
                    <a:pt x="1051423" y="764016"/>
                    <a:pt x="1059493" y="755946"/>
                    <a:pt x="1069447" y="755946"/>
                  </a:cubicBezTo>
                  <a:close/>
                  <a:moveTo>
                    <a:pt x="3935328" y="749937"/>
                  </a:moveTo>
                  <a:cubicBezTo>
                    <a:pt x="3945283" y="749937"/>
                    <a:pt x="3953353" y="758007"/>
                    <a:pt x="3953353" y="767961"/>
                  </a:cubicBezTo>
                  <a:cubicBezTo>
                    <a:pt x="3953353" y="777916"/>
                    <a:pt x="3945283" y="785986"/>
                    <a:pt x="3935328" y="785986"/>
                  </a:cubicBezTo>
                  <a:cubicBezTo>
                    <a:pt x="3925373" y="785986"/>
                    <a:pt x="3917304" y="777916"/>
                    <a:pt x="3917304" y="767961"/>
                  </a:cubicBezTo>
                  <a:cubicBezTo>
                    <a:pt x="3917304" y="758007"/>
                    <a:pt x="3925373" y="749937"/>
                    <a:pt x="3935328" y="749937"/>
                  </a:cubicBezTo>
                  <a:close/>
                  <a:moveTo>
                    <a:pt x="2114863" y="749937"/>
                  </a:moveTo>
                  <a:cubicBezTo>
                    <a:pt x="2124818" y="749937"/>
                    <a:pt x="2132888" y="758007"/>
                    <a:pt x="2132888" y="767961"/>
                  </a:cubicBezTo>
                  <a:cubicBezTo>
                    <a:pt x="2132888" y="777916"/>
                    <a:pt x="2124818" y="785986"/>
                    <a:pt x="2114863" y="785986"/>
                  </a:cubicBezTo>
                  <a:cubicBezTo>
                    <a:pt x="2104909" y="785986"/>
                    <a:pt x="2096839" y="777916"/>
                    <a:pt x="2096839" y="767961"/>
                  </a:cubicBezTo>
                  <a:cubicBezTo>
                    <a:pt x="2096839" y="758007"/>
                    <a:pt x="2104909" y="749937"/>
                    <a:pt x="2114863" y="749937"/>
                  </a:cubicBezTo>
                  <a:close/>
                  <a:moveTo>
                    <a:pt x="2006717" y="749937"/>
                  </a:moveTo>
                  <a:cubicBezTo>
                    <a:pt x="2016671" y="749937"/>
                    <a:pt x="2024741" y="758007"/>
                    <a:pt x="2024741" y="767961"/>
                  </a:cubicBezTo>
                  <a:cubicBezTo>
                    <a:pt x="2024741" y="777916"/>
                    <a:pt x="2016671" y="785986"/>
                    <a:pt x="2006717" y="785986"/>
                  </a:cubicBezTo>
                  <a:cubicBezTo>
                    <a:pt x="1996762" y="785986"/>
                    <a:pt x="1988692" y="777916"/>
                    <a:pt x="1988692" y="767961"/>
                  </a:cubicBezTo>
                  <a:cubicBezTo>
                    <a:pt x="1988692" y="758007"/>
                    <a:pt x="1996762" y="749937"/>
                    <a:pt x="2006717" y="749937"/>
                  </a:cubicBezTo>
                  <a:close/>
                  <a:moveTo>
                    <a:pt x="6116281" y="737921"/>
                  </a:moveTo>
                  <a:cubicBezTo>
                    <a:pt x="6126236" y="737921"/>
                    <a:pt x="6134306" y="745991"/>
                    <a:pt x="6134306" y="755946"/>
                  </a:cubicBezTo>
                  <a:cubicBezTo>
                    <a:pt x="6134306" y="765900"/>
                    <a:pt x="6126236" y="773970"/>
                    <a:pt x="6116281" y="773970"/>
                  </a:cubicBezTo>
                  <a:cubicBezTo>
                    <a:pt x="6106327" y="773970"/>
                    <a:pt x="6098257" y="765900"/>
                    <a:pt x="6098257" y="755946"/>
                  </a:cubicBezTo>
                  <a:cubicBezTo>
                    <a:pt x="6098257" y="745991"/>
                    <a:pt x="6106327" y="737921"/>
                    <a:pt x="6116281" y="737921"/>
                  </a:cubicBezTo>
                  <a:close/>
                  <a:moveTo>
                    <a:pt x="2397246" y="737921"/>
                  </a:moveTo>
                  <a:cubicBezTo>
                    <a:pt x="2407200" y="737921"/>
                    <a:pt x="2415270" y="745991"/>
                    <a:pt x="2415270" y="755946"/>
                  </a:cubicBezTo>
                  <a:cubicBezTo>
                    <a:pt x="2415270" y="765900"/>
                    <a:pt x="2407200" y="773970"/>
                    <a:pt x="2397246" y="773970"/>
                  </a:cubicBezTo>
                  <a:cubicBezTo>
                    <a:pt x="2387291" y="773970"/>
                    <a:pt x="2379221" y="765900"/>
                    <a:pt x="2379221" y="755946"/>
                  </a:cubicBezTo>
                  <a:cubicBezTo>
                    <a:pt x="2379221" y="745991"/>
                    <a:pt x="2387291" y="737921"/>
                    <a:pt x="2397246" y="737921"/>
                  </a:cubicBezTo>
                  <a:close/>
                  <a:moveTo>
                    <a:pt x="522707" y="731913"/>
                  </a:moveTo>
                  <a:cubicBezTo>
                    <a:pt x="532662" y="731913"/>
                    <a:pt x="540732" y="739982"/>
                    <a:pt x="540732" y="749937"/>
                  </a:cubicBezTo>
                  <a:cubicBezTo>
                    <a:pt x="540732" y="759892"/>
                    <a:pt x="532662" y="767962"/>
                    <a:pt x="522707" y="767962"/>
                  </a:cubicBezTo>
                  <a:cubicBezTo>
                    <a:pt x="512753" y="767962"/>
                    <a:pt x="504683" y="759892"/>
                    <a:pt x="504683" y="749937"/>
                  </a:cubicBezTo>
                  <a:cubicBezTo>
                    <a:pt x="504683" y="739982"/>
                    <a:pt x="512753" y="731913"/>
                    <a:pt x="522707" y="731913"/>
                  </a:cubicBezTo>
                  <a:close/>
                  <a:moveTo>
                    <a:pt x="414561" y="731913"/>
                  </a:moveTo>
                  <a:cubicBezTo>
                    <a:pt x="424516" y="731913"/>
                    <a:pt x="432586" y="739982"/>
                    <a:pt x="432586" y="749937"/>
                  </a:cubicBezTo>
                  <a:cubicBezTo>
                    <a:pt x="432586" y="759892"/>
                    <a:pt x="424516" y="767962"/>
                    <a:pt x="414561" y="767962"/>
                  </a:cubicBezTo>
                  <a:cubicBezTo>
                    <a:pt x="404607" y="767962"/>
                    <a:pt x="396537" y="759892"/>
                    <a:pt x="396537" y="749937"/>
                  </a:cubicBezTo>
                  <a:cubicBezTo>
                    <a:pt x="396537" y="739982"/>
                    <a:pt x="404607" y="731913"/>
                    <a:pt x="414561" y="731913"/>
                  </a:cubicBezTo>
                  <a:close/>
                  <a:moveTo>
                    <a:pt x="6236444" y="725905"/>
                  </a:moveTo>
                  <a:cubicBezTo>
                    <a:pt x="6246399" y="725905"/>
                    <a:pt x="6254469" y="733975"/>
                    <a:pt x="6254469" y="743929"/>
                  </a:cubicBezTo>
                  <a:cubicBezTo>
                    <a:pt x="6254469" y="753884"/>
                    <a:pt x="6246399" y="761954"/>
                    <a:pt x="6236444" y="761954"/>
                  </a:cubicBezTo>
                  <a:cubicBezTo>
                    <a:pt x="6226490" y="761954"/>
                    <a:pt x="6218420" y="753884"/>
                    <a:pt x="6218420" y="743929"/>
                  </a:cubicBezTo>
                  <a:cubicBezTo>
                    <a:pt x="6218420" y="733975"/>
                    <a:pt x="6226490" y="725905"/>
                    <a:pt x="6236444" y="725905"/>
                  </a:cubicBezTo>
                  <a:close/>
                  <a:moveTo>
                    <a:pt x="961301" y="725905"/>
                  </a:moveTo>
                  <a:cubicBezTo>
                    <a:pt x="971256" y="725905"/>
                    <a:pt x="979326" y="733975"/>
                    <a:pt x="979326" y="743929"/>
                  </a:cubicBezTo>
                  <a:cubicBezTo>
                    <a:pt x="979326" y="753884"/>
                    <a:pt x="971256" y="761954"/>
                    <a:pt x="961301" y="761954"/>
                  </a:cubicBezTo>
                  <a:cubicBezTo>
                    <a:pt x="951347" y="761954"/>
                    <a:pt x="943277" y="753884"/>
                    <a:pt x="943277" y="743929"/>
                  </a:cubicBezTo>
                  <a:cubicBezTo>
                    <a:pt x="943277" y="733975"/>
                    <a:pt x="951347" y="725905"/>
                    <a:pt x="961301" y="725905"/>
                  </a:cubicBezTo>
                  <a:close/>
                  <a:moveTo>
                    <a:pt x="3400604" y="719897"/>
                  </a:moveTo>
                  <a:cubicBezTo>
                    <a:pt x="3410559" y="719897"/>
                    <a:pt x="3418629" y="727967"/>
                    <a:pt x="3418629" y="737921"/>
                  </a:cubicBezTo>
                  <a:cubicBezTo>
                    <a:pt x="3418629" y="747876"/>
                    <a:pt x="3410559" y="755946"/>
                    <a:pt x="3400604" y="755946"/>
                  </a:cubicBezTo>
                  <a:cubicBezTo>
                    <a:pt x="3390649" y="755946"/>
                    <a:pt x="3382580" y="747876"/>
                    <a:pt x="3382580" y="737921"/>
                  </a:cubicBezTo>
                  <a:cubicBezTo>
                    <a:pt x="3382580" y="727967"/>
                    <a:pt x="3390649" y="719897"/>
                    <a:pt x="3400604" y="719897"/>
                  </a:cubicBezTo>
                  <a:close/>
                  <a:moveTo>
                    <a:pt x="6002126" y="713889"/>
                  </a:moveTo>
                  <a:cubicBezTo>
                    <a:pt x="6012081" y="713889"/>
                    <a:pt x="6020151" y="721959"/>
                    <a:pt x="6020151" y="731913"/>
                  </a:cubicBezTo>
                  <a:cubicBezTo>
                    <a:pt x="6020151" y="741868"/>
                    <a:pt x="6012081" y="749938"/>
                    <a:pt x="6002126" y="749938"/>
                  </a:cubicBezTo>
                  <a:cubicBezTo>
                    <a:pt x="5992172" y="749938"/>
                    <a:pt x="5984102" y="741868"/>
                    <a:pt x="5984102" y="731913"/>
                  </a:cubicBezTo>
                  <a:cubicBezTo>
                    <a:pt x="5984102" y="721959"/>
                    <a:pt x="5992172" y="713889"/>
                    <a:pt x="6002126" y="713889"/>
                  </a:cubicBezTo>
                  <a:close/>
                  <a:moveTo>
                    <a:pt x="1610179" y="713889"/>
                  </a:moveTo>
                  <a:cubicBezTo>
                    <a:pt x="1620134" y="713889"/>
                    <a:pt x="1628204" y="721959"/>
                    <a:pt x="1628204" y="731913"/>
                  </a:cubicBezTo>
                  <a:cubicBezTo>
                    <a:pt x="1628204" y="741868"/>
                    <a:pt x="1620134" y="749938"/>
                    <a:pt x="1610179" y="749938"/>
                  </a:cubicBezTo>
                  <a:cubicBezTo>
                    <a:pt x="1600225" y="749938"/>
                    <a:pt x="1592155" y="741868"/>
                    <a:pt x="1592155" y="731913"/>
                  </a:cubicBezTo>
                  <a:cubicBezTo>
                    <a:pt x="1592155" y="721959"/>
                    <a:pt x="1600225" y="713889"/>
                    <a:pt x="1610179" y="713889"/>
                  </a:cubicBezTo>
                  <a:close/>
                  <a:moveTo>
                    <a:pt x="3520767" y="707881"/>
                  </a:moveTo>
                  <a:cubicBezTo>
                    <a:pt x="3530722" y="707881"/>
                    <a:pt x="3538792" y="715951"/>
                    <a:pt x="3538792" y="725906"/>
                  </a:cubicBezTo>
                  <a:cubicBezTo>
                    <a:pt x="3538792" y="735860"/>
                    <a:pt x="3530722" y="743930"/>
                    <a:pt x="3520767" y="743930"/>
                  </a:cubicBezTo>
                  <a:cubicBezTo>
                    <a:pt x="3510812" y="743930"/>
                    <a:pt x="3502743" y="735860"/>
                    <a:pt x="3502743" y="725906"/>
                  </a:cubicBezTo>
                  <a:cubicBezTo>
                    <a:pt x="3502743" y="715951"/>
                    <a:pt x="3510812" y="707881"/>
                    <a:pt x="3520767" y="707881"/>
                  </a:cubicBezTo>
                  <a:close/>
                  <a:moveTo>
                    <a:pt x="2895920" y="701872"/>
                  </a:moveTo>
                  <a:cubicBezTo>
                    <a:pt x="2905875" y="701872"/>
                    <a:pt x="2913945" y="709941"/>
                    <a:pt x="2913945" y="719896"/>
                  </a:cubicBezTo>
                  <a:cubicBezTo>
                    <a:pt x="2913945" y="729851"/>
                    <a:pt x="2905875" y="737921"/>
                    <a:pt x="2895920" y="737921"/>
                  </a:cubicBezTo>
                  <a:cubicBezTo>
                    <a:pt x="2885965" y="737921"/>
                    <a:pt x="2877895" y="729851"/>
                    <a:pt x="2877895" y="719896"/>
                  </a:cubicBezTo>
                  <a:cubicBezTo>
                    <a:pt x="2877895" y="709941"/>
                    <a:pt x="2885965" y="701872"/>
                    <a:pt x="2895920" y="701872"/>
                  </a:cubicBezTo>
                  <a:close/>
                  <a:moveTo>
                    <a:pt x="2547449" y="701872"/>
                  </a:moveTo>
                  <a:cubicBezTo>
                    <a:pt x="2557404" y="701872"/>
                    <a:pt x="2565474" y="709941"/>
                    <a:pt x="2565474" y="719896"/>
                  </a:cubicBezTo>
                  <a:cubicBezTo>
                    <a:pt x="2565474" y="729851"/>
                    <a:pt x="2557404" y="737921"/>
                    <a:pt x="2547449" y="737921"/>
                  </a:cubicBezTo>
                  <a:cubicBezTo>
                    <a:pt x="2537495" y="737921"/>
                    <a:pt x="2529425" y="729851"/>
                    <a:pt x="2529425" y="719896"/>
                  </a:cubicBezTo>
                  <a:cubicBezTo>
                    <a:pt x="2529425" y="709941"/>
                    <a:pt x="2537495" y="701872"/>
                    <a:pt x="2547449" y="701872"/>
                  </a:cubicBezTo>
                  <a:close/>
                  <a:moveTo>
                    <a:pt x="2241034" y="701872"/>
                  </a:moveTo>
                  <a:cubicBezTo>
                    <a:pt x="2250989" y="701872"/>
                    <a:pt x="2259059" y="709941"/>
                    <a:pt x="2259059" y="719896"/>
                  </a:cubicBezTo>
                  <a:cubicBezTo>
                    <a:pt x="2259059" y="729851"/>
                    <a:pt x="2250989" y="737921"/>
                    <a:pt x="2241034" y="737921"/>
                  </a:cubicBezTo>
                  <a:cubicBezTo>
                    <a:pt x="2231080" y="737921"/>
                    <a:pt x="2223010" y="729851"/>
                    <a:pt x="2223010" y="719896"/>
                  </a:cubicBezTo>
                  <a:cubicBezTo>
                    <a:pt x="2223010" y="709941"/>
                    <a:pt x="2231080" y="701872"/>
                    <a:pt x="2241034" y="701872"/>
                  </a:cubicBezTo>
                  <a:close/>
                  <a:moveTo>
                    <a:pt x="1411911" y="701872"/>
                  </a:moveTo>
                  <a:cubicBezTo>
                    <a:pt x="1421866" y="701872"/>
                    <a:pt x="1429936" y="709941"/>
                    <a:pt x="1429936" y="719896"/>
                  </a:cubicBezTo>
                  <a:cubicBezTo>
                    <a:pt x="1429936" y="729851"/>
                    <a:pt x="1421866" y="737921"/>
                    <a:pt x="1411911" y="737921"/>
                  </a:cubicBezTo>
                  <a:cubicBezTo>
                    <a:pt x="1401957" y="737921"/>
                    <a:pt x="1393887" y="729851"/>
                    <a:pt x="1393887" y="719896"/>
                  </a:cubicBezTo>
                  <a:cubicBezTo>
                    <a:pt x="1393887" y="709941"/>
                    <a:pt x="1401957" y="701872"/>
                    <a:pt x="1411911" y="701872"/>
                  </a:cubicBezTo>
                  <a:close/>
                  <a:moveTo>
                    <a:pt x="1165578" y="701872"/>
                  </a:moveTo>
                  <a:cubicBezTo>
                    <a:pt x="1175532" y="701872"/>
                    <a:pt x="1183602" y="709941"/>
                    <a:pt x="1183602" y="719896"/>
                  </a:cubicBezTo>
                  <a:cubicBezTo>
                    <a:pt x="1183602" y="729851"/>
                    <a:pt x="1175532" y="737921"/>
                    <a:pt x="1165578" y="737921"/>
                  </a:cubicBezTo>
                  <a:cubicBezTo>
                    <a:pt x="1155623" y="737921"/>
                    <a:pt x="1147553" y="729851"/>
                    <a:pt x="1147553" y="719896"/>
                  </a:cubicBezTo>
                  <a:cubicBezTo>
                    <a:pt x="1147553" y="709941"/>
                    <a:pt x="1155623" y="701872"/>
                    <a:pt x="1165578" y="701872"/>
                  </a:cubicBezTo>
                  <a:close/>
                  <a:moveTo>
                    <a:pt x="168227" y="701872"/>
                  </a:moveTo>
                  <a:cubicBezTo>
                    <a:pt x="178182" y="701872"/>
                    <a:pt x="186252" y="709941"/>
                    <a:pt x="186252" y="719896"/>
                  </a:cubicBezTo>
                  <a:cubicBezTo>
                    <a:pt x="186252" y="729851"/>
                    <a:pt x="178182" y="737921"/>
                    <a:pt x="168227" y="737921"/>
                  </a:cubicBezTo>
                  <a:cubicBezTo>
                    <a:pt x="158273" y="737921"/>
                    <a:pt x="150203" y="729851"/>
                    <a:pt x="150203" y="719896"/>
                  </a:cubicBezTo>
                  <a:cubicBezTo>
                    <a:pt x="150203" y="709941"/>
                    <a:pt x="158273" y="701872"/>
                    <a:pt x="168227" y="701872"/>
                  </a:cubicBezTo>
                  <a:close/>
                  <a:moveTo>
                    <a:pt x="1910586" y="695864"/>
                  </a:moveTo>
                  <a:cubicBezTo>
                    <a:pt x="1920541" y="695864"/>
                    <a:pt x="1928611" y="703934"/>
                    <a:pt x="1928611" y="713888"/>
                  </a:cubicBezTo>
                  <a:cubicBezTo>
                    <a:pt x="1928611" y="723843"/>
                    <a:pt x="1920541" y="731913"/>
                    <a:pt x="1910586" y="731913"/>
                  </a:cubicBezTo>
                  <a:cubicBezTo>
                    <a:pt x="1900632" y="731913"/>
                    <a:pt x="1892562" y="723843"/>
                    <a:pt x="1892562" y="713888"/>
                  </a:cubicBezTo>
                  <a:cubicBezTo>
                    <a:pt x="1892562" y="703934"/>
                    <a:pt x="1900632" y="695864"/>
                    <a:pt x="1910586" y="695864"/>
                  </a:cubicBezTo>
                  <a:close/>
                  <a:moveTo>
                    <a:pt x="3833190" y="689856"/>
                  </a:moveTo>
                  <a:cubicBezTo>
                    <a:pt x="3843145" y="689856"/>
                    <a:pt x="3851215" y="697926"/>
                    <a:pt x="3851215" y="707880"/>
                  </a:cubicBezTo>
                  <a:cubicBezTo>
                    <a:pt x="3851215" y="717835"/>
                    <a:pt x="3843145" y="725905"/>
                    <a:pt x="3833190" y="725905"/>
                  </a:cubicBezTo>
                  <a:cubicBezTo>
                    <a:pt x="3823236" y="725905"/>
                    <a:pt x="3815166" y="717835"/>
                    <a:pt x="3815166" y="707880"/>
                  </a:cubicBezTo>
                  <a:cubicBezTo>
                    <a:pt x="3815166" y="697926"/>
                    <a:pt x="3823236" y="689856"/>
                    <a:pt x="3833190" y="689856"/>
                  </a:cubicBezTo>
                  <a:close/>
                  <a:moveTo>
                    <a:pt x="2787774" y="689856"/>
                  </a:moveTo>
                  <a:cubicBezTo>
                    <a:pt x="2797729" y="689856"/>
                    <a:pt x="2805799" y="697926"/>
                    <a:pt x="2805799" y="707880"/>
                  </a:cubicBezTo>
                  <a:cubicBezTo>
                    <a:pt x="2805799" y="717835"/>
                    <a:pt x="2797729" y="725905"/>
                    <a:pt x="2787774" y="725905"/>
                  </a:cubicBezTo>
                  <a:cubicBezTo>
                    <a:pt x="2777820" y="725905"/>
                    <a:pt x="2769750" y="717835"/>
                    <a:pt x="2769750" y="707880"/>
                  </a:cubicBezTo>
                  <a:cubicBezTo>
                    <a:pt x="2769750" y="697926"/>
                    <a:pt x="2777820" y="689856"/>
                    <a:pt x="2787774" y="689856"/>
                  </a:cubicBezTo>
                  <a:close/>
                  <a:moveTo>
                    <a:pt x="5737768" y="677840"/>
                  </a:moveTo>
                  <a:cubicBezTo>
                    <a:pt x="5747723" y="677840"/>
                    <a:pt x="5755793" y="685910"/>
                    <a:pt x="5755793" y="695865"/>
                  </a:cubicBezTo>
                  <a:cubicBezTo>
                    <a:pt x="5755793" y="705819"/>
                    <a:pt x="5747723" y="713889"/>
                    <a:pt x="5737768" y="713889"/>
                  </a:cubicBezTo>
                  <a:cubicBezTo>
                    <a:pt x="5727813" y="713889"/>
                    <a:pt x="5719744" y="705819"/>
                    <a:pt x="5719744" y="695865"/>
                  </a:cubicBezTo>
                  <a:cubicBezTo>
                    <a:pt x="5719744" y="685910"/>
                    <a:pt x="5727813" y="677840"/>
                    <a:pt x="5737768" y="677840"/>
                  </a:cubicBezTo>
                  <a:close/>
                  <a:moveTo>
                    <a:pt x="781057" y="677840"/>
                  </a:moveTo>
                  <a:cubicBezTo>
                    <a:pt x="791012" y="677840"/>
                    <a:pt x="799082" y="685910"/>
                    <a:pt x="799082" y="695865"/>
                  </a:cubicBezTo>
                  <a:cubicBezTo>
                    <a:pt x="799082" y="705819"/>
                    <a:pt x="791012" y="713889"/>
                    <a:pt x="781057" y="713889"/>
                  </a:cubicBezTo>
                  <a:cubicBezTo>
                    <a:pt x="771103" y="713889"/>
                    <a:pt x="763033" y="705819"/>
                    <a:pt x="763033" y="695865"/>
                  </a:cubicBezTo>
                  <a:cubicBezTo>
                    <a:pt x="763033" y="685910"/>
                    <a:pt x="771103" y="677840"/>
                    <a:pt x="781057" y="677840"/>
                  </a:cubicBezTo>
                  <a:close/>
                  <a:moveTo>
                    <a:pt x="276373" y="677840"/>
                  </a:moveTo>
                  <a:cubicBezTo>
                    <a:pt x="286328" y="677840"/>
                    <a:pt x="294398" y="685910"/>
                    <a:pt x="294398" y="695865"/>
                  </a:cubicBezTo>
                  <a:cubicBezTo>
                    <a:pt x="294398" y="705819"/>
                    <a:pt x="286328" y="713889"/>
                    <a:pt x="276373" y="713889"/>
                  </a:cubicBezTo>
                  <a:cubicBezTo>
                    <a:pt x="266419" y="713889"/>
                    <a:pt x="258349" y="705819"/>
                    <a:pt x="258349" y="695865"/>
                  </a:cubicBezTo>
                  <a:cubicBezTo>
                    <a:pt x="258349" y="685910"/>
                    <a:pt x="266419" y="677840"/>
                    <a:pt x="276373" y="677840"/>
                  </a:cubicBezTo>
                  <a:close/>
                  <a:moveTo>
                    <a:pt x="1784415" y="671832"/>
                  </a:moveTo>
                  <a:cubicBezTo>
                    <a:pt x="1794370" y="671832"/>
                    <a:pt x="1802440" y="679901"/>
                    <a:pt x="1802440" y="689856"/>
                  </a:cubicBezTo>
                  <a:cubicBezTo>
                    <a:pt x="1802440" y="699811"/>
                    <a:pt x="1794370" y="707881"/>
                    <a:pt x="1784415" y="707881"/>
                  </a:cubicBezTo>
                  <a:cubicBezTo>
                    <a:pt x="1774461" y="707881"/>
                    <a:pt x="1766391" y="699811"/>
                    <a:pt x="1766391" y="689856"/>
                  </a:cubicBezTo>
                  <a:cubicBezTo>
                    <a:pt x="1766391" y="679901"/>
                    <a:pt x="1774461" y="671832"/>
                    <a:pt x="1784415" y="671832"/>
                  </a:cubicBezTo>
                  <a:close/>
                  <a:moveTo>
                    <a:pt x="3713027" y="665824"/>
                  </a:moveTo>
                  <a:cubicBezTo>
                    <a:pt x="3722982" y="665824"/>
                    <a:pt x="3731052" y="673894"/>
                    <a:pt x="3731052" y="683848"/>
                  </a:cubicBezTo>
                  <a:cubicBezTo>
                    <a:pt x="3731052" y="693803"/>
                    <a:pt x="3722982" y="701873"/>
                    <a:pt x="3713027" y="701873"/>
                  </a:cubicBezTo>
                  <a:cubicBezTo>
                    <a:pt x="3703073" y="701873"/>
                    <a:pt x="3695003" y="693803"/>
                    <a:pt x="3695003" y="683848"/>
                  </a:cubicBezTo>
                  <a:cubicBezTo>
                    <a:pt x="3695003" y="673894"/>
                    <a:pt x="3703073" y="665824"/>
                    <a:pt x="3713027" y="665824"/>
                  </a:cubicBezTo>
                  <a:close/>
                  <a:moveTo>
                    <a:pt x="3274433" y="665824"/>
                  </a:moveTo>
                  <a:cubicBezTo>
                    <a:pt x="3284388" y="665824"/>
                    <a:pt x="3292458" y="673894"/>
                    <a:pt x="3292458" y="683848"/>
                  </a:cubicBezTo>
                  <a:cubicBezTo>
                    <a:pt x="3292458" y="693803"/>
                    <a:pt x="3284388" y="701873"/>
                    <a:pt x="3274433" y="701873"/>
                  </a:cubicBezTo>
                  <a:cubicBezTo>
                    <a:pt x="3264478" y="701873"/>
                    <a:pt x="3256409" y="693803"/>
                    <a:pt x="3256409" y="683848"/>
                  </a:cubicBezTo>
                  <a:cubicBezTo>
                    <a:pt x="3256409" y="673894"/>
                    <a:pt x="3264478" y="665824"/>
                    <a:pt x="3274433" y="665824"/>
                  </a:cubicBezTo>
                  <a:close/>
                  <a:moveTo>
                    <a:pt x="1291748" y="665824"/>
                  </a:moveTo>
                  <a:cubicBezTo>
                    <a:pt x="1301703" y="665824"/>
                    <a:pt x="1309773" y="673894"/>
                    <a:pt x="1309773" y="683848"/>
                  </a:cubicBezTo>
                  <a:cubicBezTo>
                    <a:pt x="1309773" y="693803"/>
                    <a:pt x="1301703" y="701873"/>
                    <a:pt x="1291748" y="701873"/>
                  </a:cubicBezTo>
                  <a:cubicBezTo>
                    <a:pt x="1281794" y="701873"/>
                    <a:pt x="1273724" y="693803"/>
                    <a:pt x="1273724" y="683848"/>
                  </a:cubicBezTo>
                  <a:cubicBezTo>
                    <a:pt x="1273724" y="673894"/>
                    <a:pt x="1281794" y="665824"/>
                    <a:pt x="1291748" y="665824"/>
                  </a:cubicBezTo>
                  <a:close/>
                  <a:moveTo>
                    <a:pt x="636862" y="665824"/>
                  </a:moveTo>
                  <a:cubicBezTo>
                    <a:pt x="646817" y="665824"/>
                    <a:pt x="654887" y="673894"/>
                    <a:pt x="654887" y="683848"/>
                  </a:cubicBezTo>
                  <a:cubicBezTo>
                    <a:pt x="654887" y="693803"/>
                    <a:pt x="646817" y="701873"/>
                    <a:pt x="636862" y="701873"/>
                  </a:cubicBezTo>
                  <a:cubicBezTo>
                    <a:pt x="626908" y="701873"/>
                    <a:pt x="618838" y="693803"/>
                    <a:pt x="618838" y="683848"/>
                  </a:cubicBezTo>
                  <a:cubicBezTo>
                    <a:pt x="618838" y="673894"/>
                    <a:pt x="626908" y="665824"/>
                    <a:pt x="636862" y="665824"/>
                  </a:cubicBezTo>
                  <a:close/>
                  <a:moveTo>
                    <a:pt x="3172295" y="659815"/>
                  </a:moveTo>
                  <a:cubicBezTo>
                    <a:pt x="3182250" y="659815"/>
                    <a:pt x="3190320" y="667885"/>
                    <a:pt x="3190320" y="677839"/>
                  </a:cubicBezTo>
                  <a:cubicBezTo>
                    <a:pt x="3190320" y="687794"/>
                    <a:pt x="3182250" y="695864"/>
                    <a:pt x="3172295" y="695864"/>
                  </a:cubicBezTo>
                  <a:cubicBezTo>
                    <a:pt x="3162341" y="695864"/>
                    <a:pt x="3154271" y="687794"/>
                    <a:pt x="3154271" y="677839"/>
                  </a:cubicBezTo>
                  <a:cubicBezTo>
                    <a:pt x="3154271" y="667885"/>
                    <a:pt x="3162341" y="659815"/>
                    <a:pt x="3172295" y="659815"/>
                  </a:cubicBezTo>
                  <a:close/>
                  <a:moveTo>
                    <a:pt x="6314550" y="647799"/>
                  </a:moveTo>
                  <a:cubicBezTo>
                    <a:pt x="6324504" y="647799"/>
                    <a:pt x="6332574" y="655869"/>
                    <a:pt x="6332574" y="665824"/>
                  </a:cubicBezTo>
                  <a:cubicBezTo>
                    <a:pt x="6332574" y="675778"/>
                    <a:pt x="6324505" y="683848"/>
                    <a:pt x="6314550" y="683848"/>
                  </a:cubicBezTo>
                  <a:cubicBezTo>
                    <a:pt x="6304595" y="683848"/>
                    <a:pt x="6296525" y="675778"/>
                    <a:pt x="6296525" y="665824"/>
                  </a:cubicBezTo>
                  <a:cubicBezTo>
                    <a:pt x="6296525" y="655869"/>
                    <a:pt x="6304594" y="647799"/>
                    <a:pt x="6314550" y="647799"/>
                  </a:cubicBezTo>
                  <a:close/>
                  <a:moveTo>
                    <a:pt x="3040116" y="647799"/>
                  </a:moveTo>
                  <a:cubicBezTo>
                    <a:pt x="3050071" y="647799"/>
                    <a:pt x="3058141" y="655869"/>
                    <a:pt x="3058141" y="665824"/>
                  </a:cubicBezTo>
                  <a:cubicBezTo>
                    <a:pt x="3058141" y="675778"/>
                    <a:pt x="3050071" y="683848"/>
                    <a:pt x="3040116" y="683848"/>
                  </a:cubicBezTo>
                  <a:cubicBezTo>
                    <a:pt x="3030161" y="683848"/>
                    <a:pt x="3022092" y="675778"/>
                    <a:pt x="3022092" y="665824"/>
                  </a:cubicBezTo>
                  <a:cubicBezTo>
                    <a:pt x="3022092" y="655869"/>
                    <a:pt x="3030161" y="647799"/>
                    <a:pt x="3040116" y="647799"/>
                  </a:cubicBezTo>
                  <a:close/>
                  <a:moveTo>
                    <a:pt x="4025450" y="641791"/>
                  </a:moveTo>
                  <a:cubicBezTo>
                    <a:pt x="4035405" y="641791"/>
                    <a:pt x="4043475" y="649860"/>
                    <a:pt x="4043475" y="659815"/>
                  </a:cubicBezTo>
                  <a:cubicBezTo>
                    <a:pt x="4043475" y="669770"/>
                    <a:pt x="4035405" y="677840"/>
                    <a:pt x="4025450" y="677840"/>
                  </a:cubicBezTo>
                  <a:cubicBezTo>
                    <a:pt x="4015495" y="677840"/>
                    <a:pt x="4007426" y="669770"/>
                    <a:pt x="4007426" y="659815"/>
                  </a:cubicBezTo>
                  <a:cubicBezTo>
                    <a:pt x="4007426" y="649860"/>
                    <a:pt x="4015495" y="641791"/>
                    <a:pt x="4025450" y="641791"/>
                  </a:cubicBezTo>
                  <a:close/>
                  <a:moveTo>
                    <a:pt x="5948053" y="629775"/>
                  </a:moveTo>
                  <a:cubicBezTo>
                    <a:pt x="5958008" y="629775"/>
                    <a:pt x="5966078" y="637845"/>
                    <a:pt x="5966078" y="647799"/>
                  </a:cubicBezTo>
                  <a:cubicBezTo>
                    <a:pt x="5966078" y="657754"/>
                    <a:pt x="5958008" y="665824"/>
                    <a:pt x="5948053" y="665824"/>
                  </a:cubicBezTo>
                  <a:cubicBezTo>
                    <a:pt x="5938098" y="665824"/>
                    <a:pt x="5930029" y="657754"/>
                    <a:pt x="5930029" y="647799"/>
                  </a:cubicBezTo>
                  <a:cubicBezTo>
                    <a:pt x="5930029" y="637845"/>
                    <a:pt x="5938098" y="629775"/>
                    <a:pt x="5948053" y="629775"/>
                  </a:cubicBezTo>
                  <a:close/>
                  <a:moveTo>
                    <a:pt x="2673619" y="629775"/>
                  </a:moveTo>
                  <a:cubicBezTo>
                    <a:pt x="2683574" y="629775"/>
                    <a:pt x="2691644" y="637845"/>
                    <a:pt x="2691644" y="647799"/>
                  </a:cubicBezTo>
                  <a:cubicBezTo>
                    <a:pt x="2691644" y="657754"/>
                    <a:pt x="2683574" y="665824"/>
                    <a:pt x="2673619" y="665824"/>
                  </a:cubicBezTo>
                  <a:cubicBezTo>
                    <a:pt x="2663664" y="665824"/>
                    <a:pt x="2655595" y="657754"/>
                    <a:pt x="2655595" y="647799"/>
                  </a:cubicBezTo>
                  <a:cubicBezTo>
                    <a:pt x="2655595" y="637845"/>
                    <a:pt x="2663664" y="629775"/>
                    <a:pt x="2673619" y="629775"/>
                  </a:cubicBezTo>
                  <a:close/>
                  <a:moveTo>
                    <a:pt x="2331156" y="629775"/>
                  </a:moveTo>
                  <a:cubicBezTo>
                    <a:pt x="2341111" y="629775"/>
                    <a:pt x="2349181" y="637845"/>
                    <a:pt x="2349181" y="647799"/>
                  </a:cubicBezTo>
                  <a:cubicBezTo>
                    <a:pt x="2349181" y="657754"/>
                    <a:pt x="2341111" y="665824"/>
                    <a:pt x="2331156" y="665824"/>
                  </a:cubicBezTo>
                  <a:cubicBezTo>
                    <a:pt x="2321202" y="665824"/>
                    <a:pt x="2313132" y="657754"/>
                    <a:pt x="2313132" y="647799"/>
                  </a:cubicBezTo>
                  <a:cubicBezTo>
                    <a:pt x="2313132" y="637845"/>
                    <a:pt x="2321202" y="629775"/>
                    <a:pt x="2331156" y="629775"/>
                  </a:cubicBezTo>
                  <a:close/>
                  <a:moveTo>
                    <a:pt x="1514049" y="629775"/>
                  </a:moveTo>
                  <a:cubicBezTo>
                    <a:pt x="1524004" y="629775"/>
                    <a:pt x="1532074" y="637845"/>
                    <a:pt x="1532074" y="647799"/>
                  </a:cubicBezTo>
                  <a:cubicBezTo>
                    <a:pt x="1532074" y="657754"/>
                    <a:pt x="1524004" y="665824"/>
                    <a:pt x="1514049" y="665824"/>
                  </a:cubicBezTo>
                  <a:cubicBezTo>
                    <a:pt x="1504095" y="665824"/>
                    <a:pt x="1496025" y="657754"/>
                    <a:pt x="1496025" y="647799"/>
                  </a:cubicBezTo>
                  <a:cubicBezTo>
                    <a:pt x="1496025" y="637845"/>
                    <a:pt x="1504095" y="629775"/>
                    <a:pt x="1514049" y="629775"/>
                  </a:cubicBezTo>
                  <a:close/>
                  <a:moveTo>
                    <a:pt x="901219" y="629775"/>
                  </a:moveTo>
                  <a:cubicBezTo>
                    <a:pt x="911174" y="629775"/>
                    <a:pt x="919244" y="637845"/>
                    <a:pt x="919244" y="647799"/>
                  </a:cubicBezTo>
                  <a:cubicBezTo>
                    <a:pt x="919244" y="657754"/>
                    <a:pt x="911174" y="665824"/>
                    <a:pt x="901219" y="665824"/>
                  </a:cubicBezTo>
                  <a:cubicBezTo>
                    <a:pt x="891265" y="665824"/>
                    <a:pt x="883195" y="657754"/>
                    <a:pt x="883195" y="647799"/>
                  </a:cubicBezTo>
                  <a:cubicBezTo>
                    <a:pt x="883195" y="637845"/>
                    <a:pt x="891265" y="629775"/>
                    <a:pt x="901219" y="629775"/>
                  </a:cubicBezTo>
                  <a:close/>
                  <a:moveTo>
                    <a:pt x="5827891" y="617758"/>
                  </a:moveTo>
                  <a:cubicBezTo>
                    <a:pt x="5837846" y="617758"/>
                    <a:pt x="5845916" y="625828"/>
                    <a:pt x="5845916" y="635783"/>
                  </a:cubicBezTo>
                  <a:cubicBezTo>
                    <a:pt x="5845916" y="645737"/>
                    <a:pt x="5837846" y="653807"/>
                    <a:pt x="5827891" y="653807"/>
                  </a:cubicBezTo>
                  <a:cubicBezTo>
                    <a:pt x="5817936" y="653807"/>
                    <a:pt x="5809867" y="645737"/>
                    <a:pt x="5809867" y="635783"/>
                  </a:cubicBezTo>
                  <a:cubicBezTo>
                    <a:pt x="5809867" y="625828"/>
                    <a:pt x="5817936" y="617758"/>
                    <a:pt x="5827891" y="617758"/>
                  </a:cubicBezTo>
                  <a:close/>
                  <a:moveTo>
                    <a:pt x="2469343" y="617758"/>
                  </a:moveTo>
                  <a:cubicBezTo>
                    <a:pt x="2479298" y="617758"/>
                    <a:pt x="2487368" y="625828"/>
                    <a:pt x="2487368" y="635783"/>
                  </a:cubicBezTo>
                  <a:cubicBezTo>
                    <a:pt x="2487368" y="645737"/>
                    <a:pt x="2479298" y="653807"/>
                    <a:pt x="2469343" y="653807"/>
                  </a:cubicBezTo>
                  <a:cubicBezTo>
                    <a:pt x="2459388" y="653807"/>
                    <a:pt x="2451319" y="645737"/>
                    <a:pt x="2451319" y="635783"/>
                  </a:cubicBezTo>
                  <a:cubicBezTo>
                    <a:pt x="2451319" y="625828"/>
                    <a:pt x="2459388" y="617758"/>
                    <a:pt x="2469343" y="617758"/>
                  </a:cubicBezTo>
                  <a:close/>
                  <a:moveTo>
                    <a:pt x="6110273" y="611750"/>
                  </a:moveTo>
                  <a:cubicBezTo>
                    <a:pt x="6120228" y="611750"/>
                    <a:pt x="6128298" y="619819"/>
                    <a:pt x="6128298" y="629774"/>
                  </a:cubicBezTo>
                  <a:cubicBezTo>
                    <a:pt x="6128298" y="639729"/>
                    <a:pt x="6120228" y="647799"/>
                    <a:pt x="6110273" y="647799"/>
                  </a:cubicBezTo>
                  <a:cubicBezTo>
                    <a:pt x="6100318" y="647799"/>
                    <a:pt x="6092248" y="639729"/>
                    <a:pt x="6092248" y="629774"/>
                  </a:cubicBezTo>
                  <a:cubicBezTo>
                    <a:pt x="6092248" y="619819"/>
                    <a:pt x="6100318" y="611750"/>
                    <a:pt x="6110273" y="611750"/>
                  </a:cubicBezTo>
                  <a:close/>
                  <a:moveTo>
                    <a:pt x="3598872" y="611750"/>
                  </a:moveTo>
                  <a:cubicBezTo>
                    <a:pt x="3608827" y="611750"/>
                    <a:pt x="3616897" y="619819"/>
                    <a:pt x="3616897" y="629774"/>
                  </a:cubicBezTo>
                  <a:cubicBezTo>
                    <a:pt x="3616897" y="639729"/>
                    <a:pt x="3608827" y="647799"/>
                    <a:pt x="3598872" y="647799"/>
                  </a:cubicBezTo>
                  <a:cubicBezTo>
                    <a:pt x="3588918" y="647799"/>
                    <a:pt x="3580848" y="639729"/>
                    <a:pt x="3580848" y="629774"/>
                  </a:cubicBezTo>
                  <a:cubicBezTo>
                    <a:pt x="3580848" y="619819"/>
                    <a:pt x="3588918" y="611750"/>
                    <a:pt x="3598872" y="611750"/>
                  </a:cubicBezTo>
                  <a:close/>
                  <a:moveTo>
                    <a:pt x="2150912" y="611750"/>
                  </a:moveTo>
                  <a:cubicBezTo>
                    <a:pt x="2160867" y="611750"/>
                    <a:pt x="2168937" y="619819"/>
                    <a:pt x="2168937" y="629774"/>
                  </a:cubicBezTo>
                  <a:cubicBezTo>
                    <a:pt x="2168937" y="639729"/>
                    <a:pt x="2160867" y="647799"/>
                    <a:pt x="2150912" y="647799"/>
                  </a:cubicBezTo>
                  <a:cubicBezTo>
                    <a:pt x="2140958" y="647799"/>
                    <a:pt x="2132888" y="639729"/>
                    <a:pt x="2132888" y="629774"/>
                  </a:cubicBezTo>
                  <a:cubicBezTo>
                    <a:pt x="2132888" y="619819"/>
                    <a:pt x="2140958" y="611750"/>
                    <a:pt x="2150912" y="611750"/>
                  </a:cubicBezTo>
                  <a:close/>
                  <a:moveTo>
                    <a:pt x="2036758" y="605742"/>
                  </a:moveTo>
                  <a:cubicBezTo>
                    <a:pt x="2046712" y="605742"/>
                    <a:pt x="2054782" y="613812"/>
                    <a:pt x="2054782" y="623766"/>
                  </a:cubicBezTo>
                  <a:cubicBezTo>
                    <a:pt x="2054782" y="633721"/>
                    <a:pt x="2046712" y="641791"/>
                    <a:pt x="2036758" y="641791"/>
                  </a:cubicBezTo>
                  <a:cubicBezTo>
                    <a:pt x="2026803" y="641791"/>
                    <a:pt x="2018733" y="633721"/>
                    <a:pt x="2018733" y="623766"/>
                  </a:cubicBezTo>
                  <a:cubicBezTo>
                    <a:pt x="2018733" y="613812"/>
                    <a:pt x="2026803" y="605742"/>
                    <a:pt x="2036758" y="605742"/>
                  </a:cubicBezTo>
                  <a:close/>
                  <a:moveTo>
                    <a:pt x="1652236" y="605742"/>
                  </a:moveTo>
                  <a:cubicBezTo>
                    <a:pt x="1662191" y="605742"/>
                    <a:pt x="1670261" y="613812"/>
                    <a:pt x="1670261" y="623766"/>
                  </a:cubicBezTo>
                  <a:cubicBezTo>
                    <a:pt x="1670261" y="633721"/>
                    <a:pt x="1662191" y="641791"/>
                    <a:pt x="1652236" y="641791"/>
                  </a:cubicBezTo>
                  <a:cubicBezTo>
                    <a:pt x="1642282" y="641791"/>
                    <a:pt x="1634212" y="633721"/>
                    <a:pt x="1634212" y="623766"/>
                  </a:cubicBezTo>
                  <a:cubicBezTo>
                    <a:pt x="1634212" y="613812"/>
                    <a:pt x="1642282" y="605742"/>
                    <a:pt x="1652236" y="605742"/>
                  </a:cubicBezTo>
                  <a:close/>
                  <a:moveTo>
                    <a:pt x="1027390" y="605742"/>
                  </a:moveTo>
                  <a:cubicBezTo>
                    <a:pt x="1037345" y="605742"/>
                    <a:pt x="1045415" y="613812"/>
                    <a:pt x="1045415" y="623766"/>
                  </a:cubicBezTo>
                  <a:cubicBezTo>
                    <a:pt x="1045415" y="633721"/>
                    <a:pt x="1037345" y="641791"/>
                    <a:pt x="1027390" y="641791"/>
                  </a:cubicBezTo>
                  <a:cubicBezTo>
                    <a:pt x="1017436" y="641791"/>
                    <a:pt x="1009366" y="633721"/>
                    <a:pt x="1009366" y="623766"/>
                  </a:cubicBezTo>
                  <a:cubicBezTo>
                    <a:pt x="1009366" y="613812"/>
                    <a:pt x="1017436" y="605742"/>
                    <a:pt x="1027390" y="605742"/>
                  </a:cubicBezTo>
                  <a:close/>
                  <a:moveTo>
                    <a:pt x="504684" y="605742"/>
                  </a:moveTo>
                  <a:cubicBezTo>
                    <a:pt x="514638" y="605742"/>
                    <a:pt x="522708" y="613812"/>
                    <a:pt x="522708" y="623766"/>
                  </a:cubicBezTo>
                  <a:cubicBezTo>
                    <a:pt x="522708" y="633721"/>
                    <a:pt x="514638" y="641791"/>
                    <a:pt x="504684" y="641791"/>
                  </a:cubicBezTo>
                  <a:cubicBezTo>
                    <a:pt x="494729" y="641791"/>
                    <a:pt x="486659" y="633721"/>
                    <a:pt x="486659" y="623766"/>
                  </a:cubicBezTo>
                  <a:cubicBezTo>
                    <a:pt x="486659" y="613812"/>
                    <a:pt x="494729" y="605742"/>
                    <a:pt x="504684" y="605742"/>
                  </a:cubicBezTo>
                  <a:close/>
                  <a:moveTo>
                    <a:pt x="378512" y="605742"/>
                  </a:moveTo>
                  <a:cubicBezTo>
                    <a:pt x="388467" y="605742"/>
                    <a:pt x="396537" y="613812"/>
                    <a:pt x="396537" y="623766"/>
                  </a:cubicBezTo>
                  <a:cubicBezTo>
                    <a:pt x="396537" y="633721"/>
                    <a:pt x="388467" y="641791"/>
                    <a:pt x="378512" y="641791"/>
                  </a:cubicBezTo>
                  <a:cubicBezTo>
                    <a:pt x="368558" y="641791"/>
                    <a:pt x="360488" y="633721"/>
                    <a:pt x="360488" y="623766"/>
                  </a:cubicBezTo>
                  <a:cubicBezTo>
                    <a:pt x="360488" y="613812"/>
                    <a:pt x="368558" y="605742"/>
                    <a:pt x="378512" y="605742"/>
                  </a:cubicBezTo>
                  <a:close/>
                  <a:moveTo>
                    <a:pt x="3358547" y="599734"/>
                  </a:moveTo>
                  <a:cubicBezTo>
                    <a:pt x="3368502" y="599734"/>
                    <a:pt x="3376572" y="607804"/>
                    <a:pt x="3376572" y="617758"/>
                  </a:cubicBezTo>
                  <a:cubicBezTo>
                    <a:pt x="3376572" y="627713"/>
                    <a:pt x="3368502" y="635783"/>
                    <a:pt x="3358547" y="635783"/>
                  </a:cubicBezTo>
                  <a:cubicBezTo>
                    <a:pt x="3348593" y="635783"/>
                    <a:pt x="3340523" y="627713"/>
                    <a:pt x="3340523" y="617758"/>
                  </a:cubicBezTo>
                  <a:cubicBezTo>
                    <a:pt x="3340523" y="607804"/>
                    <a:pt x="3348593" y="599734"/>
                    <a:pt x="3358547" y="599734"/>
                  </a:cubicBezTo>
                  <a:close/>
                  <a:moveTo>
                    <a:pt x="3887263" y="593726"/>
                  </a:moveTo>
                  <a:cubicBezTo>
                    <a:pt x="3897218" y="593726"/>
                    <a:pt x="3905288" y="601796"/>
                    <a:pt x="3905288" y="611750"/>
                  </a:cubicBezTo>
                  <a:cubicBezTo>
                    <a:pt x="3905288" y="621705"/>
                    <a:pt x="3897218" y="629775"/>
                    <a:pt x="3887263" y="629775"/>
                  </a:cubicBezTo>
                  <a:cubicBezTo>
                    <a:pt x="3877308" y="629775"/>
                    <a:pt x="3869238" y="621705"/>
                    <a:pt x="3869238" y="611750"/>
                  </a:cubicBezTo>
                  <a:cubicBezTo>
                    <a:pt x="3869238" y="601796"/>
                    <a:pt x="3877308" y="593726"/>
                    <a:pt x="3887263" y="593726"/>
                  </a:cubicBezTo>
                  <a:close/>
                  <a:moveTo>
                    <a:pt x="5623614" y="587718"/>
                  </a:moveTo>
                  <a:cubicBezTo>
                    <a:pt x="5633569" y="587718"/>
                    <a:pt x="5641639" y="595788"/>
                    <a:pt x="5641639" y="605743"/>
                  </a:cubicBezTo>
                  <a:cubicBezTo>
                    <a:pt x="5641639" y="615697"/>
                    <a:pt x="5633569" y="623767"/>
                    <a:pt x="5623614" y="623767"/>
                  </a:cubicBezTo>
                  <a:cubicBezTo>
                    <a:pt x="5613659" y="623767"/>
                    <a:pt x="5605590" y="615697"/>
                    <a:pt x="5605590" y="605743"/>
                  </a:cubicBezTo>
                  <a:cubicBezTo>
                    <a:pt x="5605590" y="595788"/>
                    <a:pt x="5613659" y="587718"/>
                    <a:pt x="5623614" y="587718"/>
                  </a:cubicBezTo>
                  <a:close/>
                  <a:moveTo>
                    <a:pt x="4157629" y="587718"/>
                  </a:moveTo>
                  <a:cubicBezTo>
                    <a:pt x="4167584" y="587718"/>
                    <a:pt x="4175654" y="595788"/>
                    <a:pt x="4175654" y="605743"/>
                  </a:cubicBezTo>
                  <a:cubicBezTo>
                    <a:pt x="4175654" y="615697"/>
                    <a:pt x="4167584" y="623767"/>
                    <a:pt x="4157629" y="623767"/>
                  </a:cubicBezTo>
                  <a:cubicBezTo>
                    <a:pt x="4147674" y="623767"/>
                    <a:pt x="4139604" y="615697"/>
                    <a:pt x="4139604" y="605743"/>
                  </a:cubicBezTo>
                  <a:cubicBezTo>
                    <a:pt x="4139604" y="595788"/>
                    <a:pt x="4147674" y="587718"/>
                    <a:pt x="4157629" y="587718"/>
                  </a:cubicBezTo>
                  <a:close/>
                  <a:moveTo>
                    <a:pt x="1886555" y="587718"/>
                  </a:moveTo>
                  <a:cubicBezTo>
                    <a:pt x="1896509" y="587718"/>
                    <a:pt x="1904579" y="595788"/>
                    <a:pt x="1904579" y="605743"/>
                  </a:cubicBezTo>
                  <a:cubicBezTo>
                    <a:pt x="1904579" y="615697"/>
                    <a:pt x="1896509" y="623767"/>
                    <a:pt x="1886555" y="623767"/>
                  </a:cubicBezTo>
                  <a:cubicBezTo>
                    <a:pt x="1876600" y="623767"/>
                    <a:pt x="1868530" y="615697"/>
                    <a:pt x="1868530" y="605743"/>
                  </a:cubicBezTo>
                  <a:cubicBezTo>
                    <a:pt x="1868530" y="595788"/>
                    <a:pt x="1876600" y="587718"/>
                    <a:pt x="1886555" y="587718"/>
                  </a:cubicBezTo>
                  <a:close/>
                  <a:moveTo>
                    <a:pt x="1147553" y="587718"/>
                  </a:moveTo>
                  <a:cubicBezTo>
                    <a:pt x="1157508" y="587718"/>
                    <a:pt x="1165578" y="595788"/>
                    <a:pt x="1165578" y="605743"/>
                  </a:cubicBezTo>
                  <a:cubicBezTo>
                    <a:pt x="1165578" y="615697"/>
                    <a:pt x="1157508" y="623767"/>
                    <a:pt x="1147553" y="623767"/>
                  </a:cubicBezTo>
                  <a:cubicBezTo>
                    <a:pt x="1137599" y="623767"/>
                    <a:pt x="1129529" y="615697"/>
                    <a:pt x="1129529" y="605743"/>
                  </a:cubicBezTo>
                  <a:cubicBezTo>
                    <a:pt x="1129529" y="595788"/>
                    <a:pt x="1137599" y="587718"/>
                    <a:pt x="1147553" y="587718"/>
                  </a:cubicBezTo>
                  <a:close/>
                  <a:moveTo>
                    <a:pt x="6212411" y="581710"/>
                  </a:moveTo>
                  <a:cubicBezTo>
                    <a:pt x="6222366" y="581710"/>
                    <a:pt x="6230436" y="589779"/>
                    <a:pt x="6230436" y="599734"/>
                  </a:cubicBezTo>
                  <a:cubicBezTo>
                    <a:pt x="6230436" y="609689"/>
                    <a:pt x="6222366" y="617759"/>
                    <a:pt x="6212411" y="617759"/>
                  </a:cubicBezTo>
                  <a:cubicBezTo>
                    <a:pt x="6202457" y="617759"/>
                    <a:pt x="6194387" y="609689"/>
                    <a:pt x="6194387" y="599734"/>
                  </a:cubicBezTo>
                  <a:cubicBezTo>
                    <a:pt x="6194387" y="589779"/>
                    <a:pt x="6202457" y="581710"/>
                    <a:pt x="6212411" y="581710"/>
                  </a:cubicBezTo>
                  <a:close/>
                  <a:moveTo>
                    <a:pt x="3478710" y="581710"/>
                  </a:moveTo>
                  <a:cubicBezTo>
                    <a:pt x="3488665" y="581710"/>
                    <a:pt x="3496735" y="589779"/>
                    <a:pt x="3496735" y="599734"/>
                  </a:cubicBezTo>
                  <a:cubicBezTo>
                    <a:pt x="3496735" y="609689"/>
                    <a:pt x="3488665" y="617759"/>
                    <a:pt x="3478710" y="617759"/>
                  </a:cubicBezTo>
                  <a:cubicBezTo>
                    <a:pt x="3468756" y="617759"/>
                    <a:pt x="3460686" y="609689"/>
                    <a:pt x="3460686" y="599734"/>
                  </a:cubicBezTo>
                  <a:cubicBezTo>
                    <a:pt x="3460686" y="589779"/>
                    <a:pt x="3468756" y="581710"/>
                    <a:pt x="3478710" y="581710"/>
                  </a:cubicBezTo>
                  <a:close/>
                  <a:moveTo>
                    <a:pt x="2883904" y="581710"/>
                  </a:moveTo>
                  <a:cubicBezTo>
                    <a:pt x="2893859" y="581710"/>
                    <a:pt x="2901929" y="589779"/>
                    <a:pt x="2901929" y="599734"/>
                  </a:cubicBezTo>
                  <a:cubicBezTo>
                    <a:pt x="2901929" y="609689"/>
                    <a:pt x="2893859" y="617759"/>
                    <a:pt x="2883904" y="617759"/>
                  </a:cubicBezTo>
                  <a:cubicBezTo>
                    <a:pt x="2873949" y="617759"/>
                    <a:pt x="2865880" y="609689"/>
                    <a:pt x="2865880" y="599734"/>
                  </a:cubicBezTo>
                  <a:cubicBezTo>
                    <a:pt x="2865880" y="589779"/>
                    <a:pt x="2873949" y="581710"/>
                    <a:pt x="2883904" y="581710"/>
                  </a:cubicBezTo>
                  <a:close/>
                  <a:moveTo>
                    <a:pt x="4488076" y="575702"/>
                  </a:moveTo>
                  <a:cubicBezTo>
                    <a:pt x="4498031" y="575702"/>
                    <a:pt x="4506101" y="583772"/>
                    <a:pt x="4506101" y="593726"/>
                  </a:cubicBezTo>
                  <a:cubicBezTo>
                    <a:pt x="4506101" y="603681"/>
                    <a:pt x="4498031" y="611751"/>
                    <a:pt x="4488076" y="611751"/>
                  </a:cubicBezTo>
                  <a:cubicBezTo>
                    <a:pt x="4478121" y="611751"/>
                    <a:pt x="4470051" y="603681"/>
                    <a:pt x="4470051" y="593726"/>
                  </a:cubicBezTo>
                  <a:cubicBezTo>
                    <a:pt x="4470051" y="583772"/>
                    <a:pt x="4478121" y="575702"/>
                    <a:pt x="4488076" y="575702"/>
                  </a:cubicBezTo>
                  <a:close/>
                  <a:moveTo>
                    <a:pt x="4313840" y="575702"/>
                  </a:moveTo>
                  <a:cubicBezTo>
                    <a:pt x="4323795" y="575702"/>
                    <a:pt x="4331865" y="583772"/>
                    <a:pt x="4331865" y="593726"/>
                  </a:cubicBezTo>
                  <a:cubicBezTo>
                    <a:pt x="4331865" y="603681"/>
                    <a:pt x="4323795" y="611751"/>
                    <a:pt x="4313840" y="611751"/>
                  </a:cubicBezTo>
                  <a:cubicBezTo>
                    <a:pt x="4303886" y="611751"/>
                    <a:pt x="4295816" y="603681"/>
                    <a:pt x="4295816" y="593726"/>
                  </a:cubicBezTo>
                  <a:cubicBezTo>
                    <a:pt x="4295816" y="583772"/>
                    <a:pt x="4303886" y="575702"/>
                    <a:pt x="4313840" y="575702"/>
                  </a:cubicBezTo>
                  <a:close/>
                  <a:moveTo>
                    <a:pt x="1381870" y="569693"/>
                  </a:moveTo>
                  <a:cubicBezTo>
                    <a:pt x="1391825" y="569693"/>
                    <a:pt x="1399895" y="577763"/>
                    <a:pt x="1399895" y="587717"/>
                  </a:cubicBezTo>
                  <a:cubicBezTo>
                    <a:pt x="1399895" y="597672"/>
                    <a:pt x="1391825" y="605742"/>
                    <a:pt x="1381870" y="605742"/>
                  </a:cubicBezTo>
                  <a:cubicBezTo>
                    <a:pt x="1371916" y="605742"/>
                    <a:pt x="1363846" y="597672"/>
                    <a:pt x="1363846" y="587717"/>
                  </a:cubicBezTo>
                  <a:cubicBezTo>
                    <a:pt x="1363846" y="577763"/>
                    <a:pt x="1371916" y="569693"/>
                    <a:pt x="1381870" y="569693"/>
                  </a:cubicBezTo>
                  <a:close/>
                  <a:moveTo>
                    <a:pt x="126170" y="563685"/>
                  </a:moveTo>
                  <a:cubicBezTo>
                    <a:pt x="136125" y="563685"/>
                    <a:pt x="144195" y="571755"/>
                    <a:pt x="144195" y="581709"/>
                  </a:cubicBezTo>
                  <a:cubicBezTo>
                    <a:pt x="144195" y="591664"/>
                    <a:pt x="136125" y="599734"/>
                    <a:pt x="126170" y="599734"/>
                  </a:cubicBezTo>
                  <a:cubicBezTo>
                    <a:pt x="116216" y="599734"/>
                    <a:pt x="108146" y="591664"/>
                    <a:pt x="108146" y="581709"/>
                  </a:cubicBezTo>
                  <a:cubicBezTo>
                    <a:pt x="108146" y="571755"/>
                    <a:pt x="116216" y="563685"/>
                    <a:pt x="126170" y="563685"/>
                  </a:cubicBezTo>
                  <a:close/>
                  <a:moveTo>
                    <a:pt x="2583497" y="557677"/>
                  </a:moveTo>
                  <a:cubicBezTo>
                    <a:pt x="2593452" y="557677"/>
                    <a:pt x="2601522" y="565747"/>
                    <a:pt x="2601522" y="575702"/>
                  </a:cubicBezTo>
                  <a:cubicBezTo>
                    <a:pt x="2601522" y="585656"/>
                    <a:pt x="2593452" y="593726"/>
                    <a:pt x="2583497" y="593726"/>
                  </a:cubicBezTo>
                  <a:cubicBezTo>
                    <a:pt x="2573542" y="593726"/>
                    <a:pt x="2565473" y="585656"/>
                    <a:pt x="2565473" y="575702"/>
                  </a:cubicBezTo>
                  <a:cubicBezTo>
                    <a:pt x="2565473" y="565747"/>
                    <a:pt x="2573542" y="557677"/>
                    <a:pt x="2583497" y="557677"/>
                  </a:cubicBezTo>
                  <a:close/>
                  <a:moveTo>
                    <a:pt x="246333" y="557677"/>
                  </a:moveTo>
                  <a:cubicBezTo>
                    <a:pt x="256288" y="557677"/>
                    <a:pt x="264358" y="565747"/>
                    <a:pt x="264358" y="575702"/>
                  </a:cubicBezTo>
                  <a:cubicBezTo>
                    <a:pt x="264358" y="585656"/>
                    <a:pt x="256288" y="593726"/>
                    <a:pt x="246333" y="593726"/>
                  </a:cubicBezTo>
                  <a:cubicBezTo>
                    <a:pt x="236379" y="593726"/>
                    <a:pt x="228309" y="585656"/>
                    <a:pt x="228309" y="575702"/>
                  </a:cubicBezTo>
                  <a:cubicBezTo>
                    <a:pt x="228309" y="565747"/>
                    <a:pt x="236379" y="557677"/>
                    <a:pt x="246333" y="557677"/>
                  </a:cubicBezTo>
                  <a:close/>
                  <a:moveTo>
                    <a:pt x="1736351" y="551669"/>
                  </a:moveTo>
                  <a:cubicBezTo>
                    <a:pt x="1746305" y="551669"/>
                    <a:pt x="1754375" y="559738"/>
                    <a:pt x="1754375" y="569693"/>
                  </a:cubicBezTo>
                  <a:cubicBezTo>
                    <a:pt x="1754375" y="579648"/>
                    <a:pt x="1746305" y="587718"/>
                    <a:pt x="1736351" y="587718"/>
                  </a:cubicBezTo>
                  <a:cubicBezTo>
                    <a:pt x="1726396" y="587718"/>
                    <a:pt x="1718326" y="579648"/>
                    <a:pt x="1718326" y="569693"/>
                  </a:cubicBezTo>
                  <a:cubicBezTo>
                    <a:pt x="1718326" y="559738"/>
                    <a:pt x="1726396" y="551669"/>
                    <a:pt x="1736351" y="551669"/>
                  </a:cubicBezTo>
                  <a:close/>
                  <a:moveTo>
                    <a:pt x="3731051" y="545661"/>
                  </a:moveTo>
                  <a:cubicBezTo>
                    <a:pt x="3741006" y="545661"/>
                    <a:pt x="3749076" y="553731"/>
                    <a:pt x="3749076" y="563685"/>
                  </a:cubicBezTo>
                  <a:cubicBezTo>
                    <a:pt x="3749076" y="573640"/>
                    <a:pt x="3741006" y="581710"/>
                    <a:pt x="3731051" y="581710"/>
                  </a:cubicBezTo>
                  <a:cubicBezTo>
                    <a:pt x="3721096" y="581710"/>
                    <a:pt x="3713027" y="573640"/>
                    <a:pt x="3713027" y="563685"/>
                  </a:cubicBezTo>
                  <a:cubicBezTo>
                    <a:pt x="3713027" y="553731"/>
                    <a:pt x="3721096" y="545661"/>
                    <a:pt x="3731051" y="545661"/>
                  </a:cubicBezTo>
                  <a:close/>
                  <a:moveTo>
                    <a:pt x="2763741" y="545661"/>
                  </a:moveTo>
                  <a:cubicBezTo>
                    <a:pt x="2773696" y="545661"/>
                    <a:pt x="2781766" y="553731"/>
                    <a:pt x="2781766" y="563685"/>
                  </a:cubicBezTo>
                  <a:cubicBezTo>
                    <a:pt x="2781766" y="573640"/>
                    <a:pt x="2773696" y="581710"/>
                    <a:pt x="2763741" y="581710"/>
                  </a:cubicBezTo>
                  <a:cubicBezTo>
                    <a:pt x="2753786" y="581710"/>
                    <a:pt x="2745717" y="573640"/>
                    <a:pt x="2745717" y="563685"/>
                  </a:cubicBezTo>
                  <a:cubicBezTo>
                    <a:pt x="2745717" y="553731"/>
                    <a:pt x="2753786" y="545661"/>
                    <a:pt x="2763741" y="545661"/>
                  </a:cubicBezTo>
                  <a:close/>
                  <a:moveTo>
                    <a:pt x="726984" y="545661"/>
                  </a:moveTo>
                  <a:cubicBezTo>
                    <a:pt x="736939" y="545661"/>
                    <a:pt x="745009" y="553731"/>
                    <a:pt x="745009" y="563685"/>
                  </a:cubicBezTo>
                  <a:cubicBezTo>
                    <a:pt x="745009" y="573640"/>
                    <a:pt x="736939" y="581710"/>
                    <a:pt x="726984" y="581710"/>
                  </a:cubicBezTo>
                  <a:cubicBezTo>
                    <a:pt x="717030" y="581710"/>
                    <a:pt x="708960" y="573640"/>
                    <a:pt x="708960" y="563685"/>
                  </a:cubicBezTo>
                  <a:cubicBezTo>
                    <a:pt x="708960" y="553731"/>
                    <a:pt x="717030" y="545661"/>
                    <a:pt x="726984" y="545661"/>
                  </a:cubicBezTo>
                  <a:close/>
                  <a:moveTo>
                    <a:pt x="3136246" y="539653"/>
                  </a:moveTo>
                  <a:cubicBezTo>
                    <a:pt x="3146201" y="539653"/>
                    <a:pt x="3154271" y="547723"/>
                    <a:pt x="3154271" y="557677"/>
                  </a:cubicBezTo>
                  <a:cubicBezTo>
                    <a:pt x="3154271" y="567632"/>
                    <a:pt x="3146201" y="575702"/>
                    <a:pt x="3136246" y="575702"/>
                  </a:cubicBezTo>
                  <a:cubicBezTo>
                    <a:pt x="3126291" y="575702"/>
                    <a:pt x="3118221" y="567632"/>
                    <a:pt x="3118221" y="557677"/>
                  </a:cubicBezTo>
                  <a:cubicBezTo>
                    <a:pt x="3118221" y="547723"/>
                    <a:pt x="3126291" y="539653"/>
                    <a:pt x="3136246" y="539653"/>
                  </a:cubicBezTo>
                  <a:close/>
                  <a:moveTo>
                    <a:pt x="3004067" y="539653"/>
                  </a:moveTo>
                  <a:cubicBezTo>
                    <a:pt x="3014022" y="539653"/>
                    <a:pt x="3022092" y="547723"/>
                    <a:pt x="3022092" y="557677"/>
                  </a:cubicBezTo>
                  <a:cubicBezTo>
                    <a:pt x="3022092" y="567632"/>
                    <a:pt x="3014022" y="575702"/>
                    <a:pt x="3004067" y="575702"/>
                  </a:cubicBezTo>
                  <a:cubicBezTo>
                    <a:pt x="2994112" y="575702"/>
                    <a:pt x="2986043" y="567632"/>
                    <a:pt x="2986043" y="557677"/>
                  </a:cubicBezTo>
                  <a:cubicBezTo>
                    <a:pt x="2986043" y="547723"/>
                    <a:pt x="2994112" y="539653"/>
                    <a:pt x="3004067" y="539653"/>
                  </a:cubicBezTo>
                  <a:close/>
                  <a:moveTo>
                    <a:pt x="835130" y="539653"/>
                  </a:moveTo>
                  <a:cubicBezTo>
                    <a:pt x="841767" y="539653"/>
                    <a:pt x="847146" y="545033"/>
                    <a:pt x="847146" y="551669"/>
                  </a:cubicBezTo>
                  <a:cubicBezTo>
                    <a:pt x="847146" y="558306"/>
                    <a:pt x="841767" y="563685"/>
                    <a:pt x="835130" y="563685"/>
                  </a:cubicBezTo>
                  <a:cubicBezTo>
                    <a:pt x="828494" y="563685"/>
                    <a:pt x="823114" y="558305"/>
                    <a:pt x="823114" y="551669"/>
                  </a:cubicBezTo>
                  <a:cubicBezTo>
                    <a:pt x="823114" y="545033"/>
                    <a:pt x="828494" y="539653"/>
                    <a:pt x="835130" y="539653"/>
                  </a:cubicBezTo>
                  <a:close/>
                  <a:moveTo>
                    <a:pt x="612829" y="539653"/>
                  </a:moveTo>
                  <a:cubicBezTo>
                    <a:pt x="622784" y="539653"/>
                    <a:pt x="630854" y="547723"/>
                    <a:pt x="630854" y="557677"/>
                  </a:cubicBezTo>
                  <a:cubicBezTo>
                    <a:pt x="630854" y="567632"/>
                    <a:pt x="622784" y="575702"/>
                    <a:pt x="612829" y="575702"/>
                  </a:cubicBezTo>
                  <a:cubicBezTo>
                    <a:pt x="602875" y="575702"/>
                    <a:pt x="594805" y="567632"/>
                    <a:pt x="594805" y="557677"/>
                  </a:cubicBezTo>
                  <a:cubicBezTo>
                    <a:pt x="594805" y="547723"/>
                    <a:pt x="602875" y="539653"/>
                    <a:pt x="612829" y="539653"/>
                  </a:cubicBezTo>
                  <a:close/>
                  <a:moveTo>
                    <a:pt x="6014143" y="533645"/>
                  </a:moveTo>
                  <a:cubicBezTo>
                    <a:pt x="6024098" y="533645"/>
                    <a:pt x="6032168" y="541715"/>
                    <a:pt x="6032168" y="551669"/>
                  </a:cubicBezTo>
                  <a:cubicBezTo>
                    <a:pt x="6032168" y="561624"/>
                    <a:pt x="6024098" y="569694"/>
                    <a:pt x="6014143" y="569694"/>
                  </a:cubicBezTo>
                  <a:cubicBezTo>
                    <a:pt x="6004188" y="569694"/>
                    <a:pt x="5996119" y="561624"/>
                    <a:pt x="5996119" y="551669"/>
                  </a:cubicBezTo>
                  <a:cubicBezTo>
                    <a:pt x="5996119" y="541715"/>
                    <a:pt x="6004188" y="533645"/>
                    <a:pt x="6014143" y="533645"/>
                  </a:cubicBezTo>
                  <a:close/>
                  <a:moveTo>
                    <a:pt x="5725752" y="533645"/>
                  </a:moveTo>
                  <a:cubicBezTo>
                    <a:pt x="5735707" y="533645"/>
                    <a:pt x="5743777" y="541715"/>
                    <a:pt x="5743777" y="551669"/>
                  </a:cubicBezTo>
                  <a:cubicBezTo>
                    <a:pt x="5743777" y="561624"/>
                    <a:pt x="5735707" y="569694"/>
                    <a:pt x="5725752" y="569694"/>
                  </a:cubicBezTo>
                  <a:cubicBezTo>
                    <a:pt x="5715798" y="569694"/>
                    <a:pt x="5707728" y="561624"/>
                    <a:pt x="5707728" y="551669"/>
                  </a:cubicBezTo>
                  <a:cubicBezTo>
                    <a:pt x="5707728" y="541715"/>
                    <a:pt x="5715798" y="533645"/>
                    <a:pt x="5725752" y="533645"/>
                  </a:cubicBezTo>
                  <a:close/>
                  <a:moveTo>
                    <a:pt x="4013434" y="533645"/>
                  </a:moveTo>
                  <a:cubicBezTo>
                    <a:pt x="4023389" y="533645"/>
                    <a:pt x="4031459" y="541715"/>
                    <a:pt x="4031459" y="551669"/>
                  </a:cubicBezTo>
                  <a:cubicBezTo>
                    <a:pt x="4031459" y="561624"/>
                    <a:pt x="4023389" y="569694"/>
                    <a:pt x="4013434" y="569694"/>
                  </a:cubicBezTo>
                  <a:cubicBezTo>
                    <a:pt x="4003480" y="569694"/>
                    <a:pt x="3995410" y="561624"/>
                    <a:pt x="3995410" y="551669"/>
                  </a:cubicBezTo>
                  <a:cubicBezTo>
                    <a:pt x="3995410" y="541715"/>
                    <a:pt x="4003480" y="533645"/>
                    <a:pt x="4013434" y="533645"/>
                  </a:cubicBezTo>
                  <a:close/>
                  <a:moveTo>
                    <a:pt x="2223009" y="533645"/>
                  </a:moveTo>
                  <a:cubicBezTo>
                    <a:pt x="2232964" y="533645"/>
                    <a:pt x="2241034" y="541715"/>
                    <a:pt x="2241034" y="551669"/>
                  </a:cubicBezTo>
                  <a:cubicBezTo>
                    <a:pt x="2241034" y="561624"/>
                    <a:pt x="2232964" y="569694"/>
                    <a:pt x="2223009" y="569694"/>
                  </a:cubicBezTo>
                  <a:cubicBezTo>
                    <a:pt x="2213055" y="569694"/>
                    <a:pt x="2204985" y="561624"/>
                    <a:pt x="2204985" y="551669"/>
                  </a:cubicBezTo>
                  <a:cubicBezTo>
                    <a:pt x="2204985" y="541715"/>
                    <a:pt x="2213055" y="533645"/>
                    <a:pt x="2223009" y="533645"/>
                  </a:cubicBezTo>
                  <a:close/>
                  <a:moveTo>
                    <a:pt x="1249691" y="533645"/>
                  </a:moveTo>
                  <a:cubicBezTo>
                    <a:pt x="1259646" y="533645"/>
                    <a:pt x="1267716" y="541715"/>
                    <a:pt x="1267716" y="551669"/>
                  </a:cubicBezTo>
                  <a:cubicBezTo>
                    <a:pt x="1267716" y="561624"/>
                    <a:pt x="1259646" y="569694"/>
                    <a:pt x="1249691" y="569694"/>
                  </a:cubicBezTo>
                  <a:cubicBezTo>
                    <a:pt x="1239737" y="569694"/>
                    <a:pt x="1231667" y="561624"/>
                    <a:pt x="1231667" y="551669"/>
                  </a:cubicBezTo>
                  <a:cubicBezTo>
                    <a:pt x="1231667" y="541715"/>
                    <a:pt x="1239737" y="533645"/>
                    <a:pt x="1249691" y="533645"/>
                  </a:cubicBezTo>
                  <a:close/>
                  <a:moveTo>
                    <a:pt x="2409261" y="527636"/>
                  </a:moveTo>
                  <a:cubicBezTo>
                    <a:pt x="2419216" y="527636"/>
                    <a:pt x="2427286" y="535706"/>
                    <a:pt x="2427286" y="545661"/>
                  </a:cubicBezTo>
                  <a:cubicBezTo>
                    <a:pt x="2427286" y="555615"/>
                    <a:pt x="2419216" y="563685"/>
                    <a:pt x="2409261" y="563685"/>
                  </a:cubicBezTo>
                  <a:cubicBezTo>
                    <a:pt x="2399307" y="563685"/>
                    <a:pt x="2391237" y="555615"/>
                    <a:pt x="2391237" y="545661"/>
                  </a:cubicBezTo>
                  <a:cubicBezTo>
                    <a:pt x="2391237" y="535706"/>
                    <a:pt x="2399307" y="527636"/>
                    <a:pt x="2409261" y="527636"/>
                  </a:cubicBezTo>
                  <a:close/>
                  <a:moveTo>
                    <a:pt x="5527484" y="521628"/>
                  </a:moveTo>
                  <a:cubicBezTo>
                    <a:pt x="5537439" y="521628"/>
                    <a:pt x="5545509" y="529697"/>
                    <a:pt x="5545509" y="539652"/>
                  </a:cubicBezTo>
                  <a:cubicBezTo>
                    <a:pt x="5545509" y="549607"/>
                    <a:pt x="5537439" y="557677"/>
                    <a:pt x="5527484" y="557677"/>
                  </a:cubicBezTo>
                  <a:cubicBezTo>
                    <a:pt x="5517529" y="557677"/>
                    <a:pt x="5509460" y="549607"/>
                    <a:pt x="5509460" y="539652"/>
                  </a:cubicBezTo>
                  <a:cubicBezTo>
                    <a:pt x="5509460" y="529697"/>
                    <a:pt x="5517529" y="521628"/>
                    <a:pt x="5527484" y="521628"/>
                  </a:cubicBezTo>
                  <a:close/>
                  <a:moveTo>
                    <a:pt x="4830540" y="521628"/>
                  </a:moveTo>
                  <a:cubicBezTo>
                    <a:pt x="4840495" y="521628"/>
                    <a:pt x="4848565" y="529697"/>
                    <a:pt x="4848565" y="539652"/>
                  </a:cubicBezTo>
                  <a:cubicBezTo>
                    <a:pt x="4848565" y="549607"/>
                    <a:pt x="4840495" y="557677"/>
                    <a:pt x="4830540" y="557677"/>
                  </a:cubicBezTo>
                  <a:cubicBezTo>
                    <a:pt x="4820586" y="557677"/>
                    <a:pt x="4812516" y="549607"/>
                    <a:pt x="4812516" y="539652"/>
                  </a:cubicBezTo>
                  <a:cubicBezTo>
                    <a:pt x="4812516" y="529697"/>
                    <a:pt x="4820586" y="521628"/>
                    <a:pt x="4830540" y="521628"/>
                  </a:cubicBezTo>
                  <a:close/>
                  <a:moveTo>
                    <a:pt x="1514049" y="521628"/>
                  </a:moveTo>
                  <a:cubicBezTo>
                    <a:pt x="1524004" y="521628"/>
                    <a:pt x="1532074" y="529697"/>
                    <a:pt x="1532074" y="539652"/>
                  </a:cubicBezTo>
                  <a:cubicBezTo>
                    <a:pt x="1532074" y="549607"/>
                    <a:pt x="1524004" y="557677"/>
                    <a:pt x="1514049" y="557677"/>
                  </a:cubicBezTo>
                  <a:cubicBezTo>
                    <a:pt x="1504095" y="557677"/>
                    <a:pt x="1496025" y="549607"/>
                    <a:pt x="1496025" y="539652"/>
                  </a:cubicBezTo>
                  <a:cubicBezTo>
                    <a:pt x="1496025" y="529697"/>
                    <a:pt x="1504095" y="521628"/>
                    <a:pt x="1514049" y="521628"/>
                  </a:cubicBezTo>
                  <a:close/>
                  <a:moveTo>
                    <a:pt x="6332574" y="515620"/>
                  </a:moveTo>
                  <a:cubicBezTo>
                    <a:pt x="6342528" y="515620"/>
                    <a:pt x="6350598" y="523690"/>
                    <a:pt x="6350598" y="533644"/>
                  </a:cubicBezTo>
                  <a:cubicBezTo>
                    <a:pt x="6350598" y="543599"/>
                    <a:pt x="6342529" y="551669"/>
                    <a:pt x="6332574" y="551669"/>
                  </a:cubicBezTo>
                  <a:cubicBezTo>
                    <a:pt x="6322620" y="551669"/>
                    <a:pt x="6314549" y="543599"/>
                    <a:pt x="6314549" y="533644"/>
                  </a:cubicBezTo>
                  <a:cubicBezTo>
                    <a:pt x="6314549" y="523690"/>
                    <a:pt x="6322619" y="515620"/>
                    <a:pt x="6332574" y="515620"/>
                  </a:cubicBezTo>
                  <a:close/>
                  <a:moveTo>
                    <a:pt x="5893980" y="509612"/>
                  </a:moveTo>
                  <a:cubicBezTo>
                    <a:pt x="5903935" y="509612"/>
                    <a:pt x="5912005" y="517682"/>
                    <a:pt x="5912005" y="527636"/>
                  </a:cubicBezTo>
                  <a:cubicBezTo>
                    <a:pt x="5912005" y="537591"/>
                    <a:pt x="5903935" y="545661"/>
                    <a:pt x="5893980" y="545661"/>
                  </a:cubicBezTo>
                  <a:cubicBezTo>
                    <a:pt x="5884025" y="545661"/>
                    <a:pt x="5875956" y="537591"/>
                    <a:pt x="5875956" y="527636"/>
                  </a:cubicBezTo>
                  <a:cubicBezTo>
                    <a:pt x="5875956" y="517682"/>
                    <a:pt x="5884025" y="509612"/>
                    <a:pt x="5893980" y="509612"/>
                  </a:cubicBezTo>
                  <a:close/>
                  <a:moveTo>
                    <a:pt x="3244392" y="509612"/>
                  </a:moveTo>
                  <a:cubicBezTo>
                    <a:pt x="3254347" y="509612"/>
                    <a:pt x="3262417" y="517682"/>
                    <a:pt x="3262417" y="527636"/>
                  </a:cubicBezTo>
                  <a:cubicBezTo>
                    <a:pt x="3262417" y="537591"/>
                    <a:pt x="3254347" y="545661"/>
                    <a:pt x="3244392" y="545661"/>
                  </a:cubicBezTo>
                  <a:cubicBezTo>
                    <a:pt x="3234437" y="545661"/>
                    <a:pt x="3226368" y="537591"/>
                    <a:pt x="3226368" y="527636"/>
                  </a:cubicBezTo>
                  <a:cubicBezTo>
                    <a:pt x="3226368" y="517682"/>
                    <a:pt x="3234437" y="509612"/>
                    <a:pt x="3244392" y="509612"/>
                  </a:cubicBezTo>
                  <a:close/>
                  <a:moveTo>
                    <a:pt x="1982684" y="509612"/>
                  </a:moveTo>
                  <a:cubicBezTo>
                    <a:pt x="1992639" y="509612"/>
                    <a:pt x="2000709" y="517682"/>
                    <a:pt x="2000709" y="527636"/>
                  </a:cubicBezTo>
                  <a:cubicBezTo>
                    <a:pt x="2000709" y="537591"/>
                    <a:pt x="1992639" y="545661"/>
                    <a:pt x="1982684" y="545661"/>
                  </a:cubicBezTo>
                  <a:cubicBezTo>
                    <a:pt x="1972730" y="545661"/>
                    <a:pt x="1964660" y="537591"/>
                    <a:pt x="1964660" y="527636"/>
                  </a:cubicBezTo>
                  <a:cubicBezTo>
                    <a:pt x="1964660" y="517682"/>
                    <a:pt x="1972730" y="509612"/>
                    <a:pt x="1982684" y="509612"/>
                  </a:cubicBezTo>
                  <a:close/>
                  <a:moveTo>
                    <a:pt x="5040825" y="503604"/>
                  </a:moveTo>
                  <a:cubicBezTo>
                    <a:pt x="5050780" y="503604"/>
                    <a:pt x="5058850" y="511674"/>
                    <a:pt x="5058850" y="521628"/>
                  </a:cubicBezTo>
                  <a:cubicBezTo>
                    <a:pt x="5058850" y="531583"/>
                    <a:pt x="5050780" y="539653"/>
                    <a:pt x="5040825" y="539653"/>
                  </a:cubicBezTo>
                  <a:cubicBezTo>
                    <a:pt x="5030871" y="539653"/>
                    <a:pt x="5022801" y="531583"/>
                    <a:pt x="5022801" y="521628"/>
                  </a:cubicBezTo>
                  <a:cubicBezTo>
                    <a:pt x="5022801" y="511674"/>
                    <a:pt x="5030871" y="503604"/>
                    <a:pt x="5040825" y="503604"/>
                  </a:cubicBezTo>
                  <a:close/>
                  <a:moveTo>
                    <a:pt x="4926670" y="503604"/>
                  </a:moveTo>
                  <a:cubicBezTo>
                    <a:pt x="4936625" y="503604"/>
                    <a:pt x="4944695" y="511674"/>
                    <a:pt x="4944695" y="521628"/>
                  </a:cubicBezTo>
                  <a:cubicBezTo>
                    <a:pt x="4944695" y="531583"/>
                    <a:pt x="4936625" y="539653"/>
                    <a:pt x="4926670" y="539653"/>
                  </a:cubicBezTo>
                  <a:cubicBezTo>
                    <a:pt x="4916715" y="539653"/>
                    <a:pt x="4908646" y="531583"/>
                    <a:pt x="4908646" y="521628"/>
                  </a:cubicBezTo>
                  <a:cubicBezTo>
                    <a:pt x="4908646" y="511674"/>
                    <a:pt x="4916715" y="503604"/>
                    <a:pt x="4926670" y="503604"/>
                  </a:cubicBezTo>
                  <a:close/>
                  <a:moveTo>
                    <a:pt x="5419337" y="497596"/>
                  </a:moveTo>
                  <a:cubicBezTo>
                    <a:pt x="5429292" y="497596"/>
                    <a:pt x="5437362" y="505666"/>
                    <a:pt x="5437362" y="515621"/>
                  </a:cubicBezTo>
                  <a:cubicBezTo>
                    <a:pt x="5437362" y="525575"/>
                    <a:pt x="5429292" y="533645"/>
                    <a:pt x="5419337" y="533645"/>
                  </a:cubicBezTo>
                  <a:cubicBezTo>
                    <a:pt x="5409382" y="533645"/>
                    <a:pt x="5401312" y="525575"/>
                    <a:pt x="5401312" y="515621"/>
                  </a:cubicBezTo>
                  <a:cubicBezTo>
                    <a:pt x="5401312" y="505666"/>
                    <a:pt x="5409382" y="497596"/>
                    <a:pt x="5419337" y="497596"/>
                  </a:cubicBezTo>
                  <a:close/>
                  <a:moveTo>
                    <a:pt x="3610889" y="497596"/>
                  </a:moveTo>
                  <a:cubicBezTo>
                    <a:pt x="3620844" y="497596"/>
                    <a:pt x="3628914" y="505666"/>
                    <a:pt x="3628914" y="515621"/>
                  </a:cubicBezTo>
                  <a:cubicBezTo>
                    <a:pt x="3628914" y="525575"/>
                    <a:pt x="3620844" y="533645"/>
                    <a:pt x="3610889" y="533645"/>
                  </a:cubicBezTo>
                  <a:cubicBezTo>
                    <a:pt x="3600934" y="533645"/>
                    <a:pt x="3592865" y="525575"/>
                    <a:pt x="3592865" y="515621"/>
                  </a:cubicBezTo>
                  <a:cubicBezTo>
                    <a:pt x="3592865" y="505666"/>
                    <a:pt x="3600934" y="497596"/>
                    <a:pt x="3610889" y="497596"/>
                  </a:cubicBezTo>
                  <a:close/>
                  <a:moveTo>
                    <a:pt x="967309" y="497596"/>
                  </a:moveTo>
                  <a:cubicBezTo>
                    <a:pt x="977264" y="497596"/>
                    <a:pt x="985334" y="505666"/>
                    <a:pt x="985334" y="515621"/>
                  </a:cubicBezTo>
                  <a:cubicBezTo>
                    <a:pt x="985334" y="525575"/>
                    <a:pt x="977264" y="533645"/>
                    <a:pt x="967309" y="533645"/>
                  </a:cubicBezTo>
                  <a:cubicBezTo>
                    <a:pt x="957355" y="533645"/>
                    <a:pt x="949285" y="525575"/>
                    <a:pt x="949285" y="515621"/>
                  </a:cubicBezTo>
                  <a:cubicBezTo>
                    <a:pt x="949285" y="505666"/>
                    <a:pt x="957355" y="497596"/>
                    <a:pt x="967309" y="497596"/>
                  </a:cubicBezTo>
                  <a:close/>
                  <a:moveTo>
                    <a:pt x="450609" y="497596"/>
                  </a:moveTo>
                  <a:cubicBezTo>
                    <a:pt x="460564" y="497596"/>
                    <a:pt x="468634" y="505666"/>
                    <a:pt x="468634" y="515621"/>
                  </a:cubicBezTo>
                  <a:cubicBezTo>
                    <a:pt x="468634" y="525575"/>
                    <a:pt x="460564" y="533645"/>
                    <a:pt x="450609" y="533645"/>
                  </a:cubicBezTo>
                  <a:cubicBezTo>
                    <a:pt x="440655" y="533645"/>
                    <a:pt x="432585" y="525575"/>
                    <a:pt x="432585" y="515621"/>
                  </a:cubicBezTo>
                  <a:cubicBezTo>
                    <a:pt x="432585" y="505666"/>
                    <a:pt x="440655" y="497596"/>
                    <a:pt x="450609" y="497596"/>
                  </a:cubicBezTo>
                  <a:close/>
                  <a:moveTo>
                    <a:pt x="4632272" y="485580"/>
                  </a:moveTo>
                  <a:cubicBezTo>
                    <a:pt x="4642227" y="485580"/>
                    <a:pt x="4650297" y="493650"/>
                    <a:pt x="4650297" y="503604"/>
                  </a:cubicBezTo>
                  <a:cubicBezTo>
                    <a:pt x="4650297" y="513559"/>
                    <a:pt x="4642227" y="521629"/>
                    <a:pt x="4632272" y="521629"/>
                  </a:cubicBezTo>
                  <a:cubicBezTo>
                    <a:pt x="4622317" y="521629"/>
                    <a:pt x="4614248" y="513559"/>
                    <a:pt x="4614248" y="503604"/>
                  </a:cubicBezTo>
                  <a:cubicBezTo>
                    <a:pt x="4614248" y="493650"/>
                    <a:pt x="4622317" y="485580"/>
                    <a:pt x="4632272" y="485580"/>
                  </a:cubicBezTo>
                  <a:close/>
                  <a:moveTo>
                    <a:pt x="4379930" y="485580"/>
                  </a:moveTo>
                  <a:cubicBezTo>
                    <a:pt x="4389885" y="485580"/>
                    <a:pt x="4397955" y="493650"/>
                    <a:pt x="4397955" y="503604"/>
                  </a:cubicBezTo>
                  <a:cubicBezTo>
                    <a:pt x="4397955" y="513559"/>
                    <a:pt x="4389885" y="521629"/>
                    <a:pt x="4379930" y="521629"/>
                  </a:cubicBezTo>
                  <a:cubicBezTo>
                    <a:pt x="4369976" y="521629"/>
                    <a:pt x="4361906" y="513559"/>
                    <a:pt x="4361906" y="503604"/>
                  </a:cubicBezTo>
                  <a:cubicBezTo>
                    <a:pt x="4361906" y="493650"/>
                    <a:pt x="4369976" y="485580"/>
                    <a:pt x="4379930" y="485580"/>
                  </a:cubicBezTo>
                  <a:close/>
                  <a:moveTo>
                    <a:pt x="5160987" y="479571"/>
                  </a:moveTo>
                  <a:cubicBezTo>
                    <a:pt x="5170942" y="479571"/>
                    <a:pt x="5179012" y="487641"/>
                    <a:pt x="5179012" y="497595"/>
                  </a:cubicBezTo>
                  <a:cubicBezTo>
                    <a:pt x="5179012" y="507550"/>
                    <a:pt x="5170942" y="515620"/>
                    <a:pt x="5160987" y="515620"/>
                  </a:cubicBezTo>
                  <a:cubicBezTo>
                    <a:pt x="5151033" y="515620"/>
                    <a:pt x="5142963" y="507550"/>
                    <a:pt x="5142963" y="497595"/>
                  </a:cubicBezTo>
                  <a:cubicBezTo>
                    <a:pt x="5142963" y="487641"/>
                    <a:pt x="5151033" y="479571"/>
                    <a:pt x="5160987" y="479571"/>
                  </a:cubicBezTo>
                  <a:close/>
                  <a:moveTo>
                    <a:pt x="4241743" y="479571"/>
                  </a:moveTo>
                  <a:cubicBezTo>
                    <a:pt x="4251698" y="479571"/>
                    <a:pt x="4259768" y="487641"/>
                    <a:pt x="4259768" y="497595"/>
                  </a:cubicBezTo>
                  <a:cubicBezTo>
                    <a:pt x="4259768" y="507550"/>
                    <a:pt x="4251698" y="515620"/>
                    <a:pt x="4241743" y="515620"/>
                  </a:cubicBezTo>
                  <a:cubicBezTo>
                    <a:pt x="4231788" y="515620"/>
                    <a:pt x="4223719" y="507550"/>
                    <a:pt x="4223719" y="497595"/>
                  </a:cubicBezTo>
                  <a:cubicBezTo>
                    <a:pt x="4223719" y="487641"/>
                    <a:pt x="4231788" y="479571"/>
                    <a:pt x="4241743" y="479571"/>
                  </a:cubicBezTo>
                  <a:close/>
                  <a:moveTo>
                    <a:pt x="3821173" y="479571"/>
                  </a:moveTo>
                  <a:cubicBezTo>
                    <a:pt x="3831128" y="479571"/>
                    <a:pt x="3839198" y="487641"/>
                    <a:pt x="3839198" y="497595"/>
                  </a:cubicBezTo>
                  <a:cubicBezTo>
                    <a:pt x="3839198" y="507550"/>
                    <a:pt x="3831128" y="515620"/>
                    <a:pt x="3821173" y="515620"/>
                  </a:cubicBezTo>
                  <a:cubicBezTo>
                    <a:pt x="3811218" y="515620"/>
                    <a:pt x="3803149" y="507550"/>
                    <a:pt x="3803149" y="497595"/>
                  </a:cubicBezTo>
                  <a:cubicBezTo>
                    <a:pt x="3803149" y="487641"/>
                    <a:pt x="3811218" y="479571"/>
                    <a:pt x="3821173" y="479571"/>
                  </a:cubicBezTo>
                  <a:close/>
                  <a:moveTo>
                    <a:pt x="3364555" y="479571"/>
                  </a:moveTo>
                  <a:cubicBezTo>
                    <a:pt x="3374510" y="479571"/>
                    <a:pt x="3382580" y="487641"/>
                    <a:pt x="3382580" y="497595"/>
                  </a:cubicBezTo>
                  <a:cubicBezTo>
                    <a:pt x="3382580" y="507550"/>
                    <a:pt x="3374510" y="515620"/>
                    <a:pt x="3364555" y="515620"/>
                  </a:cubicBezTo>
                  <a:cubicBezTo>
                    <a:pt x="3354600" y="515620"/>
                    <a:pt x="3346531" y="507550"/>
                    <a:pt x="3346531" y="497595"/>
                  </a:cubicBezTo>
                  <a:cubicBezTo>
                    <a:pt x="3346531" y="487641"/>
                    <a:pt x="3354600" y="479571"/>
                    <a:pt x="3364555" y="479571"/>
                  </a:cubicBezTo>
                  <a:close/>
                  <a:moveTo>
                    <a:pt x="1093480" y="479571"/>
                  </a:moveTo>
                  <a:cubicBezTo>
                    <a:pt x="1103435" y="479571"/>
                    <a:pt x="1111505" y="487641"/>
                    <a:pt x="1111505" y="497595"/>
                  </a:cubicBezTo>
                  <a:cubicBezTo>
                    <a:pt x="1111505" y="507550"/>
                    <a:pt x="1103435" y="515620"/>
                    <a:pt x="1093480" y="515620"/>
                  </a:cubicBezTo>
                  <a:cubicBezTo>
                    <a:pt x="1083526" y="515620"/>
                    <a:pt x="1075456" y="507550"/>
                    <a:pt x="1075456" y="497595"/>
                  </a:cubicBezTo>
                  <a:cubicBezTo>
                    <a:pt x="1075456" y="487641"/>
                    <a:pt x="1083526" y="479571"/>
                    <a:pt x="1093480" y="479571"/>
                  </a:cubicBezTo>
                  <a:close/>
                  <a:moveTo>
                    <a:pt x="5299175" y="473563"/>
                  </a:moveTo>
                  <a:cubicBezTo>
                    <a:pt x="5309130" y="473563"/>
                    <a:pt x="5317200" y="481633"/>
                    <a:pt x="5317200" y="491587"/>
                  </a:cubicBezTo>
                  <a:cubicBezTo>
                    <a:pt x="5317200" y="501542"/>
                    <a:pt x="5309130" y="509612"/>
                    <a:pt x="5299175" y="509612"/>
                  </a:cubicBezTo>
                  <a:cubicBezTo>
                    <a:pt x="5289220" y="509612"/>
                    <a:pt x="5281150" y="501542"/>
                    <a:pt x="5281150" y="491587"/>
                  </a:cubicBezTo>
                  <a:cubicBezTo>
                    <a:pt x="5281150" y="481633"/>
                    <a:pt x="5289220" y="473563"/>
                    <a:pt x="5299175" y="473563"/>
                  </a:cubicBezTo>
                  <a:close/>
                  <a:moveTo>
                    <a:pt x="4506101" y="473563"/>
                  </a:moveTo>
                  <a:cubicBezTo>
                    <a:pt x="4516056" y="473563"/>
                    <a:pt x="4524126" y="481633"/>
                    <a:pt x="4524126" y="491587"/>
                  </a:cubicBezTo>
                  <a:cubicBezTo>
                    <a:pt x="4524126" y="501542"/>
                    <a:pt x="4516056" y="509612"/>
                    <a:pt x="4506101" y="509612"/>
                  </a:cubicBezTo>
                  <a:cubicBezTo>
                    <a:pt x="4496146" y="509612"/>
                    <a:pt x="4488077" y="501542"/>
                    <a:pt x="4488077" y="491587"/>
                  </a:cubicBezTo>
                  <a:cubicBezTo>
                    <a:pt x="4488077" y="481633"/>
                    <a:pt x="4496146" y="473563"/>
                    <a:pt x="4506101" y="473563"/>
                  </a:cubicBezTo>
                  <a:close/>
                  <a:moveTo>
                    <a:pt x="4115572" y="473563"/>
                  </a:moveTo>
                  <a:cubicBezTo>
                    <a:pt x="4125527" y="473563"/>
                    <a:pt x="4133597" y="481633"/>
                    <a:pt x="4133597" y="491587"/>
                  </a:cubicBezTo>
                  <a:cubicBezTo>
                    <a:pt x="4133597" y="501542"/>
                    <a:pt x="4125527" y="509612"/>
                    <a:pt x="4115572" y="509612"/>
                  </a:cubicBezTo>
                  <a:cubicBezTo>
                    <a:pt x="4105617" y="509612"/>
                    <a:pt x="4097548" y="501542"/>
                    <a:pt x="4097548" y="491587"/>
                  </a:cubicBezTo>
                  <a:cubicBezTo>
                    <a:pt x="4097548" y="481633"/>
                    <a:pt x="4105617" y="473563"/>
                    <a:pt x="4115572" y="473563"/>
                  </a:cubicBezTo>
                  <a:close/>
                  <a:moveTo>
                    <a:pt x="2295107" y="473563"/>
                  </a:moveTo>
                  <a:cubicBezTo>
                    <a:pt x="2305062" y="473563"/>
                    <a:pt x="2313132" y="481633"/>
                    <a:pt x="2313132" y="491587"/>
                  </a:cubicBezTo>
                  <a:cubicBezTo>
                    <a:pt x="2313132" y="501542"/>
                    <a:pt x="2305062" y="509612"/>
                    <a:pt x="2295107" y="509612"/>
                  </a:cubicBezTo>
                  <a:cubicBezTo>
                    <a:pt x="2285153" y="509612"/>
                    <a:pt x="2277083" y="501542"/>
                    <a:pt x="2277083" y="491587"/>
                  </a:cubicBezTo>
                  <a:cubicBezTo>
                    <a:pt x="2277083" y="481633"/>
                    <a:pt x="2285153" y="473563"/>
                    <a:pt x="2295107" y="473563"/>
                  </a:cubicBezTo>
                  <a:close/>
                  <a:moveTo>
                    <a:pt x="1838489" y="473563"/>
                  </a:moveTo>
                  <a:cubicBezTo>
                    <a:pt x="1848444" y="473563"/>
                    <a:pt x="1856514" y="481633"/>
                    <a:pt x="1856514" y="491587"/>
                  </a:cubicBezTo>
                  <a:cubicBezTo>
                    <a:pt x="1856514" y="501542"/>
                    <a:pt x="1848444" y="509612"/>
                    <a:pt x="1838489" y="509612"/>
                  </a:cubicBezTo>
                  <a:cubicBezTo>
                    <a:pt x="1828535" y="509612"/>
                    <a:pt x="1820465" y="501542"/>
                    <a:pt x="1820465" y="491587"/>
                  </a:cubicBezTo>
                  <a:cubicBezTo>
                    <a:pt x="1820465" y="481633"/>
                    <a:pt x="1828535" y="473563"/>
                    <a:pt x="1838489" y="473563"/>
                  </a:cubicBezTo>
                  <a:close/>
                  <a:moveTo>
                    <a:pt x="2889912" y="467555"/>
                  </a:moveTo>
                  <a:cubicBezTo>
                    <a:pt x="2899867" y="467555"/>
                    <a:pt x="2907937" y="475625"/>
                    <a:pt x="2907937" y="485580"/>
                  </a:cubicBezTo>
                  <a:cubicBezTo>
                    <a:pt x="2907937" y="495534"/>
                    <a:pt x="2899867" y="503604"/>
                    <a:pt x="2889912" y="503604"/>
                  </a:cubicBezTo>
                  <a:cubicBezTo>
                    <a:pt x="2879957" y="503604"/>
                    <a:pt x="2871888" y="495534"/>
                    <a:pt x="2871888" y="485580"/>
                  </a:cubicBezTo>
                  <a:cubicBezTo>
                    <a:pt x="2871888" y="475625"/>
                    <a:pt x="2879957" y="467555"/>
                    <a:pt x="2889912" y="467555"/>
                  </a:cubicBezTo>
                  <a:close/>
                  <a:moveTo>
                    <a:pt x="2108855" y="467555"/>
                  </a:moveTo>
                  <a:cubicBezTo>
                    <a:pt x="2118810" y="467555"/>
                    <a:pt x="2126880" y="475625"/>
                    <a:pt x="2126880" y="485580"/>
                  </a:cubicBezTo>
                  <a:cubicBezTo>
                    <a:pt x="2126880" y="495534"/>
                    <a:pt x="2118810" y="503604"/>
                    <a:pt x="2108855" y="503604"/>
                  </a:cubicBezTo>
                  <a:cubicBezTo>
                    <a:pt x="2098901" y="503604"/>
                    <a:pt x="2090831" y="495534"/>
                    <a:pt x="2090831" y="485580"/>
                  </a:cubicBezTo>
                  <a:cubicBezTo>
                    <a:pt x="2090831" y="475625"/>
                    <a:pt x="2098901" y="467555"/>
                    <a:pt x="2108855" y="467555"/>
                  </a:cubicBezTo>
                  <a:close/>
                  <a:moveTo>
                    <a:pt x="1616189" y="467555"/>
                  </a:moveTo>
                  <a:cubicBezTo>
                    <a:pt x="1626143" y="467555"/>
                    <a:pt x="1634213" y="475625"/>
                    <a:pt x="1634213" y="485580"/>
                  </a:cubicBezTo>
                  <a:cubicBezTo>
                    <a:pt x="1634213" y="495534"/>
                    <a:pt x="1626143" y="503604"/>
                    <a:pt x="1616189" y="503604"/>
                  </a:cubicBezTo>
                  <a:cubicBezTo>
                    <a:pt x="1606234" y="503604"/>
                    <a:pt x="1598164" y="495534"/>
                    <a:pt x="1598164" y="485580"/>
                  </a:cubicBezTo>
                  <a:cubicBezTo>
                    <a:pt x="1598164" y="475625"/>
                    <a:pt x="1606234" y="467555"/>
                    <a:pt x="1616189" y="467555"/>
                  </a:cubicBezTo>
                  <a:close/>
                  <a:moveTo>
                    <a:pt x="330447" y="467555"/>
                  </a:moveTo>
                  <a:cubicBezTo>
                    <a:pt x="340402" y="467555"/>
                    <a:pt x="348472" y="475625"/>
                    <a:pt x="348472" y="485580"/>
                  </a:cubicBezTo>
                  <a:cubicBezTo>
                    <a:pt x="348472" y="495534"/>
                    <a:pt x="340402" y="503604"/>
                    <a:pt x="330447" y="503604"/>
                  </a:cubicBezTo>
                  <a:cubicBezTo>
                    <a:pt x="320493" y="503604"/>
                    <a:pt x="312423" y="495534"/>
                    <a:pt x="312423" y="485580"/>
                  </a:cubicBezTo>
                  <a:cubicBezTo>
                    <a:pt x="312423" y="475625"/>
                    <a:pt x="320493" y="467555"/>
                    <a:pt x="330447" y="467555"/>
                  </a:cubicBezTo>
                  <a:close/>
                  <a:moveTo>
                    <a:pt x="3935328" y="461547"/>
                  </a:moveTo>
                  <a:cubicBezTo>
                    <a:pt x="3945283" y="461547"/>
                    <a:pt x="3953353" y="469616"/>
                    <a:pt x="3953353" y="479571"/>
                  </a:cubicBezTo>
                  <a:cubicBezTo>
                    <a:pt x="3953353" y="489526"/>
                    <a:pt x="3945283" y="497596"/>
                    <a:pt x="3935328" y="497596"/>
                  </a:cubicBezTo>
                  <a:cubicBezTo>
                    <a:pt x="3925373" y="497596"/>
                    <a:pt x="3917304" y="489526"/>
                    <a:pt x="3917304" y="479571"/>
                  </a:cubicBezTo>
                  <a:cubicBezTo>
                    <a:pt x="3917304" y="469616"/>
                    <a:pt x="3925373" y="461547"/>
                    <a:pt x="3935328" y="461547"/>
                  </a:cubicBezTo>
                  <a:close/>
                  <a:moveTo>
                    <a:pt x="6224427" y="455539"/>
                  </a:moveTo>
                  <a:cubicBezTo>
                    <a:pt x="6234382" y="455539"/>
                    <a:pt x="6242452" y="463609"/>
                    <a:pt x="6242452" y="473563"/>
                  </a:cubicBezTo>
                  <a:cubicBezTo>
                    <a:pt x="6242452" y="483518"/>
                    <a:pt x="6234382" y="491588"/>
                    <a:pt x="6224427" y="491588"/>
                  </a:cubicBezTo>
                  <a:cubicBezTo>
                    <a:pt x="6214472" y="491588"/>
                    <a:pt x="6206403" y="483518"/>
                    <a:pt x="6206403" y="473563"/>
                  </a:cubicBezTo>
                  <a:cubicBezTo>
                    <a:pt x="6206403" y="463609"/>
                    <a:pt x="6214472" y="455539"/>
                    <a:pt x="6224427" y="455539"/>
                  </a:cubicBezTo>
                  <a:close/>
                  <a:moveTo>
                    <a:pt x="6110273" y="455539"/>
                  </a:moveTo>
                  <a:cubicBezTo>
                    <a:pt x="6120228" y="455539"/>
                    <a:pt x="6128298" y="463609"/>
                    <a:pt x="6128298" y="473563"/>
                  </a:cubicBezTo>
                  <a:cubicBezTo>
                    <a:pt x="6128298" y="483518"/>
                    <a:pt x="6120228" y="491588"/>
                    <a:pt x="6110273" y="491588"/>
                  </a:cubicBezTo>
                  <a:cubicBezTo>
                    <a:pt x="6100318" y="491588"/>
                    <a:pt x="6092248" y="483518"/>
                    <a:pt x="6092248" y="473563"/>
                  </a:cubicBezTo>
                  <a:cubicBezTo>
                    <a:pt x="6092248" y="463609"/>
                    <a:pt x="6100318" y="455539"/>
                    <a:pt x="6110273" y="455539"/>
                  </a:cubicBezTo>
                  <a:close/>
                  <a:moveTo>
                    <a:pt x="3496734" y="455539"/>
                  </a:moveTo>
                  <a:cubicBezTo>
                    <a:pt x="3506689" y="455539"/>
                    <a:pt x="3514759" y="463609"/>
                    <a:pt x="3514759" y="473563"/>
                  </a:cubicBezTo>
                  <a:cubicBezTo>
                    <a:pt x="3514759" y="483518"/>
                    <a:pt x="3506689" y="491588"/>
                    <a:pt x="3496734" y="491588"/>
                  </a:cubicBezTo>
                  <a:cubicBezTo>
                    <a:pt x="3486779" y="491588"/>
                    <a:pt x="3478709" y="483518"/>
                    <a:pt x="3478709" y="473563"/>
                  </a:cubicBezTo>
                  <a:cubicBezTo>
                    <a:pt x="3478709" y="463609"/>
                    <a:pt x="3486779" y="455539"/>
                    <a:pt x="3496734" y="455539"/>
                  </a:cubicBezTo>
                  <a:close/>
                  <a:moveTo>
                    <a:pt x="1333805" y="455539"/>
                  </a:moveTo>
                  <a:cubicBezTo>
                    <a:pt x="1343760" y="455539"/>
                    <a:pt x="1351830" y="463609"/>
                    <a:pt x="1351830" y="473563"/>
                  </a:cubicBezTo>
                  <a:cubicBezTo>
                    <a:pt x="1351830" y="483518"/>
                    <a:pt x="1343760" y="491588"/>
                    <a:pt x="1333805" y="491588"/>
                  </a:cubicBezTo>
                  <a:cubicBezTo>
                    <a:pt x="1323851" y="491588"/>
                    <a:pt x="1315781" y="483518"/>
                    <a:pt x="1315781" y="473563"/>
                  </a:cubicBezTo>
                  <a:cubicBezTo>
                    <a:pt x="1315781" y="463609"/>
                    <a:pt x="1323851" y="455539"/>
                    <a:pt x="1333805" y="455539"/>
                  </a:cubicBezTo>
                  <a:close/>
                  <a:moveTo>
                    <a:pt x="2727693" y="449531"/>
                  </a:moveTo>
                  <a:cubicBezTo>
                    <a:pt x="2737648" y="449531"/>
                    <a:pt x="2745718" y="457601"/>
                    <a:pt x="2745718" y="467555"/>
                  </a:cubicBezTo>
                  <a:cubicBezTo>
                    <a:pt x="2745718" y="477510"/>
                    <a:pt x="2737648" y="485580"/>
                    <a:pt x="2727693" y="485580"/>
                  </a:cubicBezTo>
                  <a:cubicBezTo>
                    <a:pt x="2717739" y="485580"/>
                    <a:pt x="2709669" y="477510"/>
                    <a:pt x="2709669" y="467555"/>
                  </a:cubicBezTo>
                  <a:cubicBezTo>
                    <a:pt x="2709669" y="457601"/>
                    <a:pt x="2717739" y="449531"/>
                    <a:pt x="2727693" y="449531"/>
                  </a:cubicBezTo>
                  <a:close/>
                  <a:moveTo>
                    <a:pt x="2607530" y="449531"/>
                  </a:moveTo>
                  <a:cubicBezTo>
                    <a:pt x="2617485" y="449531"/>
                    <a:pt x="2625555" y="457601"/>
                    <a:pt x="2625555" y="467555"/>
                  </a:cubicBezTo>
                  <a:cubicBezTo>
                    <a:pt x="2625555" y="477510"/>
                    <a:pt x="2617485" y="485580"/>
                    <a:pt x="2607530" y="485580"/>
                  </a:cubicBezTo>
                  <a:cubicBezTo>
                    <a:pt x="2597576" y="485580"/>
                    <a:pt x="2589506" y="477510"/>
                    <a:pt x="2589506" y="467555"/>
                  </a:cubicBezTo>
                  <a:cubicBezTo>
                    <a:pt x="2589506" y="457601"/>
                    <a:pt x="2597576" y="449531"/>
                    <a:pt x="2607530" y="449531"/>
                  </a:cubicBezTo>
                  <a:close/>
                  <a:moveTo>
                    <a:pt x="5797850" y="443523"/>
                  </a:moveTo>
                  <a:cubicBezTo>
                    <a:pt x="5807805" y="443523"/>
                    <a:pt x="5815875" y="451593"/>
                    <a:pt x="5815875" y="461547"/>
                  </a:cubicBezTo>
                  <a:cubicBezTo>
                    <a:pt x="5815875" y="471502"/>
                    <a:pt x="5807805" y="479572"/>
                    <a:pt x="5797850" y="479572"/>
                  </a:cubicBezTo>
                  <a:cubicBezTo>
                    <a:pt x="5787895" y="479572"/>
                    <a:pt x="5779826" y="471502"/>
                    <a:pt x="5779826" y="461547"/>
                  </a:cubicBezTo>
                  <a:cubicBezTo>
                    <a:pt x="5779826" y="451593"/>
                    <a:pt x="5787895" y="443523"/>
                    <a:pt x="5797850" y="443523"/>
                  </a:cubicBezTo>
                  <a:close/>
                  <a:moveTo>
                    <a:pt x="5653655" y="443523"/>
                  </a:moveTo>
                  <a:cubicBezTo>
                    <a:pt x="5663610" y="443523"/>
                    <a:pt x="5671680" y="451593"/>
                    <a:pt x="5671680" y="461547"/>
                  </a:cubicBezTo>
                  <a:cubicBezTo>
                    <a:pt x="5671680" y="471502"/>
                    <a:pt x="5663610" y="479572"/>
                    <a:pt x="5653655" y="479572"/>
                  </a:cubicBezTo>
                  <a:cubicBezTo>
                    <a:pt x="5643700" y="479572"/>
                    <a:pt x="5635631" y="471502"/>
                    <a:pt x="5635631" y="461547"/>
                  </a:cubicBezTo>
                  <a:cubicBezTo>
                    <a:pt x="5635631" y="451593"/>
                    <a:pt x="5643700" y="443523"/>
                    <a:pt x="5653655" y="443523"/>
                  </a:cubicBezTo>
                  <a:close/>
                  <a:moveTo>
                    <a:pt x="96129" y="437514"/>
                  </a:moveTo>
                  <a:cubicBezTo>
                    <a:pt x="106084" y="437514"/>
                    <a:pt x="114154" y="445584"/>
                    <a:pt x="114154" y="455539"/>
                  </a:cubicBezTo>
                  <a:cubicBezTo>
                    <a:pt x="114154" y="465493"/>
                    <a:pt x="106084" y="473563"/>
                    <a:pt x="96129" y="473563"/>
                  </a:cubicBezTo>
                  <a:cubicBezTo>
                    <a:pt x="86175" y="473563"/>
                    <a:pt x="78105" y="465493"/>
                    <a:pt x="78105" y="455539"/>
                  </a:cubicBezTo>
                  <a:cubicBezTo>
                    <a:pt x="78105" y="445584"/>
                    <a:pt x="86175" y="437514"/>
                    <a:pt x="96129" y="437514"/>
                  </a:cubicBezTo>
                  <a:close/>
                  <a:moveTo>
                    <a:pt x="3058140" y="431506"/>
                  </a:moveTo>
                  <a:cubicBezTo>
                    <a:pt x="3068095" y="431506"/>
                    <a:pt x="3076165" y="439575"/>
                    <a:pt x="3076165" y="449530"/>
                  </a:cubicBezTo>
                  <a:cubicBezTo>
                    <a:pt x="3076165" y="459485"/>
                    <a:pt x="3068095" y="467555"/>
                    <a:pt x="3058140" y="467555"/>
                  </a:cubicBezTo>
                  <a:cubicBezTo>
                    <a:pt x="3048186" y="467555"/>
                    <a:pt x="3040116" y="459485"/>
                    <a:pt x="3040116" y="449530"/>
                  </a:cubicBezTo>
                  <a:cubicBezTo>
                    <a:pt x="3040116" y="439575"/>
                    <a:pt x="3048186" y="431506"/>
                    <a:pt x="3058140" y="431506"/>
                  </a:cubicBezTo>
                  <a:close/>
                  <a:moveTo>
                    <a:pt x="2493375" y="431506"/>
                  </a:moveTo>
                  <a:cubicBezTo>
                    <a:pt x="2503330" y="431506"/>
                    <a:pt x="2511400" y="439575"/>
                    <a:pt x="2511400" y="449530"/>
                  </a:cubicBezTo>
                  <a:cubicBezTo>
                    <a:pt x="2511400" y="459485"/>
                    <a:pt x="2503330" y="467555"/>
                    <a:pt x="2493375" y="467555"/>
                  </a:cubicBezTo>
                  <a:cubicBezTo>
                    <a:pt x="2483420" y="467555"/>
                    <a:pt x="2475351" y="459485"/>
                    <a:pt x="2475351" y="449530"/>
                  </a:cubicBezTo>
                  <a:cubicBezTo>
                    <a:pt x="2475351" y="439575"/>
                    <a:pt x="2483420" y="431506"/>
                    <a:pt x="2493375" y="431506"/>
                  </a:cubicBezTo>
                  <a:close/>
                  <a:moveTo>
                    <a:pt x="216292" y="431506"/>
                  </a:moveTo>
                  <a:cubicBezTo>
                    <a:pt x="226247" y="431506"/>
                    <a:pt x="234317" y="439575"/>
                    <a:pt x="234317" y="449530"/>
                  </a:cubicBezTo>
                  <a:cubicBezTo>
                    <a:pt x="234317" y="459485"/>
                    <a:pt x="226247" y="467555"/>
                    <a:pt x="216292" y="467555"/>
                  </a:cubicBezTo>
                  <a:cubicBezTo>
                    <a:pt x="206338" y="467555"/>
                    <a:pt x="198268" y="459485"/>
                    <a:pt x="198268" y="449530"/>
                  </a:cubicBezTo>
                  <a:cubicBezTo>
                    <a:pt x="198268" y="439575"/>
                    <a:pt x="206338" y="431506"/>
                    <a:pt x="216292" y="431506"/>
                  </a:cubicBezTo>
                  <a:close/>
                  <a:moveTo>
                    <a:pt x="4758442" y="425498"/>
                  </a:moveTo>
                  <a:cubicBezTo>
                    <a:pt x="4768397" y="425498"/>
                    <a:pt x="4776467" y="433568"/>
                    <a:pt x="4776467" y="443522"/>
                  </a:cubicBezTo>
                  <a:cubicBezTo>
                    <a:pt x="4776467" y="453477"/>
                    <a:pt x="4768397" y="461547"/>
                    <a:pt x="4758442" y="461547"/>
                  </a:cubicBezTo>
                  <a:cubicBezTo>
                    <a:pt x="4748487" y="461547"/>
                    <a:pt x="4740417" y="453477"/>
                    <a:pt x="4740417" y="443522"/>
                  </a:cubicBezTo>
                  <a:cubicBezTo>
                    <a:pt x="4740417" y="433568"/>
                    <a:pt x="4748487" y="425498"/>
                    <a:pt x="4758442" y="425498"/>
                  </a:cubicBezTo>
                  <a:close/>
                  <a:moveTo>
                    <a:pt x="1453968" y="425498"/>
                  </a:moveTo>
                  <a:cubicBezTo>
                    <a:pt x="1463923" y="425498"/>
                    <a:pt x="1471993" y="433568"/>
                    <a:pt x="1471993" y="443522"/>
                  </a:cubicBezTo>
                  <a:cubicBezTo>
                    <a:pt x="1471993" y="453477"/>
                    <a:pt x="1463923" y="461547"/>
                    <a:pt x="1453968" y="461547"/>
                  </a:cubicBezTo>
                  <a:cubicBezTo>
                    <a:pt x="1444014" y="461547"/>
                    <a:pt x="1435944" y="453477"/>
                    <a:pt x="1435944" y="443522"/>
                  </a:cubicBezTo>
                  <a:cubicBezTo>
                    <a:pt x="1435944" y="433568"/>
                    <a:pt x="1444014" y="425498"/>
                    <a:pt x="1453968" y="425498"/>
                  </a:cubicBezTo>
                  <a:close/>
                  <a:moveTo>
                    <a:pt x="552748" y="425498"/>
                  </a:moveTo>
                  <a:cubicBezTo>
                    <a:pt x="562703" y="425498"/>
                    <a:pt x="570773" y="433568"/>
                    <a:pt x="570773" y="443522"/>
                  </a:cubicBezTo>
                  <a:cubicBezTo>
                    <a:pt x="570773" y="453477"/>
                    <a:pt x="562703" y="461547"/>
                    <a:pt x="552748" y="461547"/>
                  </a:cubicBezTo>
                  <a:cubicBezTo>
                    <a:pt x="542794" y="461547"/>
                    <a:pt x="534724" y="453477"/>
                    <a:pt x="534724" y="443522"/>
                  </a:cubicBezTo>
                  <a:cubicBezTo>
                    <a:pt x="534724" y="433568"/>
                    <a:pt x="542794" y="425498"/>
                    <a:pt x="552748" y="425498"/>
                  </a:cubicBezTo>
                  <a:close/>
                  <a:moveTo>
                    <a:pt x="1742358" y="419490"/>
                  </a:moveTo>
                  <a:cubicBezTo>
                    <a:pt x="1752313" y="419490"/>
                    <a:pt x="1760383" y="427560"/>
                    <a:pt x="1760383" y="437514"/>
                  </a:cubicBezTo>
                  <a:cubicBezTo>
                    <a:pt x="1760383" y="447469"/>
                    <a:pt x="1752313" y="455539"/>
                    <a:pt x="1742358" y="455539"/>
                  </a:cubicBezTo>
                  <a:cubicBezTo>
                    <a:pt x="1732404" y="455539"/>
                    <a:pt x="1724334" y="447469"/>
                    <a:pt x="1724334" y="437514"/>
                  </a:cubicBezTo>
                  <a:cubicBezTo>
                    <a:pt x="1724334" y="427560"/>
                    <a:pt x="1732404" y="419490"/>
                    <a:pt x="1742358" y="419490"/>
                  </a:cubicBezTo>
                  <a:close/>
                  <a:moveTo>
                    <a:pt x="1183602" y="413482"/>
                  </a:moveTo>
                  <a:cubicBezTo>
                    <a:pt x="1193557" y="413482"/>
                    <a:pt x="1201627" y="421552"/>
                    <a:pt x="1201627" y="431506"/>
                  </a:cubicBezTo>
                  <a:cubicBezTo>
                    <a:pt x="1201627" y="441461"/>
                    <a:pt x="1193557" y="449531"/>
                    <a:pt x="1183602" y="449531"/>
                  </a:cubicBezTo>
                  <a:cubicBezTo>
                    <a:pt x="1173648" y="449531"/>
                    <a:pt x="1165578" y="441461"/>
                    <a:pt x="1165578" y="431506"/>
                  </a:cubicBezTo>
                  <a:cubicBezTo>
                    <a:pt x="1165578" y="421552"/>
                    <a:pt x="1173648" y="413482"/>
                    <a:pt x="1183602" y="413482"/>
                  </a:cubicBezTo>
                  <a:close/>
                  <a:moveTo>
                    <a:pt x="895212" y="413482"/>
                  </a:moveTo>
                  <a:cubicBezTo>
                    <a:pt x="905166" y="413482"/>
                    <a:pt x="913236" y="421552"/>
                    <a:pt x="913236" y="431506"/>
                  </a:cubicBezTo>
                  <a:cubicBezTo>
                    <a:pt x="913236" y="441461"/>
                    <a:pt x="905166" y="449531"/>
                    <a:pt x="895212" y="449531"/>
                  </a:cubicBezTo>
                  <a:cubicBezTo>
                    <a:pt x="885257" y="449531"/>
                    <a:pt x="877187" y="441461"/>
                    <a:pt x="877187" y="431506"/>
                  </a:cubicBezTo>
                  <a:cubicBezTo>
                    <a:pt x="877187" y="421552"/>
                    <a:pt x="885257" y="413482"/>
                    <a:pt x="895212" y="413482"/>
                  </a:cubicBezTo>
                  <a:close/>
                  <a:moveTo>
                    <a:pt x="672910" y="413482"/>
                  </a:moveTo>
                  <a:cubicBezTo>
                    <a:pt x="682865" y="413482"/>
                    <a:pt x="690935" y="421552"/>
                    <a:pt x="690935" y="431506"/>
                  </a:cubicBezTo>
                  <a:cubicBezTo>
                    <a:pt x="690935" y="441461"/>
                    <a:pt x="682865" y="449531"/>
                    <a:pt x="672910" y="449531"/>
                  </a:cubicBezTo>
                  <a:cubicBezTo>
                    <a:pt x="662956" y="449531"/>
                    <a:pt x="654886" y="441461"/>
                    <a:pt x="654886" y="431506"/>
                  </a:cubicBezTo>
                  <a:cubicBezTo>
                    <a:pt x="654886" y="421552"/>
                    <a:pt x="662956" y="413482"/>
                    <a:pt x="672910" y="413482"/>
                  </a:cubicBezTo>
                  <a:close/>
                  <a:moveTo>
                    <a:pt x="3719035" y="407474"/>
                  </a:moveTo>
                  <a:cubicBezTo>
                    <a:pt x="3728990" y="407474"/>
                    <a:pt x="3737060" y="415544"/>
                    <a:pt x="3737060" y="425499"/>
                  </a:cubicBezTo>
                  <a:cubicBezTo>
                    <a:pt x="3737060" y="435453"/>
                    <a:pt x="3728990" y="443523"/>
                    <a:pt x="3719035" y="443523"/>
                  </a:cubicBezTo>
                  <a:cubicBezTo>
                    <a:pt x="3709081" y="443523"/>
                    <a:pt x="3701011" y="435453"/>
                    <a:pt x="3701011" y="425499"/>
                  </a:cubicBezTo>
                  <a:cubicBezTo>
                    <a:pt x="3701011" y="415544"/>
                    <a:pt x="3709081" y="407474"/>
                    <a:pt x="3719035" y="407474"/>
                  </a:cubicBezTo>
                  <a:close/>
                  <a:moveTo>
                    <a:pt x="6002126" y="401466"/>
                  </a:moveTo>
                  <a:cubicBezTo>
                    <a:pt x="6012081" y="401466"/>
                    <a:pt x="6020151" y="409535"/>
                    <a:pt x="6020151" y="419490"/>
                  </a:cubicBezTo>
                  <a:cubicBezTo>
                    <a:pt x="6020151" y="429445"/>
                    <a:pt x="6012081" y="437515"/>
                    <a:pt x="6002126" y="437515"/>
                  </a:cubicBezTo>
                  <a:cubicBezTo>
                    <a:pt x="5992172" y="437515"/>
                    <a:pt x="5984102" y="429445"/>
                    <a:pt x="5984102" y="419490"/>
                  </a:cubicBezTo>
                  <a:cubicBezTo>
                    <a:pt x="5984102" y="409535"/>
                    <a:pt x="5992172" y="401466"/>
                    <a:pt x="6002126" y="401466"/>
                  </a:cubicBezTo>
                  <a:close/>
                  <a:moveTo>
                    <a:pt x="1970668" y="401466"/>
                  </a:moveTo>
                  <a:cubicBezTo>
                    <a:pt x="1980623" y="401466"/>
                    <a:pt x="1988693" y="409535"/>
                    <a:pt x="1988693" y="419490"/>
                  </a:cubicBezTo>
                  <a:cubicBezTo>
                    <a:pt x="1988693" y="429445"/>
                    <a:pt x="1980623" y="437515"/>
                    <a:pt x="1970668" y="437515"/>
                  </a:cubicBezTo>
                  <a:cubicBezTo>
                    <a:pt x="1960714" y="437515"/>
                    <a:pt x="1952644" y="429445"/>
                    <a:pt x="1952644" y="419490"/>
                  </a:cubicBezTo>
                  <a:cubicBezTo>
                    <a:pt x="1952644" y="409535"/>
                    <a:pt x="1960714" y="401466"/>
                    <a:pt x="1970668" y="401466"/>
                  </a:cubicBezTo>
                  <a:close/>
                  <a:moveTo>
                    <a:pt x="5533492" y="395457"/>
                  </a:moveTo>
                  <a:cubicBezTo>
                    <a:pt x="5543447" y="395457"/>
                    <a:pt x="5551517" y="403527"/>
                    <a:pt x="5551517" y="413481"/>
                  </a:cubicBezTo>
                  <a:cubicBezTo>
                    <a:pt x="5551517" y="423436"/>
                    <a:pt x="5543447" y="431506"/>
                    <a:pt x="5533492" y="431506"/>
                  </a:cubicBezTo>
                  <a:cubicBezTo>
                    <a:pt x="5523537" y="431506"/>
                    <a:pt x="5515468" y="423436"/>
                    <a:pt x="5515468" y="413481"/>
                  </a:cubicBezTo>
                  <a:cubicBezTo>
                    <a:pt x="5515468" y="403527"/>
                    <a:pt x="5523537" y="395457"/>
                    <a:pt x="5533492" y="395457"/>
                  </a:cubicBezTo>
                  <a:close/>
                  <a:moveTo>
                    <a:pt x="3166287" y="395457"/>
                  </a:moveTo>
                  <a:cubicBezTo>
                    <a:pt x="3176242" y="395457"/>
                    <a:pt x="3184312" y="403527"/>
                    <a:pt x="3184312" y="413481"/>
                  </a:cubicBezTo>
                  <a:cubicBezTo>
                    <a:pt x="3184312" y="423436"/>
                    <a:pt x="3176242" y="431506"/>
                    <a:pt x="3166287" y="431506"/>
                  </a:cubicBezTo>
                  <a:cubicBezTo>
                    <a:pt x="3156332" y="431506"/>
                    <a:pt x="3148262" y="423436"/>
                    <a:pt x="3148262" y="413481"/>
                  </a:cubicBezTo>
                  <a:cubicBezTo>
                    <a:pt x="3148262" y="403527"/>
                    <a:pt x="3156332" y="395457"/>
                    <a:pt x="3166287" y="395457"/>
                  </a:cubicBezTo>
                  <a:close/>
                  <a:moveTo>
                    <a:pt x="2373213" y="395457"/>
                  </a:moveTo>
                  <a:cubicBezTo>
                    <a:pt x="2383168" y="395457"/>
                    <a:pt x="2391238" y="403527"/>
                    <a:pt x="2391238" y="413481"/>
                  </a:cubicBezTo>
                  <a:cubicBezTo>
                    <a:pt x="2391238" y="423436"/>
                    <a:pt x="2383168" y="431506"/>
                    <a:pt x="2373213" y="431506"/>
                  </a:cubicBezTo>
                  <a:cubicBezTo>
                    <a:pt x="2363259" y="431506"/>
                    <a:pt x="2355189" y="423436"/>
                    <a:pt x="2355189" y="413481"/>
                  </a:cubicBezTo>
                  <a:cubicBezTo>
                    <a:pt x="2355189" y="403527"/>
                    <a:pt x="2363259" y="395457"/>
                    <a:pt x="2373213" y="395457"/>
                  </a:cubicBezTo>
                  <a:close/>
                  <a:moveTo>
                    <a:pt x="787065" y="395457"/>
                  </a:moveTo>
                  <a:cubicBezTo>
                    <a:pt x="797020" y="395457"/>
                    <a:pt x="805090" y="403527"/>
                    <a:pt x="805090" y="413481"/>
                  </a:cubicBezTo>
                  <a:cubicBezTo>
                    <a:pt x="805090" y="423436"/>
                    <a:pt x="797020" y="431506"/>
                    <a:pt x="787065" y="431506"/>
                  </a:cubicBezTo>
                  <a:cubicBezTo>
                    <a:pt x="777111" y="431506"/>
                    <a:pt x="769041" y="423436"/>
                    <a:pt x="769041" y="413481"/>
                  </a:cubicBezTo>
                  <a:cubicBezTo>
                    <a:pt x="769041" y="403527"/>
                    <a:pt x="777111" y="395457"/>
                    <a:pt x="787065" y="395457"/>
                  </a:cubicBezTo>
                  <a:close/>
                  <a:moveTo>
                    <a:pt x="6344591" y="389449"/>
                  </a:moveTo>
                  <a:cubicBezTo>
                    <a:pt x="6354545" y="389449"/>
                    <a:pt x="6362615" y="397519"/>
                    <a:pt x="6362615" y="407473"/>
                  </a:cubicBezTo>
                  <a:cubicBezTo>
                    <a:pt x="6362615" y="417428"/>
                    <a:pt x="6354546" y="425498"/>
                    <a:pt x="6344591" y="425498"/>
                  </a:cubicBezTo>
                  <a:cubicBezTo>
                    <a:pt x="6334636" y="425498"/>
                    <a:pt x="6326566" y="417428"/>
                    <a:pt x="6326566" y="407473"/>
                  </a:cubicBezTo>
                  <a:cubicBezTo>
                    <a:pt x="6326566" y="397519"/>
                    <a:pt x="6334635" y="389449"/>
                    <a:pt x="6344591" y="389449"/>
                  </a:cubicBezTo>
                  <a:close/>
                  <a:moveTo>
                    <a:pt x="5407321" y="383441"/>
                  </a:moveTo>
                  <a:cubicBezTo>
                    <a:pt x="5417276" y="383441"/>
                    <a:pt x="5425346" y="391511"/>
                    <a:pt x="5425346" y="401465"/>
                  </a:cubicBezTo>
                  <a:cubicBezTo>
                    <a:pt x="5425346" y="411420"/>
                    <a:pt x="5417276" y="419490"/>
                    <a:pt x="5407321" y="419490"/>
                  </a:cubicBezTo>
                  <a:cubicBezTo>
                    <a:pt x="5397366" y="419490"/>
                    <a:pt x="5389297" y="411420"/>
                    <a:pt x="5389297" y="401465"/>
                  </a:cubicBezTo>
                  <a:cubicBezTo>
                    <a:pt x="5389297" y="391511"/>
                    <a:pt x="5397366" y="383441"/>
                    <a:pt x="5407321" y="383441"/>
                  </a:cubicBezTo>
                  <a:close/>
                  <a:moveTo>
                    <a:pt x="5233085" y="383441"/>
                  </a:moveTo>
                  <a:cubicBezTo>
                    <a:pt x="5243040" y="383441"/>
                    <a:pt x="5251110" y="391511"/>
                    <a:pt x="5251110" y="401465"/>
                  </a:cubicBezTo>
                  <a:cubicBezTo>
                    <a:pt x="5251110" y="411420"/>
                    <a:pt x="5243040" y="419490"/>
                    <a:pt x="5233085" y="419490"/>
                  </a:cubicBezTo>
                  <a:cubicBezTo>
                    <a:pt x="5223130" y="419490"/>
                    <a:pt x="5215061" y="411420"/>
                    <a:pt x="5215061" y="401465"/>
                  </a:cubicBezTo>
                  <a:cubicBezTo>
                    <a:pt x="5215061" y="391511"/>
                    <a:pt x="5223130" y="383441"/>
                    <a:pt x="5233085" y="383441"/>
                  </a:cubicBezTo>
                  <a:close/>
                  <a:moveTo>
                    <a:pt x="4956711" y="383441"/>
                  </a:moveTo>
                  <a:cubicBezTo>
                    <a:pt x="4966666" y="383441"/>
                    <a:pt x="4974736" y="391511"/>
                    <a:pt x="4974736" y="401465"/>
                  </a:cubicBezTo>
                  <a:cubicBezTo>
                    <a:pt x="4974736" y="411420"/>
                    <a:pt x="4966666" y="419490"/>
                    <a:pt x="4956711" y="419490"/>
                  </a:cubicBezTo>
                  <a:cubicBezTo>
                    <a:pt x="4946756" y="419490"/>
                    <a:pt x="4938687" y="411420"/>
                    <a:pt x="4938687" y="401465"/>
                  </a:cubicBezTo>
                  <a:cubicBezTo>
                    <a:pt x="4938687" y="391511"/>
                    <a:pt x="4946756" y="383441"/>
                    <a:pt x="4956711" y="383441"/>
                  </a:cubicBezTo>
                  <a:close/>
                  <a:moveTo>
                    <a:pt x="3604880" y="377433"/>
                  </a:moveTo>
                  <a:cubicBezTo>
                    <a:pt x="3614835" y="377433"/>
                    <a:pt x="3622905" y="385503"/>
                    <a:pt x="3622905" y="395458"/>
                  </a:cubicBezTo>
                  <a:cubicBezTo>
                    <a:pt x="3622905" y="405412"/>
                    <a:pt x="3614835" y="413482"/>
                    <a:pt x="3604880" y="413482"/>
                  </a:cubicBezTo>
                  <a:cubicBezTo>
                    <a:pt x="3594925" y="413482"/>
                    <a:pt x="3586856" y="405412"/>
                    <a:pt x="3586856" y="395458"/>
                  </a:cubicBezTo>
                  <a:cubicBezTo>
                    <a:pt x="3586856" y="385503"/>
                    <a:pt x="3594925" y="377433"/>
                    <a:pt x="3604880" y="377433"/>
                  </a:cubicBezTo>
                  <a:close/>
                  <a:moveTo>
                    <a:pt x="5082882" y="371425"/>
                  </a:moveTo>
                  <a:cubicBezTo>
                    <a:pt x="5092837" y="371425"/>
                    <a:pt x="5100907" y="379494"/>
                    <a:pt x="5100907" y="389449"/>
                  </a:cubicBezTo>
                  <a:cubicBezTo>
                    <a:pt x="5100907" y="399404"/>
                    <a:pt x="5092837" y="407474"/>
                    <a:pt x="5082882" y="407474"/>
                  </a:cubicBezTo>
                  <a:cubicBezTo>
                    <a:pt x="5072927" y="407474"/>
                    <a:pt x="5064858" y="399404"/>
                    <a:pt x="5064858" y="389449"/>
                  </a:cubicBezTo>
                  <a:cubicBezTo>
                    <a:pt x="5064858" y="379494"/>
                    <a:pt x="5072927" y="371425"/>
                    <a:pt x="5082882" y="371425"/>
                  </a:cubicBezTo>
                  <a:close/>
                  <a:moveTo>
                    <a:pt x="4638280" y="371425"/>
                  </a:moveTo>
                  <a:cubicBezTo>
                    <a:pt x="4648235" y="371425"/>
                    <a:pt x="4656305" y="379494"/>
                    <a:pt x="4656305" y="389449"/>
                  </a:cubicBezTo>
                  <a:cubicBezTo>
                    <a:pt x="4656305" y="399404"/>
                    <a:pt x="4648235" y="407474"/>
                    <a:pt x="4638280" y="407474"/>
                  </a:cubicBezTo>
                  <a:cubicBezTo>
                    <a:pt x="4628325" y="407474"/>
                    <a:pt x="4620255" y="399404"/>
                    <a:pt x="4620255" y="389449"/>
                  </a:cubicBezTo>
                  <a:cubicBezTo>
                    <a:pt x="4620255" y="379494"/>
                    <a:pt x="4628325" y="371425"/>
                    <a:pt x="4638280" y="371425"/>
                  </a:cubicBezTo>
                  <a:close/>
                  <a:moveTo>
                    <a:pt x="4289808" y="371425"/>
                  </a:moveTo>
                  <a:cubicBezTo>
                    <a:pt x="4299763" y="371425"/>
                    <a:pt x="4307833" y="379494"/>
                    <a:pt x="4307833" y="389449"/>
                  </a:cubicBezTo>
                  <a:cubicBezTo>
                    <a:pt x="4307833" y="399404"/>
                    <a:pt x="4299763" y="407474"/>
                    <a:pt x="4289808" y="407474"/>
                  </a:cubicBezTo>
                  <a:cubicBezTo>
                    <a:pt x="4279854" y="407474"/>
                    <a:pt x="4271784" y="399404"/>
                    <a:pt x="4271784" y="389449"/>
                  </a:cubicBezTo>
                  <a:cubicBezTo>
                    <a:pt x="4271784" y="379494"/>
                    <a:pt x="4279854" y="371425"/>
                    <a:pt x="4289808" y="371425"/>
                  </a:cubicBezTo>
                  <a:close/>
                  <a:moveTo>
                    <a:pt x="3412620" y="371425"/>
                  </a:moveTo>
                  <a:cubicBezTo>
                    <a:pt x="3422575" y="371425"/>
                    <a:pt x="3430645" y="379494"/>
                    <a:pt x="3430645" y="389449"/>
                  </a:cubicBezTo>
                  <a:cubicBezTo>
                    <a:pt x="3430645" y="399404"/>
                    <a:pt x="3422575" y="407474"/>
                    <a:pt x="3412620" y="407474"/>
                  </a:cubicBezTo>
                  <a:cubicBezTo>
                    <a:pt x="3402666" y="407474"/>
                    <a:pt x="3394596" y="399404"/>
                    <a:pt x="3394596" y="389449"/>
                  </a:cubicBezTo>
                  <a:cubicBezTo>
                    <a:pt x="3394596" y="379494"/>
                    <a:pt x="3402666" y="371425"/>
                    <a:pt x="3412620" y="371425"/>
                  </a:cubicBezTo>
                  <a:close/>
                  <a:moveTo>
                    <a:pt x="3286449" y="371425"/>
                  </a:moveTo>
                  <a:cubicBezTo>
                    <a:pt x="3296404" y="371425"/>
                    <a:pt x="3304474" y="379494"/>
                    <a:pt x="3304474" y="389449"/>
                  </a:cubicBezTo>
                  <a:cubicBezTo>
                    <a:pt x="3304474" y="399404"/>
                    <a:pt x="3296404" y="407474"/>
                    <a:pt x="3286449" y="407474"/>
                  </a:cubicBezTo>
                  <a:cubicBezTo>
                    <a:pt x="3276494" y="407474"/>
                    <a:pt x="3268424" y="399404"/>
                    <a:pt x="3268424" y="389449"/>
                  </a:cubicBezTo>
                  <a:cubicBezTo>
                    <a:pt x="3268424" y="379494"/>
                    <a:pt x="3276494" y="371425"/>
                    <a:pt x="3286449" y="371425"/>
                  </a:cubicBezTo>
                  <a:close/>
                  <a:moveTo>
                    <a:pt x="2204985" y="371425"/>
                  </a:moveTo>
                  <a:cubicBezTo>
                    <a:pt x="2214940" y="371425"/>
                    <a:pt x="2223010" y="379494"/>
                    <a:pt x="2223010" y="389449"/>
                  </a:cubicBezTo>
                  <a:cubicBezTo>
                    <a:pt x="2223010" y="399404"/>
                    <a:pt x="2214940" y="407474"/>
                    <a:pt x="2204985" y="407474"/>
                  </a:cubicBezTo>
                  <a:cubicBezTo>
                    <a:pt x="2195031" y="407474"/>
                    <a:pt x="2186961" y="399404"/>
                    <a:pt x="2186961" y="389449"/>
                  </a:cubicBezTo>
                  <a:cubicBezTo>
                    <a:pt x="2186961" y="379494"/>
                    <a:pt x="2195031" y="371425"/>
                    <a:pt x="2204985" y="371425"/>
                  </a:cubicBezTo>
                  <a:close/>
                  <a:moveTo>
                    <a:pt x="1033398" y="371425"/>
                  </a:moveTo>
                  <a:cubicBezTo>
                    <a:pt x="1043353" y="371425"/>
                    <a:pt x="1051423" y="379494"/>
                    <a:pt x="1051423" y="389449"/>
                  </a:cubicBezTo>
                  <a:cubicBezTo>
                    <a:pt x="1051423" y="399404"/>
                    <a:pt x="1043353" y="407474"/>
                    <a:pt x="1033398" y="407474"/>
                  </a:cubicBezTo>
                  <a:cubicBezTo>
                    <a:pt x="1023444" y="407474"/>
                    <a:pt x="1015374" y="399404"/>
                    <a:pt x="1015374" y="389449"/>
                  </a:cubicBezTo>
                  <a:cubicBezTo>
                    <a:pt x="1015374" y="379494"/>
                    <a:pt x="1023444" y="371425"/>
                    <a:pt x="1033398" y="371425"/>
                  </a:cubicBezTo>
                  <a:close/>
                  <a:moveTo>
                    <a:pt x="432585" y="371425"/>
                  </a:moveTo>
                  <a:cubicBezTo>
                    <a:pt x="442540" y="371425"/>
                    <a:pt x="450610" y="379494"/>
                    <a:pt x="450610" y="389449"/>
                  </a:cubicBezTo>
                  <a:cubicBezTo>
                    <a:pt x="450610" y="399404"/>
                    <a:pt x="442540" y="407474"/>
                    <a:pt x="432585" y="407474"/>
                  </a:cubicBezTo>
                  <a:cubicBezTo>
                    <a:pt x="422631" y="407474"/>
                    <a:pt x="414561" y="399404"/>
                    <a:pt x="414561" y="389449"/>
                  </a:cubicBezTo>
                  <a:cubicBezTo>
                    <a:pt x="414561" y="379494"/>
                    <a:pt x="422631" y="371425"/>
                    <a:pt x="432585" y="371425"/>
                  </a:cubicBezTo>
                  <a:close/>
                  <a:moveTo>
                    <a:pt x="4037466" y="365417"/>
                  </a:moveTo>
                  <a:cubicBezTo>
                    <a:pt x="4047421" y="365417"/>
                    <a:pt x="4055491" y="373487"/>
                    <a:pt x="4055491" y="383441"/>
                  </a:cubicBezTo>
                  <a:cubicBezTo>
                    <a:pt x="4055491" y="393396"/>
                    <a:pt x="4047421" y="401466"/>
                    <a:pt x="4037466" y="401466"/>
                  </a:cubicBezTo>
                  <a:cubicBezTo>
                    <a:pt x="4027511" y="401466"/>
                    <a:pt x="4019441" y="393396"/>
                    <a:pt x="4019441" y="383441"/>
                  </a:cubicBezTo>
                  <a:cubicBezTo>
                    <a:pt x="4019441" y="373487"/>
                    <a:pt x="4027511" y="365417"/>
                    <a:pt x="4037466" y="365417"/>
                  </a:cubicBezTo>
                  <a:close/>
                  <a:moveTo>
                    <a:pt x="2943986" y="365417"/>
                  </a:moveTo>
                  <a:cubicBezTo>
                    <a:pt x="2953941" y="365417"/>
                    <a:pt x="2962011" y="373487"/>
                    <a:pt x="2962011" y="383441"/>
                  </a:cubicBezTo>
                  <a:cubicBezTo>
                    <a:pt x="2962011" y="393396"/>
                    <a:pt x="2953941" y="401466"/>
                    <a:pt x="2943986" y="401466"/>
                  </a:cubicBezTo>
                  <a:cubicBezTo>
                    <a:pt x="2934031" y="401466"/>
                    <a:pt x="2925962" y="393396"/>
                    <a:pt x="2925962" y="383441"/>
                  </a:cubicBezTo>
                  <a:cubicBezTo>
                    <a:pt x="2925962" y="373487"/>
                    <a:pt x="2934031" y="365417"/>
                    <a:pt x="2943986" y="365417"/>
                  </a:cubicBezTo>
                  <a:close/>
                  <a:moveTo>
                    <a:pt x="2811807" y="365417"/>
                  </a:moveTo>
                  <a:cubicBezTo>
                    <a:pt x="2821762" y="365417"/>
                    <a:pt x="2829832" y="373487"/>
                    <a:pt x="2829832" y="383441"/>
                  </a:cubicBezTo>
                  <a:cubicBezTo>
                    <a:pt x="2829832" y="393396"/>
                    <a:pt x="2821762" y="401466"/>
                    <a:pt x="2811807" y="401466"/>
                  </a:cubicBezTo>
                  <a:cubicBezTo>
                    <a:pt x="2801853" y="401466"/>
                    <a:pt x="2793783" y="393396"/>
                    <a:pt x="2793783" y="383441"/>
                  </a:cubicBezTo>
                  <a:cubicBezTo>
                    <a:pt x="2793783" y="373487"/>
                    <a:pt x="2801853" y="365417"/>
                    <a:pt x="2811807" y="365417"/>
                  </a:cubicBezTo>
                  <a:close/>
                  <a:moveTo>
                    <a:pt x="5899988" y="353401"/>
                  </a:moveTo>
                  <a:cubicBezTo>
                    <a:pt x="5909943" y="353401"/>
                    <a:pt x="5918013" y="361471"/>
                    <a:pt x="5918013" y="371425"/>
                  </a:cubicBezTo>
                  <a:cubicBezTo>
                    <a:pt x="5918013" y="381380"/>
                    <a:pt x="5909943" y="389450"/>
                    <a:pt x="5899988" y="389450"/>
                  </a:cubicBezTo>
                  <a:cubicBezTo>
                    <a:pt x="5890033" y="389450"/>
                    <a:pt x="5881963" y="381380"/>
                    <a:pt x="5881963" y="371425"/>
                  </a:cubicBezTo>
                  <a:cubicBezTo>
                    <a:pt x="5881963" y="361471"/>
                    <a:pt x="5890033" y="353401"/>
                    <a:pt x="5899988" y="353401"/>
                  </a:cubicBezTo>
                  <a:close/>
                  <a:moveTo>
                    <a:pt x="4842556" y="353401"/>
                  </a:moveTo>
                  <a:cubicBezTo>
                    <a:pt x="4852511" y="353401"/>
                    <a:pt x="4860581" y="361471"/>
                    <a:pt x="4860581" y="371425"/>
                  </a:cubicBezTo>
                  <a:cubicBezTo>
                    <a:pt x="4860581" y="381380"/>
                    <a:pt x="4852511" y="389450"/>
                    <a:pt x="4842556" y="389450"/>
                  </a:cubicBezTo>
                  <a:cubicBezTo>
                    <a:pt x="4832601" y="389450"/>
                    <a:pt x="4824532" y="381380"/>
                    <a:pt x="4824532" y="371425"/>
                  </a:cubicBezTo>
                  <a:cubicBezTo>
                    <a:pt x="4824532" y="361471"/>
                    <a:pt x="4832601" y="353401"/>
                    <a:pt x="4842556" y="353401"/>
                  </a:cubicBezTo>
                  <a:close/>
                  <a:moveTo>
                    <a:pt x="4518117" y="353401"/>
                  </a:moveTo>
                  <a:cubicBezTo>
                    <a:pt x="4528072" y="353401"/>
                    <a:pt x="4536142" y="361471"/>
                    <a:pt x="4536142" y="371425"/>
                  </a:cubicBezTo>
                  <a:cubicBezTo>
                    <a:pt x="4536142" y="381380"/>
                    <a:pt x="4528072" y="389450"/>
                    <a:pt x="4518117" y="389450"/>
                  </a:cubicBezTo>
                  <a:cubicBezTo>
                    <a:pt x="4508162" y="389450"/>
                    <a:pt x="4500092" y="381380"/>
                    <a:pt x="4500092" y="371425"/>
                  </a:cubicBezTo>
                  <a:cubicBezTo>
                    <a:pt x="4500092" y="361471"/>
                    <a:pt x="4508162" y="353401"/>
                    <a:pt x="4518117" y="353401"/>
                  </a:cubicBezTo>
                  <a:close/>
                  <a:moveTo>
                    <a:pt x="4403962" y="353401"/>
                  </a:moveTo>
                  <a:cubicBezTo>
                    <a:pt x="4413917" y="353401"/>
                    <a:pt x="4421987" y="361471"/>
                    <a:pt x="4421987" y="371425"/>
                  </a:cubicBezTo>
                  <a:cubicBezTo>
                    <a:pt x="4421987" y="381380"/>
                    <a:pt x="4413917" y="389450"/>
                    <a:pt x="4403962" y="389450"/>
                  </a:cubicBezTo>
                  <a:cubicBezTo>
                    <a:pt x="4394008" y="389450"/>
                    <a:pt x="4385938" y="381380"/>
                    <a:pt x="4385938" y="371425"/>
                  </a:cubicBezTo>
                  <a:cubicBezTo>
                    <a:pt x="4385938" y="361471"/>
                    <a:pt x="4394008" y="353401"/>
                    <a:pt x="4403962" y="353401"/>
                  </a:cubicBezTo>
                  <a:close/>
                  <a:moveTo>
                    <a:pt x="4151621" y="353401"/>
                  </a:moveTo>
                  <a:cubicBezTo>
                    <a:pt x="4161576" y="353401"/>
                    <a:pt x="4169646" y="361471"/>
                    <a:pt x="4169646" y="371425"/>
                  </a:cubicBezTo>
                  <a:cubicBezTo>
                    <a:pt x="4169646" y="381380"/>
                    <a:pt x="4161576" y="389450"/>
                    <a:pt x="4151621" y="389450"/>
                  </a:cubicBezTo>
                  <a:cubicBezTo>
                    <a:pt x="4141666" y="389450"/>
                    <a:pt x="4133597" y="381380"/>
                    <a:pt x="4133597" y="371425"/>
                  </a:cubicBezTo>
                  <a:cubicBezTo>
                    <a:pt x="4133597" y="361471"/>
                    <a:pt x="4141666" y="353401"/>
                    <a:pt x="4151621" y="353401"/>
                  </a:cubicBezTo>
                  <a:close/>
                  <a:moveTo>
                    <a:pt x="3911295" y="347392"/>
                  </a:moveTo>
                  <a:cubicBezTo>
                    <a:pt x="3921250" y="347392"/>
                    <a:pt x="3929320" y="355462"/>
                    <a:pt x="3929320" y="365417"/>
                  </a:cubicBezTo>
                  <a:cubicBezTo>
                    <a:pt x="3929320" y="375371"/>
                    <a:pt x="3921250" y="383441"/>
                    <a:pt x="3911295" y="383441"/>
                  </a:cubicBezTo>
                  <a:cubicBezTo>
                    <a:pt x="3901340" y="383441"/>
                    <a:pt x="3893271" y="375371"/>
                    <a:pt x="3893271" y="365417"/>
                  </a:cubicBezTo>
                  <a:cubicBezTo>
                    <a:pt x="3893271" y="355462"/>
                    <a:pt x="3901340" y="347392"/>
                    <a:pt x="3911295" y="347392"/>
                  </a:cubicBezTo>
                  <a:close/>
                  <a:moveTo>
                    <a:pt x="2078814" y="347392"/>
                  </a:moveTo>
                  <a:cubicBezTo>
                    <a:pt x="2088769" y="347392"/>
                    <a:pt x="2096839" y="355462"/>
                    <a:pt x="2096839" y="365417"/>
                  </a:cubicBezTo>
                  <a:cubicBezTo>
                    <a:pt x="2096839" y="375371"/>
                    <a:pt x="2088769" y="383441"/>
                    <a:pt x="2078814" y="383441"/>
                  </a:cubicBezTo>
                  <a:cubicBezTo>
                    <a:pt x="2068860" y="383441"/>
                    <a:pt x="2060790" y="375371"/>
                    <a:pt x="2060790" y="365417"/>
                  </a:cubicBezTo>
                  <a:cubicBezTo>
                    <a:pt x="2060790" y="355462"/>
                    <a:pt x="2068860" y="347392"/>
                    <a:pt x="2078814" y="347392"/>
                  </a:cubicBezTo>
                  <a:close/>
                  <a:moveTo>
                    <a:pt x="1345823" y="347392"/>
                  </a:moveTo>
                  <a:cubicBezTo>
                    <a:pt x="1355777" y="347392"/>
                    <a:pt x="1363847" y="355462"/>
                    <a:pt x="1363847" y="365417"/>
                  </a:cubicBezTo>
                  <a:cubicBezTo>
                    <a:pt x="1363847" y="375371"/>
                    <a:pt x="1355777" y="383441"/>
                    <a:pt x="1345823" y="383441"/>
                  </a:cubicBezTo>
                  <a:cubicBezTo>
                    <a:pt x="1335868" y="383441"/>
                    <a:pt x="1327798" y="375371"/>
                    <a:pt x="1327798" y="365417"/>
                  </a:cubicBezTo>
                  <a:cubicBezTo>
                    <a:pt x="1327798" y="355462"/>
                    <a:pt x="1335868" y="347392"/>
                    <a:pt x="1345823" y="347392"/>
                  </a:cubicBezTo>
                  <a:close/>
                  <a:moveTo>
                    <a:pt x="1556107" y="341384"/>
                  </a:moveTo>
                  <a:cubicBezTo>
                    <a:pt x="1566061" y="341384"/>
                    <a:pt x="1574131" y="349453"/>
                    <a:pt x="1574131" y="359408"/>
                  </a:cubicBezTo>
                  <a:cubicBezTo>
                    <a:pt x="1574131" y="369363"/>
                    <a:pt x="1566061" y="377433"/>
                    <a:pt x="1556107" y="377433"/>
                  </a:cubicBezTo>
                  <a:cubicBezTo>
                    <a:pt x="1546152" y="377433"/>
                    <a:pt x="1538082" y="369363"/>
                    <a:pt x="1538082" y="359408"/>
                  </a:cubicBezTo>
                  <a:cubicBezTo>
                    <a:pt x="1538082" y="349453"/>
                    <a:pt x="1546152" y="341384"/>
                    <a:pt x="1556107" y="341384"/>
                  </a:cubicBezTo>
                  <a:close/>
                  <a:moveTo>
                    <a:pt x="306414" y="341384"/>
                  </a:moveTo>
                  <a:cubicBezTo>
                    <a:pt x="316369" y="341384"/>
                    <a:pt x="324439" y="349453"/>
                    <a:pt x="324439" y="359408"/>
                  </a:cubicBezTo>
                  <a:cubicBezTo>
                    <a:pt x="324439" y="369363"/>
                    <a:pt x="316369" y="377433"/>
                    <a:pt x="306414" y="377433"/>
                  </a:cubicBezTo>
                  <a:cubicBezTo>
                    <a:pt x="296460" y="377433"/>
                    <a:pt x="288390" y="369363"/>
                    <a:pt x="288390" y="359408"/>
                  </a:cubicBezTo>
                  <a:cubicBezTo>
                    <a:pt x="288390" y="349453"/>
                    <a:pt x="296460" y="341384"/>
                    <a:pt x="306414" y="341384"/>
                  </a:cubicBezTo>
                  <a:close/>
                  <a:moveTo>
                    <a:pt x="6206403" y="335376"/>
                  </a:moveTo>
                  <a:cubicBezTo>
                    <a:pt x="6216358" y="335376"/>
                    <a:pt x="6224428" y="343446"/>
                    <a:pt x="6224428" y="353400"/>
                  </a:cubicBezTo>
                  <a:cubicBezTo>
                    <a:pt x="6224428" y="363355"/>
                    <a:pt x="6216358" y="371425"/>
                    <a:pt x="6206403" y="371425"/>
                  </a:cubicBezTo>
                  <a:cubicBezTo>
                    <a:pt x="6196449" y="371425"/>
                    <a:pt x="6188379" y="363355"/>
                    <a:pt x="6188379" y="353400"/>
                  </a:cubicBezTo>
                  <a:cubicBezTo>
                    <a:pt x="6188379" y="343446"/>
                    <a:pt x="6196449" y="335376"/>
                    <a:pt x="6206403" y="335376"/>
                  </a:cubicBezTo>
                  <a:close/>
                  <a:moveTo>
                    <a:pt x="1670261" y="335376"/>
                  </a:moveTo>
                  <a:cubicBezTo>
                    <a:pt x="1680216" y="335376"/>
                    <a:pt x="1688286" y="343446"/>
                    <a:pt x="1688286" y="353400"/>
                  </a:cubicBezTo>
                  <a:cubicBezTo>
                    <a:pt x="1688286" y="363355"/>
                    <a:pt x="1680216" y="371425"/>
                    <a:pt x="1670261" y="371425"/>
                  </a:cubicBezTo>
                  <a:cubicBezTo>
                    <a:pt x="1660307" y="371425"/>
                    <a:pt x="1652237" y="363355"/>
                    <a:pt x="1652237" y="353400"/>
                  </a:cubicBezTo>
                  <a:cubicBezTo>
                    <a:pt x="1652237" y="343446"/>
                    <a:pt x="1660307" y="335376"/>
                    <a:pt x="1670261" y="335376"/>
                  </a:cubicBezTo>
                  <a:close/>
                  <a:moveTo>
                    <a:pt x="5767809" y="329368"/>
                  </a:moveTo>
                  <a:cubicBezTo>
                    <a:pt x="5777764" y="329368"/>
                    <a:pt x="5785834" y="337438"/>
                    <a:pt x="5785834" y="347392"/>
                  </a:cubicBezTo>
                  <a:cubicBezTo>
                    <a:pt x="5785834" y="357347"/>
                    <a:pt x="5777764" y="365417"/>
                    <a:pt x="5767809" y="365417"/>
                  </a:cubicBezTo>
                  <a:cubicBezTo>
                    <a:pt x="5757854" y="365417"/>
                    <a:pt x="5749785" y="357347"/>
                    <a:pt x="5749785" y="347392"/>
                  </a:cubicBezTo>
                  <a:cubicBezTo>
                    <a:pt x="5749785" y="337438"/>
                    <a:pt x="5757854" y="329368"/>
                    <a:pt x="5767809" y="329368"/>
                  </a:cubicBezTo>
                  <a:close/>
                  <a:moveTo>
                    <a:pt x="3797141" y="329368"/>
                  </a:moveTo>
                  <a:cubicBezTo>
                    <a:pt x="3807096" y="329368"/>
                    <a:pt x="3815166" y="337438"/>
                    <a:pt x="3815166" y="347392"/>
                  </a:cubicBezTo>
                  <a:cubicBezTo>
                    <a:pt x="3815166" y="357347"/>
                    <a:pt x="3807096" y="365417"/>
                    <a:pt x="3797141" y="365417"/>
                  </a:cubicBezTo>
                  <a:cubicBezTo>
                    <a:pt x="3787186" y="365417"/>
                    <a:pt x="3779116" y="357347"/>
                    <a:pt x="3779116" y="347392"/>
                  </a:cubicBezTo>
                  <a:cubicBezTo>
                    <a:pt x="3779116" y="337438"/>
                    <a:pt x="3787186" y="329368"/>
                    <a:pt x="3797141" y="329368"/>
                  </a:cubicBezTo>
                  <a:close/>
                  <a:moveTo>
                    <a:pt x="2673619" y="329368"/>
                  </a:moveTo>
                  <a:cubicBezTo>
                    <a:pt x="2683574" y="329368"/>
                    <a:pt x="2691644" y="337438"/>
                    <a:pt x="2691644" y="347392"/>
                  </a:cubicBezTo>
                  <a:cubicBezTo>
                    <a:pt x="2691644" y="357347"/>
                    <a:pt x="2683574" y="365417"/>
                    <a:pt x="2673619" y="365417"/>
                  </a:cubicBezTo>
                  <a:cubicBezTo>
                    <a:pt x="2663664" y="365417"/>
                    <a:pt x="2655595" y="357347"/>
                    <a:pt x="2655595" y="347392"/>
                  </a:cubicBezTo>
                  <a:cubicBezTo>
                    <a:pt x="2655595" y="337438"/>
                    <a:pt x="2663664" y="329368"/>
                    <a:pt x="2673619" y="329368"/>
                  </a:cubicBezTo>
                  <a:close/>
                  <a:moveTo>
                    <a:pt x="1898570" y="329368"/>
                  </a:moveTo>
                  <a:cubicBezTo>
                    <a:pt x="1908525" y="329368"/>
                    <a:pt x="1916595" y="337438"/>
                    <a:pt x="1916595" y="347392"/>
                  </a:cubicBezTo>
                  <a:cubicBezTo>
                    <a:pt x="1916595" y="357347"/>
                    <a:pt x="1908525" y="365417"/>
                    <a:pt x="1898570" y="365417"/>
                  </a:cubicBezTo>
                  <a:cubicBezTo>
                    <a:pt x="1888616" y="365417"/>
                    <a:pt x="1880546" y="357347"/>
                    <a:pt x="1880546" y="347392"/>
                  </a:cubicBezTo>
                  <a:cubicBezTo>
                    <a:pt x="1880546" y="337438"/>
                    <a:pt x="1888616" y="329368"/>
                    <a:pt x="1898570" y="329368"/>
                  </a:cubicBezTo>
                  <a:close/>
                  <a:moveTo>
                    <a:pt x="66089" y="323360"/>
                  </a:moveTo>
                  <a:cubicBezTo>
                    <a:pt x="76044" y="323360"/>
                    <a:pt x="84114" y="331430"/>
                    <a:pt x="84114" y="341384"/>
                  </a:cubicBezTo>
                  <a:cubicBezTo>
                    <a:pt x="84114" y="351339"/>
                    <a:pt x="76044" y="359409"/>
                    <a:pt x="66089" y="359409"/>
                  </a:cubicBezTo>
                  <a:cubicBezTo>
                    <a:pt x="56135" y="359409"/>
                    <a:pt x="48065" y="351339"/>
                    <a:pt x="48065" y="341384"/>
                  </a:cubicBezTo>
                  <a:cubicBezTo>
                    <a:pt x="48065" y="331430"/>
                    <a:pt x="56135" y="323360"/>
                    <a:pt x="66089" y="323360"/>
                  </a:cubicBezTo>
                  <a:close/>
                  <a:moveTo>
                    <a:pt x="5647646" y="317352"/>
                  </a:moveTo>
                  <a:cubicBezTo>
                    <a:pt x="5657601" y="317352"/>
                    <a:pt x="5665671" y="325422"/>
                    <a:pt x="5665671" y="335377"/>
                  </a:cubicBezTo>
                  <a:cubicBezTo>
                    <a:pt x="5665671" y="345331"/>
                    <a:pt x="5657601" y="353401"/>
                    <a:pt x="5647646" y="353401"/>
                  </a:cubicBezTo>
                  <a:cubicBezTo>
                    <a:pt x="5637691" y="353401"/>
                    <a:pt x="5629622" y="345331"/>
                    <a:pt x="5629622" y="335377"/>
                  </a:cubicBezTo>
                  <a:cubicBezTo>
                    <a:pt x="5629622" y="325422"/>
                    <a:pt x="5637691" y="317352"/>
                    <a:pt x="5647646" y="317352"/>
                  </a:cubicBezTo>
                  <a:close/>
                  <a:moveTo>
                    <a:pt x="3064148" y="311344"/>
                  </a:moveTo>
                  <a:cubicBezTo>
                    <a:pt x="3074103" y="311344"/>
                    <a:pt x="3082173" y="319413"/>
                    <a:pt x="3082173" y="329368"/>
                  </a:cubicBezTo>
                  <a:cubicBezTo>
                    <a:pt x="3082173" y="339323"/>
                    <a:pt x="3074103" y="347393"/>
                    <a:pt x="3064148" y="347393"/>
                  </a:cubicBezTo>
                  <a:cubicBezTo>
                    <a:pt x="3054193" y="347393"/>
                    <a:pt x="3046124" y="339323"/>
                    <a:pt x="3046124" y="329368"/>
                  </a:cubicBezTo>
                  <a:cubicBezTo>
                    <a:pt x="3046124" y="319413"/>
                    <a:pt x="3054193" y="311344"/>
                    <a:pt x="3064148" y="311344"/>
                  </a:cubicBezTo>
                  <a:close/>
                  <a:moveTo>
                    <a:pt x="2553457" y="311344"/>
                  </a:moveTo>
                  <a:cubicBezTo>
                    <a:pt x="2563412" y="311344"/>
                    <a:pt x="2571482" y="319413"/>
                    <a:pt x="2571482" y="329368"/>
                  </a:cubicBezTo>
                  <a:cubicBezTo>
                    <a:pt x="2571482" y="339323"/>
                    <a:pt x="2563412" y="347393"/>
                    <a:pt x="2553457" y="347393"/>
                  </a:cubicBezTo>
                  <a:cubicBezTo>
                    <a:pt x="2543502" y="347393"/>
                    <a:pt x="2535433" y="339323"/>
                    <a:pt x="2535433" y="329368"/>
                  </a:cubicBezTo>
                  <a:cubicBezTo>
                    <a:pt x="2535433" y="319413"/>
                    <a:pt x="2543502" y="311344"/>
                    <a:pt x="2553457" y="311344"/>
                  </a:cubicBezTo>
                  <a:close/>
                  <a:moveTo>
                    <a:pt x="6098257" y="305335"/>
                  </a:moveTo>
                  <a:cubicBezTo>
                    <a:pt x="6108212" y="305335"/>
                    <a:pt x="6116282" y="313405"/>
                    <a:pt x="6116282" y="323359"/>
                  </a:cubicBezTo>
                  <a:cubicBezTo>
                    <a:pt x="6116282" y="333314"/>
                    <a:pt x="6108212" y="341384"/>
                    <a:pt x="6098257" y="341384"/>
                  </a:cubicBezTo>
                  <a:cubicBezTo>
                    <a:pt x="6088302" y="341384"/>
                    <a:pt x="6080233" y="333314"/>
                    <a:pt x="6080233" y="323359"/>
                  </a:cubicBezTo>
                  <a:cubicBezTo>
                    <a:pt x="6080233" y="313405"/>
                    <a:pt x="6088302" y="305335"/>
                    <a:pt x="6098257" y="305335"/>
                  </a:cubicBezTo>
                  <a:close/>
                  <a:moveTo>
                    <a:pt x="1231667" y="305335"/>
                  </a:moveTo>
                  <a:cubicBezTo>
                    <a:pt x="1241622" y="305335"/>
                    <a:pt x="1249692" y="313405"/>
                    <a:pt x="1249692" y="323359"/>
                  </a:cubicBezTo>
                  <a:cubicBezTo>
                    <a:pt x="1249692" y="333314"/>
                    <a:pt x="1241622" y="341384"/>
                    <a:pt x="1231667" y="341384"/>
                  </a:cubicBezTo>
                  <a:cubicBezTo>
                    <a:pt x="1221713" y="341384"/>
                    <a:pt x="1213643" y="333314"/>
                    <a:pt x="1213643" y="323359"/>
                  </a:cubicBezTo>
                  <a:cubicBezTo>
                    <a:pt x="1213643" y="313405"/>
                    <a:pt x="1221713" y="305335"/>
                    <a:pt x="1231667" y="305335"/>
                  </a:cubicBezTo>
                  <a:close/>
                  <a:moveTo>
                    <a:pt x="174235" y="305335"/>
                  </a:moveTo>
                  <a:cubicBezTo>
                    <a:pt x="184190" y="305335"/>
                    <a:pt x="192260" y="313405"/>
                    <a:pt x="192260" y="323359"/>
                  </a:cubicBezTo>
                  <a:cubicBezTo>
                    <a:pt x="192260" y="333314"/>
                    <a:pt x="184190" y="341384"/>
                    <a:pt x="174235" y="341384"/>
                  </a:cubicBezTo>
                  <a:cubicBezTo>
                    <a:pt x="164281" y="341384"/>
                    <a:pt x="156211" y="333314"/>
                    <a:pt x="156211" y="323359"/>
                  </a:cubicBezTo>
                  <a:cubicBezTo>
                    <a:pt x="156211" y="313405"/>
                    <a:pt x="164281" y="305335"/>
                    <a:pt x="174235" y="305335"/>
                  </a:cubicBezTo>
                  <a:close/>
                  <a:moveTo>
                    <a:pt x="3520767" y="299327"/>
                  </a:moveTo>
                  <a:cubicBezTo>
                    <a:pt x="3530722" y="299327"/>
                    <a:pt x="3538792" y="307397"/>
                    <a:pt x="3538792" y="317351"/>
                  </a:cubicBezTo>
                  <a:cubicBezTo>
                    <a:pt x="3538792" y="327306"/>
                    <a:pt x="3530722" y="335376"/>
                    <a:pt x="3520767" y="335376"/>
                  </a:cubicBezTo>
                  <a:cubicBezTo>
                    <a:pt x="3510812" y="335376"/>
                    <a:pt x="3502743" y="327306"/>
                    <a:pt x="3502743" y="317351"/>
                  </a:cubicBezTo>
                  <a:cubicBezTo>
                    <a:pt x="3502743" y="307397"/>
                    <a:pt x="3510812" y="299327"/>
                    <a:pt x="3520767" y="299327"/>
                  </a:cubicBezTo>
                  <a:close/>
                  <a:moveTo>
                    <a:pt x="5347240" y="293319"/>
                  </a:moveTo>
                  <a:cubicBezTo>
                    <a:pt x="5357195" y="293319"/>
                    <a:pt x="5365265" y="301389"/>
                    <a:pt x="5365265" y="311343"/>
                  </a:cubicBezTo>
                  <a:cubicBezTo>
                    <a:pt x="5365265" y="321298"/>
                    <a:pt x="5357195" y="329368"/>
                    <a:pt x="5347240" y="329368"/>
                  </a:cubicBezTo>
                  <a:cubicBezTo>
                    <a:pt x="5337285" y="329368"/>
                    <a:pt x="5329216" y="321298"/>
                    <a:pt x="5329216" y="311343"/>
                  </a:cubicBezTo>
                  <a:cubicBezTo>
                    <a:pt x="5329216" y="301389"/>
                    <a:pt x="5337285" y="293319"/>
                    <a:pt x="5347240" y="293319"/>
                  </a:cubicBezTo>
                  <a:close/>
                  <a:moveTo>
                    <a:pt x="2439302" y="293319"/>
                  </a:moveTo>
                  <a:cubicBezTo>
                    <a:pt x="2449257" y="293319"/>
                    <a:pt x="2457327" y="301389"/>
                    <a:pt x="2457327" y="311343"/>
                  </a:cubicBezTo>
                  <a:cubicBezTo>
                    <a:pt x="2457327" y="321298"/>
                    <a:pt x="2449257" y="329368"/>
                    <a:pt x="2439302" y="329368"/>
                  </a:cubicBezTo>
                  <a:cubicBezTo>
                    <a:pt x="2429347" y="329368"/>
                    <a:pt x="2421278" y="321298"/>
                    <a:pt x="2421278" y="311343"/>
                  </a:cubicBezTo>
                  <a:cubicBezTo>
                    <a:pt x="2421278" y="301389"/>
                    <a:pt x="2429347" y="293319"/>
                    <a:pt x="2439302" y="293319"/>
                  </a:cubicBezTo>
                  <a:close/>
                  <a:moveTo>
                    <a:pt x="2301115" y="293319"/>
                  </a:moveTo>
                  <a:cubicBezTo>
                    <a:pt x="2311070" y="293319"/>
                    <a:pt x="2319140" y="301389"/>
                    <a:pt x="2319140" y="311343"/>
                  </a:cubicBezTo>
                  <a:cubicBezTo>
                    <a:pt x="2319140" y="321298"/>
                    <a:pt x="2311070" y="329368"/>
                    <a:pt x="2301115" y="329368"/>
                  </a:cubicBezTo>
                  <a:cubicBezTo>
                    <a:pt x="2291161" y="329368"/>
                    <a:pt x="2283091" y="321298"/>
                    <a:pt x="2283091" y="311343"/>
                  </a:cubicBezTo>
                  <a:cubicBezTo>
                    <a:pt x="2283091" y="301389"/>
                    <a:pt x="2291161" y="293319"/>
                    <a:pt x="2301115" y="293319"/>
                  </a:cubicBezTo>
                  <a:close/>
                  <a:moveTo>
                    <a:pt x="1447960" y="293319"/>
                  </a:moveTo>
                  <a:cubicBezTo>
                    <a:pt x="1457915" y="293319"/>
                    <a:pt x="1465985" y="301389"/>
                    <a:pt x="1465985" y="311343"/>
                  </a:cubicBezTo>
                  <a:cubicBezTo>
                    <a:pt x="1465985" y="321298"/>
                    <a:pt x="1457915" y="329368"/>
                    <a:pt x="1447960" y="329368"/>
                  </a:cubicBezTo>
                  <a:cubicBezTo>
                    <a:pt x="1438006" y="329368"/>
                    <a:pt x="1429936" y="321298"/>
                    <a:pt x="1429936" y="311343"/>
                  </a:cubicBezTo>
                  <a:cubicBezTo>
                    <a:pt x="1429936" y="301389"/>
                    <a:pt x="1438006" y="293319"/>
                    <a:pt x="1447960" y="293319"/>
                  </a:cubicBezTo>
                  <a:close/>
                  <a:moveTo>
                    <a:pt x="901219" y="293319"/>
                  </a:moveTo>
                  <a:cubicBezTo>
                    <a:pt x="911174" y="293319"/>
                    <a:pt x="919244" y="301389"/>
                    <a:pt x="919244" y="311343"/>
                  </a:cubicBezTo>
                  <a:cubicBezTo>
                    <a:pt x="919244" y="321298"/>
                    <a:pt x="911174" y="329368"/>
                    <a:pt x="901219" y="329368"/>
                  </a:cubicBezTo>
                  <a:cubicBezTo>
                    <a:pt x="891265" y="329368"/>
                    <a:pt x="883195" y="321298"/>
                    <a:pt x="883195" y="311343"/>
                  </a:cubicBezTo>
                  <a:cubicBezTo>
                    <a:pt x="883195" y="301389"/>
                    <a:pt x="891265" y="293319"/>
                    <a:pt x="901219" y="293319"/>
                  </a:cubicBezTo>
                  <a:close/>
                  <a:moveTo>
                    <a:pt x="552748" y="293319"/>
                  </a:moveTo>
                  <a:cubicBezTo>
                    <a:pt x="562703" y="293319"/>
                    <a:pt x="570773" y="301389"/>
                    <a:pt x="570773" y="311343"/>
                  </a:cubicBezTo>
                  <a:cubicBezTo>
                    <a:pt x="570773" y="321298"/>
                    <a:pt x="562703" y="329368"/>
                    <a:pt x="552748" y="329368"/>
                  </a:cubicBezTo>
                  <a:cubicBezTo>
                    <a:pt x="542794" y="329368"/>
                    <a:pt x="534724" y="321298"/>
                    <a:pt x="534724" y="311343"/>
                  </a:cubicBezTo>
                  <a:cubicBezTo>
                    <a:pt x="534724" y="301389"/>
                    <a:pt x="542794" y="293319"/>
                    <a:pt x="552748" y="293319"/>
                  </a:cubicBezTo>
                  <a:close/>
                  <a:moveTo>
                    <a:pt x="6326566" y="287311"/>
                  </a:moveTo>
                  <a:cubicBezTo>
                    <a:pt x="6336521" y="287311"/>
                    <a:pt x="6344591" y="295381"/>
                    <a:pt x="6344591" y="305336"/>
                  </a:cubicBezTo>
                  <a:cubicBezTo>
                    <a:pt x="6344591" y="315290"/>
                    <a:pt x="6336522" y="323360"/>
                    <a:pt x="6326566" y="323360"/>
                  </a:cubicBezTo>
                  <a:cubicBezTo>
                    <a:pt x="6316612" y="323360"/>
                    <a:pt x="6308542" y="315290"/>
                    <a:pt x="6308542" y="305336"/>
                  </a:cubicBezTo>
                  <a:cubicBezTo>
                    <a:pt x="6308542" y="295381"/>
                    <a:pt x="6316611" y="287311"/>
                    <a:pt x="6326566" y="287311"/>
                  </a:cubicBezTo>
                  <a:close/>
                  <a:moveTo>
                    <a:pt x="5503451" y="287311"/>
                  </a:moveTo>
                  <a:cubicBezTo>
                    <a:pt x="5513406" y="287311"/>
                    <a:pt x="5521476" y="295381"/>
                    <a:pt x="5521476" y="305336"/>
                  </a:cubicBezTo>
                  <a:cubicBezTo>
                    <a:pt x="5521476" y="315290"/>
                    <a:pt x="5513406" y="323360"/>
                    <a:pt x="5503451" y="323360"/>
                  </a:cubicBezTo>
                  <a:cubicBezTo>
                    <a:pt x="5493496" y="323360"/>
                    <a:pt x="5485427" y="315290"/>
                    <a:pt x="5485427" y="305336"/>
                  </a:cubicBezTo>
                  <a:cubicBezTo>
                    <a:pt x="5485427" y="295381"/>
                    <a:pt x="5493496" y="287311"/>
                    <a:pt x="5503451" y="287311"/>
                  </a:cubicBezTo>
                  <a:close/>
                  <a:moveTo>
                    <a:pt x="1808448" y="287311"/>
                  </a:moveTo>
                  <a:cubicBezTo>
                    <a:pt x="1818403" y="287311"/>
                    <a:pt x="1826473" y="295381"/>
                    <a:pt x="1826473" y="305336"/>
                  </a:cubicBezTo>
                  <a:cubicBezTo>
                    <a:pt x="1826473" y="315290"/>
                    <a:pt x="1818403" y="323360"/>
                    <a:pt x="1808448" y="323360"/>
                  </a:cubicBezTo>
                  <a:cubicBezTo>
                    <a:pt x="1798494" y="323360"/>
                    <a:pt x="1790424" y="315290"/>
                    <a:pt x="1790424" y="305336"/>
                  </a:cubicBezTo>
                  <a:cubicBezTo>
                    <a:pt x="1790424" y="295381"/>
                    <a:pt x="1798494" y="287311"/>
                    <a:pt x="1808448" y="287311"/>
                  </a:cubicBezTo>
                  <a:close/>
                  <a:moveTo>
                    <a:pt x="672910" y="287311"/>
                  </a:moveTo>
                  <a:cubicBezTo>
                    <a:pt x="682865" y="287311"/>
                    <a:pt x="690935" y="295381"/>
                    <a:pt x="690935" y="305336"/>
                  </a:cubicBezTo>
                  <a:cubicBezTo>
                    <a:pt x="690935" y="315290"/>
                    <a:pt x="682865" y="323360"/>
                    <a:pt x="672910" y="323360"/>
                  </a:cubicBezTo>
                  <a:cubicBezTo>
                    <a:pt x="662956" y="323360"/>
                    <a:pt x="654886" y="315290"/>
                    <a:pt x="654886" y="305336"/>
                  </a:cubicBezTo>
                  <a:cubicBezTo>
                    <a:pt x="654886" y="295381"/>
                    <a:pt x="662956" y="287311"/>
                    <a:pt x="672910" y="287311"/>
                  </a:cubicBezTo>
                  <a:close/>
                  <a:moveTo>
                    <a:pt x="4710377" y="275295"/>
                  </a:moveTo>
                  <a:cubicBezTo>
                    <a:pt x="4720332" y="275295"/>
                    <a:pt x="4728402" y="283365"/>
                    <a:pt x="4728402" y="293319"/>
                  </a:cubicBezTo>
                  <a:cubicBezTo>
                    <a:pt x="4728402" y="303274"/>
                    <a:pt x="4720332" y="311344"/>
                    <a:pt x="4710377" y="311344"/>
                  </a:cubicBezTo>
                  <a:cubicBezTo>
                    <a:pt x="4700423" y="311344"/>
                    <a:pt x="4692353" y="303274"/>
                    <a:pt x="4692353" y="293319"/>
                  </a:cubicBezTo>
                  <a:cubicBezTo>
                    <a:pt x="4692353" y="283365"/>
                    <a:pt x="4700423" y="275295"/>
                    <a:pt x="4710377" y="275295"/>
                  </a:cubicBezTo>
                  <a:close/>
                  <a:moveTo>
                    <a:pt x="4962719" y="269287"/>
                  </a:moveTo>
                  <a:cubicBezTo>
                    <a:pt x="4972674" y="269287"/>
                    <a:pt x="4980744" y="277357"/>
                    <a:pt x="4980744" y="287311"/>
                  </a:cubicBezTo>
                  <a:cubicBezTo>
                    <a:pt x="4980744" y="297266"/>
                    <a:pt x="4972674" y="305336"/>
                    <a:pt x="4962719" y="305336"/>
                  </a:cubicBezTo>
                  <a:cubicBezTo>
                    <a:pt x="4952764" y="305336"/>
                    <a:pt x="4944695" y="297266"/>
                    <a:pt x="4944695" y="287311"/>
                  </a:cubicBezTo>
                  <a:cubicBezTo>
                    <a:pt x="4944695" y="277357"/>
                    <a:pt x="4952764" y="269287"/>
                    <a:pt x="4962719" y="269287"/>
                  </a:cubicBezTo>
                  <a:close/>
                  <a:moveTo>
                    <a:pt x="3652945" y="269287"/>
                  </a:moveTo>
                  <a:cubicBezTo>
                    <a:pt x="3662900" y="269287"/>
                    <a:pt x="3670970" y="277357"/>
                    <a:pt x="3670970" y="287311"/>
                  </a:cubicBezTo>
                  <a:cubicBezTo>
                    <a:pt x="3670970" y="297266"/>
                    <a:pt x="3662900" y="305336"/>
                    <a:pt x="3652945" y="305336"/>
                  </a:cubicBezTo>
                  <a:cubicBezTo>
                    <a:pt x="3642991" y="305336"/>
                    <a:pt x="3634921" y="297266"/>
                    <a:pt x="3634921" y="287311"/>
                  </a:cubicBezTo>
                  <a:cubicBezTo>
                    <a:pt x="3634921" y="277357"/>
                    <a:pt x="3642991" y="269287"/>
                    <a:pt x="3652945" y="269287"/>
                  </a:cubicBezTo>
                  <a:close/>
                  <a:moveTo>
                    <a:pt x="1123520" y="269287"/>
                  </a:moveTo>
                  <a:cubicBezTo>
                    <a:pt x="1133475" y="269287"/>
                    <a:pt x="1141545" y="277357"/>
                    <a:pt x="1141545" y="287311"/>
                  </a:cubicBezTo>
                  <a:cubicBezTo>
                    <a:pt x="1141545" y="297266"/>
                    <a:pt x="1133475" y="305336"/>
                    <a:pt x="1123520" y="305336"/>
                  </a:cubicBezTo>
                  <a:cubicBezTo>
                    <a:pt x="1113566" y="305336"/>
                    <a:pt x="1105496" y="297266"/>
                    <a:pt x="1105496" y="287311"/>
                  </a:cubicBezTo>
                  <a:cubicBezTo>
                    <a:pt x="1105496" y="277357"/>
                    <a:pt x="1113566" y="269287"/>
                    <a:pt x="1123520" y="269287"/>
                  </a:cubicBezTo>
                  <a:close/>
                  <a:moveTo>
                    <a:pt x="5112922" y="263279"/>
                  </a:moveTo>
                  <a:cubicBezTo>
                    <a:pt x="5122877" y="263279"/>
                    <a:pt x="5130947" y="271349"/>
                    <a:pt x="5130947" y="281303"/>
                  </a:cubicBezTo>
                  <a:cubicBezTo>
                    <a:pt x="5130947" y="291258"/>
                    <a:pt x="5122877" y="299328"/>
                    <a:pt x="5112922" y="299328"/>
                  </a:cubicBezTo>
                  <a:cubicBezTo>
                    <a:pt x="5102967" y="299328"/>
                    <a:pt x="5094898" y="291258"/>
                    <a:pt x="5094898" y="281303"/>
                  </a:cubicBezTo>
                  <a:cubicBezTo>
                    <a:pt x="5094898" y="271349"/>
                    <a:pt x="5102967" y="263279"/>
                    <a:pt x="5112922" y="263279"/>
                  </a:cubicBezTo>
                  <a:close/>
                  <a:moveTo>
                    <a:pt x="4217710" y="263279"/>
                  </a:moveTo>
                  <a:cubicBezTo>
                    <a:pt x="4227665" y="263279"/>
                    <a:pt x="4235735" y="271349"/>
                    <a:pt x="4235735" y="281303"/>
                  </a:cubicBezTo>
                  <a:cubicBezTo>
                    <a:pt x="4235735" y="291258"/>
                    <a:pt x="4227665" y="299328"/>
                    <a:pt x="4217710" y="299328"/>
                  </a:cubicBezTo>
                  <a:cubicBezTo>
                    <a:pt x="4207755" y="299328"/>
                    <a:pt x="4199685" y="291258"/>
                    <a:pt x="4199685" y="281303"/>
                  </a:cubicBezTo>
                  <a:cubicBezTo>
                    <a:pt x="4199685" y="271349"/>
                    <a:pt x="4207755" y="263279"/>
                    <a:pt x="4217710" y="263279"/>
                  </a:cubicBezTo>
                  <a:close/>
                  <a:moveTo>
                    <a:pt x="3190319" y="263279"/>
                  </a:moveTo>
                  <a:cubicBezTo>
                    <a:pt x="3200274" y="263279"/>
                    <a:pt x="3208344" y="271349"/>
                    <a:pt x="3208344" y="281303"/>
                  </a:cubicBezTo>
                  <a:cubicBezTo>
                    <a:pt x="3208344" y="291258"/>
                    <a:pt x="3200274" y="299328"/>
                    <a:pt x="3190319" y="299328"/>
                  </a:cubicBezTo>
                  <a:cubicBezTo>
                    <a:pt x="3180364" y="299328"/>
                    <a:pt x="3172295" y="291258"/>
                    <a:pt x="3172295" y="281303"/>
                  </a:cubicBezTo>
                  <a:cubicBezTo>
                    <a:pt x="3172295" y="271349"/>
                    <a:pt x="3180364" y="263279"/>
                    <a:pt x="3190319" y="263279"/>
                  </a:cubicBezTo>
                  <a:close/>
                  <a:moveTo>
                    <a:pt x="5996118" y="257270"/>
                  </a:moveTo>
                  <a:cubicBezTo>
                    <a:pt x="6006073" y="257270"/>
                    <a:pt x="6014143" y="265340"/>
                    <a:pt x="6014143" y="275295"/>
                  </a:cubicBezTo>
                  <a:cubicBezTo>
                    <a:pt x="6014143" y="285249"/>
                    <a:pt x="6006073" y="293319"/>
                    <a:pt x="5996118" y="293319"/>
                  </a:cubicBezTo>
                  <a:cubicBezTo>
                    <a:pt x="5986164" y="293319"/>
                    <a:pt x="5978094" y="285249"/>
                    <a:pt x="5978094" y="275295"/>
                  </a:cubicBezTo>
                  <a:cubicBezTo>
                    <a:pt x="5978094" y="265340"/>
                    <a:pt x="5986164" y="257270"/>
                    <a:pt x="5996118" y="257270"/>
                  </a:cubicBezTo>
                  <a:close/>
                  <a:moveTo>
                    <a:pt x="5233085" y="257270"/>
                  </a:moveTo>
                  <a:cubicBezTo>
                    <a:pt x="5243040" y="257270"/>
                    <a:pt x="5251110" y="265340"/>
                    <a:pt x="5251110" y="275295"/>
                  </a:cubicBezTo>
                  <a:cubicBezTo>
                    <a:pt x="5251110" y="285249"/>
                    <a:pt x="5243040" y="293319"/>
                    <a:pt x="5233085" y="293319"/>
                  </a:cubicBezTo>
                  <a:cubicBezTo>
                    <a:pt x="5223130" y="293319"/>
                    <a:pt x="5215061" y="285249"/>
                    <a:pt x="5215061" y="275295"/>
                  </a:cubicBezTo>
                  <a:cubicBezTo>
                    <a:pt x="5215061" y="265340"/>
                    <a:pt x="5223130" y="257270"/>
                    <a:pt x="5233085" y="257270"/>
                  </a:cubicBezTo>
                  <a:close/>
                  <a:moveTo>
                    <a:pt x="4584206" y="257270"/>
                  </a:moveTo>
                  <a:cubicBezTo>
                    <a:pt x="4594161" y="257270"/>
                    <a:pt x="4602231" y="265340"/>
                    <a:pt x="4602231" y="275295"/>
                  </a:cubicBezTo>
                  <a:cubicBezTo>
                    <a:pt x="4602231" y="285249"/>
                    <a:pt x="4594161" y="293319"/>
                    <a:pt x="4584206" y="293319"/>
                  </a:cubicBezTo>
                  <a:cubicBezTo>
                    <a:pt x="4574252" y="293319"/>
                    <a:pt x="4566182" y="285249"/>
                    <a:pt x="4566182" y="275295"/>
                  </a:cubicBezTo>
                  <a:cubicBezTo>
                    <a:pt x="4566182" y="265340"/>
                    <a:pt x="4574252" y="257270"/>
                    <a:pt x="4584206" y="257270"/>
                  </a:cubicBezTo>
                  <a:close/>
                  <a:moveTo>
                    <a:pt x="2156921" y="257270"/>
                  </a:moveTo>
                  <a:cubicBezTo>
                    <a:pt x="2166875" y="257270"/>
                    <a:pt x="2174945" y="265340"/>
                    <a:pt x="2174945" y="275295"/>
                  </a:cubicBezTo>
                  <a:cubicBezTo>
                    <a:pt x="2174945" y="285249"/>
                    <a:pt x="2166875" y="293319"/>
                    <a:pt x="2156921" y="293319"/>
                  </a:cubicBezTo>
                  <a:cubicBezTo>
                    <a:pt x="2146966" y="293319"/>
                    <a:pt x="2138896" y="285249"/>
                    <a:pt x="2138896" y="275295"/>
                  </a:cubicBezTo>
                  <a:cubicBezTo>
                    <a:pt x="2138896" y="265340"/>
                    <a:pt x="2146966" y="257270"/>
                    <a:pt x="2156921" y="257270"/>
                  </a:cubicBezTo>
                  <a:close/>
                  <a:moveTo>
                    <a:pt x="781057" y="257270"/>
                  </a:moveTo>
                  <a:cubicBezTo>
                    <a:pt x="791012" y="257270"/>
                    <a:pt x="799082" y="265340"/>
                    <a:pt x="799082" y="275295"/>
                  </a:cubicBezTo>
                  <a:cubicBezTo>
                    <a:pt x="799082" y="285249"/>
                    <a:pt x="791012" y="293319"/>
                    <a:pt x="781057" y="293319"/>
                  </a:cubicBezTo>
                  <a:cubicBezTo>
                    <a:pt x="771103" y="293319"/>
                    <a:pt x="763033" y="285249"/>
                    <a:pt x="763033" y="275295"/>
                  </a:cubicBezTo>
                  <a:cubicBezTo>
                    <a:pt x="763033" y="265340"/>
                    <a:pt x="771103" y="257270"/>
                    <a:pt x="781057" y="257270"/>
                  </a:cubicBezTo>
                  <a:close/>
                  <a:moveTo>
                    <a:pt x="420569" y="257270"/>
                  </a:moveTo>
                  <a:cubicBezTo>
                    <a:pt x="430524" y="257270"/>
                    <a:pt x="438594" y="265340"/>
                    <a:pt x="438594" y="275295"/>
                  </a:cubicBezTo>
                  <a:cubicBezTo>
                    <a:pt x="438594" y="285249"/>
                    <a:pt x="430524" y="293319"/>
                    <a:pt x="420569" y="293319"/>
                  </a:cubicBezTo>
                  <a:cubicBezTo>
                    <a:pt x="410615" y="293319"/>
                    <a:pt x="402545" y="285249"/>
                    <a:pt x="402545" y="275295"/>
                  </a:cubicBezTo>
                  <a:cubicBezTo>
                    <a:pt x="402545" y="265340"/>
                    <a:pt x="410615" y="257270"/>
                    <a:pt x="420569" y="257270"/>
                  </a:cubicBezTo>
                  <a:close/>
                  <a:moveTo>
                    <a:pt x="5845915" y="245254"/>
                  </a:moveTo>
                  <a:cubicBezTo>
                    <a:pt x="5855870" y="245254"/>
                    <a:pt x="5863940" y="253324"/>
                    <a:pt x="5863940" y="263278"/>
                  </a:cubicBezTo>
                  <a:cubicBezTo>
                    <a:pt x="5863940" y="273233"/>
                    <a:pt x="5855870" y="281303"/>
                    <a:pt x="5845915" y="281303"/>
                  </a:cubicBezTo>
                  <a:cubicBezTo>
                    <a:pt x="5835961" y="281303"/>
                    <a:pt x="5827891" y="273233"/>
                    <a:pt x="5827891" y="263278"/>
                  </a:cubicBezTo>
                  <a:cubicBezTo>
                    <a:pt x="5827891" y="253324"/>
                    <a:pt x="5835961" y="245254"/>
                    <a:pt x="5845915" y="245254"/>
                  </a:cubicBezTo>
                  <a:close/>
                  <a:moveTo>
                    <a:pt x="4013434" y="245254"/>
                  </a:moveTo>
                  <a:cubicBezTo>
                    <a:pt x="4023389" y="245254"/>
                    <a:pt x="4031459" y="253324"/>
                    <a:pt x="4031459" y="263278"/>
                  </a:cubicBezTo>
                  <a:cubicBezTo>
                    <a:pt x="4031459" y="273233"/>
                    <a:pt x="4023389" y="281303"/>
                    <a:pt x="4013434" y="281303"/>
                  </a:cubicBezTo>
                  <a:cubicBezTo>
                    <a:pt x="4003480" y="281303"/>
                    <a:pt x="3995410" y="273233"/>
                    <a:pt x="3995410" y="263278"/>
                  </a:cubicBezTo>
                  <a:cubicBezTo>
                    <a:pt x="3995410" y="253324"/>
                    <a:pt x="4003480" y="245254"/>
                    <a:pt x="4013434" y="245254"/>
                  </a:cubicBezTo>
                  <a:close/>
                  <a:moveTo>
                    <a:pt x="2841847" y="245254"/>
                  </a:moveTo>
                  <a:cubicBezTo>
                    <a:pt x="2851802" y="245254"/>
                    <a:pt x="2859872" y="253324"/>
                    <a:pt x="2859872" y="263278"/>
                  </a:cubicBezTo>
                  <a:cubicBezTo>
                    <a:pt x="2859872" y="273233"/>
                    <a:pt x="2851802" y="281303"/>
                    <a:pt x="2841847" y="281303"/>
                  </a:cubicBezTo>
                  <a:cubicBezTo>
                    <a:pt x="2831893" y="281303"/>
                    <a:pt x="2823823" y="273233"/>
                    <a:pt x="2823823" y="263278"/>
                  </a:cubicBezTo>
                  <a:cubicBezTo>
                    <a:pt x="2823823" y="253324"/>
                    <a:pt x="2831893" y="245254"/>
                    <a:pt x="2841847" y="245254"/>
                  </a:cubicBezTo>
                  <a:close/>
                  <a:moveTo>
                    <a:pt x="2006717" y="245254"/>
                  </a:moveTo>
                  <a:cubicBezTo>
                    <a:pt x="2016671" y="245254"/>
                    <a:pt x="2024741" y="253324"/>
                    <a:pt x="2024741" y="263278"/>
                  </a:cubicBezTo>
                  <a:cubicBezTo>
                    <a:pt x="2024741" y="273233"/>
                    <a:pt x="2016671" y="281303"/>
                    <a:pt x="2006717" y="281303"/>
                  </a:cubicBezTo>
                  <a:cubicBezTo>
                    <a:pt x="1996762" y="281303"/>
                    <a:pt x="1988692" y="273233"/>
                    <a:pt x="1988692" y="263278"/>
                  </a:cubicBezTo>
                  <a:cubicBezTo>
                    <a:pt x="1988692" y="253324"/>
                    <a:pt x="1996762" y="245254"/>
                    <a:pt x="2006717" y="245254"/>
                  </a:cubicBezTo>
                  <a:close/>
                  <a:moveTo>
                    <a:pt x="1009366" y="245254"/>
                  </a:moveTo>
                  <a:cubicBezTo>
                    <a:pt x="1019321" y="245254"/>
                    <a:pt x="1027391" y="253324"/>
                    <a:pt x="1027391" y="263278"/>
                  </a:cubicBezTo>
                  <a:cubicBezTo>
                    <a:pt x="1027391" y="273233"/>
                    <a:pt x="1019321" y="281303"/>
                    <a:pt x="1009366" y="281303"/>
                  </a:cubicBezTo>
                  <a:cubicBezTo>
                    <a:pt x="999412" y="281303"/>
                    <a:pt x="991342" y="273233"/>
                    <a:pt x="991342" y="263278"/>
                  </a:cubicBezTo>
                  <a:cubicBezTo>
                    <a:pt x="991342" y="253324"/>
                    <a:pt x="999412" y="245254"/>
                    <a:pt x="1009366" y="245254"/>
                  </a:cubicBezTo>
                  <a:close/>
                  <a:moveTo>
                    <a:pt x="4337873" y="239246"/>
                  </a:moveTo>
                  <a:cubicBezTo>
                    <a:pt x="4347828" y="239246"/>
                    <a:pt x="4355898" y="247316"/>
                    <a:pt x="4355898" y="257270"/>
                  </a:cubicBezTo>
                  <a:cubicBezTo>
                    <a:pt x="4355898" y="267225"/>
                    <a:pt x="4347828" y="275295"/>
                    <a:pt x="4337873" y="275295"/>
                  </a:cubicBezTo>
                  <a:cubicBezTo>
                    <a:pt x="4327918" y="275295"/>
                    <a:pt x="4319848" y="267225"/>
                    <a:pt x="4319848" y="257270"/>
                  </a:cubicBezTo>
                  <a:cubicBezTo>
                    <a:pt x="4319848" y="247316"/>
                    <a:pt x="4327918" y="239246"/>
                    <a:pt x="4337873" y="239246"/>
                  </a:cubicBezTo>
                  <a:close/>
                  <a:moveTo>
                    <a:pt x="3310482" y="239246"/>
                  </a:moveTo>
                  <a:cubicBezTo>
                    <a:pt x="3320437" y="239246"/>
                    <a:pt x="3328507" y="247316"/>
                    <a:pt x="3328507" y="257270"/>
                  </a:cubicBezTo>
                  <a:cubicBezTo>
                    <a:pt x="3328507" y="267225"/>
                    <a:pt x="3320437" y="275295"/>
                    <a:pt x="3310482" y="275295"/>
                  </a:cubicBezTo>
                  <a:cubicBezTo>
                    <a:pt x="3300527" y="275295"/>
                    <a:pt x="3292458" y="267225"/>
                    <a:pt x="3292458" y="257270"/>
                  </a:cubicBezTo>
                  <a:cubicBezTo>
                    <a:pt x="3292458" y="247316"/>
                    <a:pt x="3300527" y="239246"/>
                    <a:pt x="3310482" y="239246"/>
                  </a:cubicBezTo>
                  <a:close/>
                  <a:moveTo>
                    <a:pt x="3418628" y="233238"/>
                  </a:moveTo>
                  <a:cubicBezTo>
                    <a:pt x="3428583" y="233238"/>
                    <a:pt x="3436653" y="241308"/>
                    <a:pt x="3436653" y="251262"/>
                  </a:cubicBezTo>
                  <a:cubicBezTo>
                    <a:pt x="3436653" y="261217"/>
                    <a:pt x="3428583" y="269287"/>
                    <a:pt x="3418628" y="269287"/>
                  </a:cubicBezTo>
                  <a:cubicBezTo>
                    <a:pt x="3408674" y="269287"/>
                    <a:pt x="3400604" y="261217"/>
                    <a:pt x="3400604" y="251262"/>
                  </a:cubicBezTo>
                  <a:cubicBezTo>
                    <a:pt x="3400604" y="241308"/>
                    <a:pt x="3408674" y="233238"/>
                    <a:pt x="3418628" y="233238"/>
                  </a:cubicBezTo>
                  <a:close/>
                  <a:moveTo>
                    <a:pt x="4836548" y="227230"/>
                  </a:moveTo>
                  <a:cubicBezTo>
                    <a:pt x="4846503" y="227230"/>
                    <a:pt x="4854573" y="235300"/>
                    <a:pt x="4854573" y="245255"/>
                  </a:cubicBezTo>
                  <a:cubicBezTo>
                    <a:pt x="4854573" y="255209"/>
                    <a:pt x="4846503" y="263279"/>
                    <a:pt x="4836548" y="263279"/>
                  </a:cubicBezTo>
                  <a:cubicBezTo>
                    <a:pt x="4826593" y="263279"/>
                    <a:pt x="4818524" y="255209"/>
                    <a:pt x="4818524" y="245255"/>
                  </a:cubicBezTo>
                  <a:cubicBezTo>
                    <a:pt x="4818524" y="235300"/>
                    <a:pt x="4826593" y="227230"/>
                    <a:pt x="4836548" y="227230"/>
                  </a:cubicBezTo>
                  <a:close/>
                  <a:moveTo>
                    <a:pt x="2949994" y="227230"/>
                  </a:moveTo>
                  <a:cubicBezTo>
                    <a:pt x="2959949" y="227230"/>
                    <a:pt x="2968019" y="235300"/>
                    <a:pt x="2968019" y="245255"/>
                  </a:cubicBezTo>
                  <a:cubicBezTo>
                    <a:pt x="2968019" y="255209"/>
                    <a:pt x="2959949" y="263279"/>
                    <a:pt x="2949994" y="263279"/>
                  </a:cubicBezTo>
                  <a:cubicBezTo>
                    <a:pt x="2940039" y="263279"/>
                    <a:pt x="2931970" y="255209"/>
                    <a:pt x="2931970" y="245255"/>
                  </a:cubicBezTo>
                  <a:cubicBezTo>
                    <a:pt x="2931970" y="235300"/>
                    <a:pt x="2940039" y="227230"/>
                    <a:pt x="2949994" y="227230"/>
                  </a:cubicBezTo>
                  <a:close/>
                  <a:moveTo>
                    <a:pt x="2727693" y="227230"/>
                  </a:moveTo>
                  <a:cubicBezTo>
                    <a:pt x="2737648" y="227230"/>
                    <a:pt x="2745718" y="235300"/>
                    <a:pt x="2745718" y="245255"/>
                  </a:cubicBezTo>
                  <a:cubicBezTo>
                    <a:pt x="2745718" y="255209"/>
                    <a:pt x="2737648" y="263279"/>
                    <a:pt x="2727693" y="263279"/>
                  </a:cubicBezTo>
                  <a:cubicBezTo>
                    <a:pt x="2717739" y="263279"/>
                    <a:pt x="2709669" y="255209"/>
                    <a:pt x="2709669" y="245255"/>
                  </a:cubicBezTo>
                  <a:cubicBezTo>
                    <a:pt x="2709669" y="235300"/>
                    <a:pt x="2717739" y="227230"/>
                    <a:pt x="2727693" y="227230"/>
                  </a:cubicBezTo>
                  <a:close/>
                  <a:moveTo>
                    <a:pt x="270365" y="227230"/>
                  </a:moveTo>
                  <a:cubicBezTo>
                    <a:pt x="280320" y="227230"/>
                    <a:pt x="288390" y="235300"/>
                    <a:pt x="288390" y="245255"/>
                  </a:cubicBezTo>
                  <a:cubicBezTo>
                    <a:pt x="288390" y="255209"/>
                    <a:pt x="280320" y="263279"/>
                    <a:pt x="270365" y="263279"/>
                  </a:cubicBezTo>
                  <a:cubicBezTo>
                    <a:pt x="260411" y="263279"/>
                    <a:pt x="252341" y="255209"/>
                    <a:pt x="252341" y="245255"/>
                  </a:cubicBezTo>
                  <a:cubicBezTo>
                    <a:pt x="252341" y="235300"/>
                    <a:pt x="260411" y="227230"/>
                    <a:pt x="270365" y="227230"/>
                  </a:cubicBezTo>
                  <a:close/>
                  <a:moveTo>
                    <a:pt x="3893271" y="221222"/>
                  </a:moveTo>
                  <a:cubicBezTo>
                    <a:pt x="3903226" y="221222"/>
                    <a:pt x="3911296" y="229291"/>
                    <a:pt x="3911296" y="239246"/>
                  </a:cubicBezTo>
                  <a:cubicBezTo>
                    <a:pt x="3911296" y="249201"/>
                    <a:pt x="3903226" y="257271"/>
                    <a:pt x="3893271" y="257271"/>
                  </a:cubicBezTo>
                  <a:cubicBezTo>
                    <a:pt x="3883317" y="257271"/>
                    <a:pt x="3875247" y="249201"/>
                    <a:pt x="3875247" y="239246"/>
                  </a:cubicBezTo>
                  <a:cubicBezTo>
                    <a:pt x="3875247" y="229291"/>
                    <a:pt x="3883317" y="221222"/>
                    <a:pt x="3893271" y="221222"/>
                  </a:cubicBezTo>
                  <a:close/>
                  <a:moveTo>
                    <a:pt x="1682277" y="221222"/>
                  </a:moveTo>
                  <a:cubicBezTo>
                    <a:pt x="1692232" y="221222"/>
                    <a:pt x="1700302" y="229291"/>
                    <a:pt x="1700302" y="239246"/>
                  </a:cubicBezTo>
                  <a:cubicBezTo>
                    <a:pt x="1700302" y="249201"/>
                    <a:pt x="1692232" y="257271"/>
                    <a:pt x="1682277" y="257271"/>
                  </a:cubicBezTo>
                  <a:cubicBezTo>
                    <a:pt x="1672323" y="257271"/>
                    <a:pt x="1664253" y="249201"/>
                    <a:pt x="1664253" y="239246"/>
                  </a:cubicBezTo>
                  <a:cubicBezTo>
                    <a:pt x="1664253" y="229291"/>
                    <a:pt x="1672323" y="221222"/>
                    <a:pt x="1682277" y="221222"/>
                  </a:cubicBezTo>
                  <a:close/>
                  <a:moveTo>
                    <a:pt x="4458036" y="215213"/>
                  </a:moveTo>
                  <a:cubicBezTo>
                    <a:pt x="4467991" y="215213"/>
                    <a:pt x="4476061" y="223283"/>
                    <a:pt x="4476061" y="233237"/>
                  </a:cubicBezTo>
                  <a:cubicBezTo>
                    <a:pt x="4476061" y="243192"/>
                    <a:pt x="4467991" y="251262"/>
                    <a:pt x="4458036" y="251262"/>
                  </a:cubicBezTo>
                  <a:cubicBezTo>
                    <a:pt x="4448081" y="251262"/>
                    <a:pt x="4440011" y="243192"/>
                    <a:pt x="4440011" y="233237"/>
                  </a:cubicBezTo>
                  <a:cubicBezTo>
                    <a:pt x="4440011" y="223283"/>
                    <a:pt x="4448081" y="215213"/>
                    <a:pt x="4458036" y="215213"/>
                  </a:cubicBezTo>
                  <a:close/>
                  <a:moveTo>
                    <a:pt x="3767100" y="215213"/>
                  </a:moveTo>
                  <a:cubicBezTo>
                    <a:pt x="3777055" y="215213"/>
                    <a:pt x="3785125" y="223283"/>
                    <a:pt x="3785125" y="233237"/>
                  </a:cubicBezTo>
                  <a:cubicBezTo>
                    <a:pt x="3785125" y="243192"/>
                    <a:pt x="3777055" y="251262"/>
                    <a:pt x="3767100" y="251262"/>
                  </a:cubicBezTo>
                  <a:cubicBezTo>
                    <a:pt x="3757145" y="251262"/>
                    <a:pt x="3749075" y="243192"/>
                    <a:pt x="3749075" y="233237"/>
                  </a:cubicBezTo>
                  <a:cubicBezTo>
                    <a:pt x="3749075" y="223283"/>
                    <a:pt x="3757145" y="215213"/>
                    <a:pt x="3767100" y="215213"/>
                  </a:cubicBezTo>
                  <a:close/>
                  <a:moveTo>
                    <a:pt x="6224427" y="209205"/>
                  </a:moveTo>
                  <a:cubicBezTo>
                    <a:pt x="6234382" y="209205"/>
                    <a:pt x="6242452" y="217275"/>
                    <a:pt x="6242452" y="227229"/>
                  </a:cubicBezTo>
                  <a:cubicBezTo>
                    <a:pt x="6242452" y="237184"/>
                    <a:pt x="6234382" y="245254"/>
                    <a:pt x="6224427" y="245254"/>
                  </a:cubicBezTo>
                  <a:cubicBezTo>
                    <a:pt x="6214472" y="245254"/>
                    <a:pt x="6206403" y="237184"/>
                    <a:pt x="6206403" y="227229"/>
                  </a:cubicBezTo>
                  <a:cubicBezTo>
                    <a:pt x="6206403" y="217275"/>
                    <a:pt x="6214472" y="209205"/>
                    <a:pt x="6224427" y="209205"/>
                  </a:cubicBezTo>
                  <a:close/>
                  <a:moveTo>
                    <a:pt x="1315782" y="209205"/>
                  </a:moveTo>
                  <a:cubicBezTo>
                    <a:pt x="1325736" y="209205"/>
                    <a:pt x="1333806" y="217275"/>
                    <a:pt x="1333806" y="227229"/>
                  </a:cubicBezTo>
                  <a:cubicBezTo>
                    <a:pt x="1333806" y="237184"/>
                    <a:pt x="1325736" y="245254"/>
                    <a:pt x="1315782" y="245254"/>
                  </a:cubicBezTo>
                  <a:cubicBezTo>
                    <a:pt x="1305827" y="245254"/>
                    <a:pt x="1297757" y="237184"/>
                    <a:pt x="1297757" y="227229"/>
                  </a:cubicBezTo>
                  <a:cubicBezTo>
                    <a:pt x="1297757" y="217275"/>
                    <a:pt x="1305827" y="209205"/>
                    <a:pt x="1315782" y="209205"/>
                  </a:cubicBezTo>
                  <a:close/>
                  <a:moveTo>
                    <a:pt x="5713736" y="203197"/>
                  </a:moveTo>
                  <a:cubicBezTo>
                    <a:pt x="5723691" y="203197"/>
                    <a:pt x="5731761" y="211267"/>
                    <a:pt x="5731761" y="221221"/>
                  </a:cubicBezTo>
                  <a:cubicBezTo>
                    <a:pt x="5731761" y="231176"/>
                    <a:pt x="5723691" y="239246"/>
                    <a:pt x="5713736" y="239246"/>
                  </a:cubicBezTo>
                  <a:cubicBezTo>
                    <a:pt x="5703781" y="239246"/>
                    <a:pt x="5695712" y="231176"/>
                    <a:pt x="5695712" y="221221"/>
                  </a:cubicBezTo>
                  <a:cubicBezTo>
                    <a:pt x="5695712" y="211267"/>
                    <a:pt x="5703781" y="203197"/>
                    <a:pt x="5713736" y="203197"/>
                  </a:cubicBezTo>
                  <a:close/>
                  <a:moveTo>
                    <a:pt x="1550098" y="203197"/>
                  </a:moveTo>
                  <a:cubicBezTo>
                    <a:pt x="1560053" y="203197"/>
                    <a:pt x="1568123" y="211267"/>
                    <a:pt x="1568123" y="221221"/>
                  </a:cubicBezTo>
                  <a:cubicBezTo>
                    <a:pt x="1568123" y="231176"/>
                    <a:pt x="1560053" y="239246"/>
                    <a:pt x="1550098" y="239246"/>
                  </a:cubicBezTo>
                  <a:cubicBezTo>
                    <a:pt x="1540144" y="239246"/>
                    <a:pt x="1532074" y="231176"/>
                    <a:pt x="1532074" y="221221"/>
                  </a:cubicBezTo>
                  <a:cubicBezTo>
                    <a:pt x="1532074" y="211267"/>
                    <a:pt x="1540144" y="203197"/>
                    <a:pt x="1550098" y="203197"/>
                  </a:cubicBezTo>
                  <a:close/>
                  <a:moveTo>
                    <a:pt x="5587565" y="197189"/>
                  </a:moveTo>
                  <a:cubicBezTo>
                    <a:pt x="5597520" y="197189"/>
                    <a:pt x="5605590" y="205259"/>
                    <a:pt x="5605590" y="215214"/>
                  </a:cubicBezTo>
                  <a:cubicBezTo>
                    <a:pt x="5605590" y="225168"/>
                    <a:pt x="5597520" y="233238"/>
                    <a:pt x="5587565" y="233238"/>
                  </a:cubicBezTo>
                  <a:cubicBezTo>
                    <a:pt x="5577610" y="233238"/>
                    <a:pt x="5569541" y="225168"/>
                    <a:pt x="5569541" y="215214"/>
                  </a:cubicBezTo>
                  <a:cubicBezTo>
                    <a:pt x="5569541" y="205259"/>
                    <a:pt x="5577610" y="197189"/>
                    <a:pt x="5587565" y="197189"/>
                  </a:cubicBezTo>
                  <a:close/>
                  <a:moveTo>
                    <a:pt x="4121580" y="197189"/>
                  </a:moveTo>
                  <a:cubicBezTo>
                    <a:pt x="4131535" y="197189"/>
                    <a:pt x="4139605" y="205259"/>
                    <a:pt x="4139605" y="215214"/>
                  </a:cubicBezTo>
                  <a:cubicBezTo>
                    <a:pt x="4139605" y="225168"/>
                    <a:pt x="4131535" y="233238"/>
                    <a:pt x="4121580" y="233238"/>
                  </a:cubicBezTo>
                  <a:cubicBezTo>
                    <a:pt x="4111625" y="233238"/>
                    <a:pt x="4103556" y="225168"/>
                    <a:pt x="4103556" y="215214"/>
                  </a:cubicBezTo>
                  <a:cubicBezTo>
                    <a:pt x="4103556" y="205259"/>
                    <a:pt x="4111625" y="197189"/>
                    <a:pt x="4121580" y="197189"/>
                  </a:cubicBezTo>
                  <a:close/>
                  <a:moveTo>
                    <a:pt x="3076164" y="197189"/>
                  </a:moveTo>
                  <a:cubicBezTo>
                    <a:pt x="3086119" y="197189"/>
                    <a:pt x="3094189" y="205259"/>
                    <a:pt x="3094189" y="215214"/>
                  </a:cubicBezTo>
                  <a:cubicBezTo>
                    <a:pt x="3094189" y="225168"/>
                    <a:pt x="3086119" y="233238"/>
                    <a:pt x="3076164" y="233238"/>
                  </a:cubicBezTo>
                  <a:cubicBezTo>
                    <a:pt x="3066209" y="233238"/>
                    <a:pt x="3058139" y="225168"/>
                    <a:pt x="3058139" y="215214"/>
                  </a:cubicBezTo>
                  <a:cubicBezTo>
                    <a:pt x="3058139" y="205259"/>
                    <a:pt x="3066209" y="197189"/>
                    <a:pt x="3076164" y="197189"/>
                  </a:cubicBezTo>
                  <a:close/>
                  <a:moveTo>
                    <a:pt x="5449378" y="191181"/>
                  </a:moveTo>
                  <a:cubicBezTo>
                    <a:pt x="5459333" y="191181"/>
                    <a:pt x="5467403" y="199250"/>
                    <a:pt x="5467403" y="209205"/>
                  </a:cubicBezTo>
                  <a:cubicBezTo>
                    <a:pt x="5467403" y="219160"/>
                    <a:pt x="5459333" y="227230"/>
                    <a:pt x="5449378" y="227230"/>
                  </a:cubicBezTo>
                  <a:cubicBezTo>
                    <a:pt x="5439423" y="227230"/>
                    <a:pt x="5431353" y="219160"/>
                    <a:pt x="5431353" y="209205"/>
                  </a:cubicBezTo>
                  <a:cubicBezTo>
                    <a:pt x="5431353" y="199250"/>
                    <a:pt x="5439423" y="191181"/>
                    <a:pt x="5449378" y="191181"/>
                  </a:cubicBezTo>
                  <a:close/>
                  <a:moveTo>
                    <a:pt x="2607530" y="191181"/>
                  </a:moveTo>
                  <a:cubicBezTo>
                    <a:pt x="2617485" y="191181"/>
                    <a:pt x="2625555" y="199250"/>
                    <a:pt x="2625555" y="209205"/>
                  </a:cubicBezTo>
                  <a:cubicBezTo>
                    <a:pt x="2625555" y="219160"/>
                    <a:pt x="2617485" y="227230"/>
                    <a:pt x="2607530" y="227230"/>
                  </a:cubicBezTo>
                  <a:cubicBezTo>
                    <a:pt x="2597576" y="227230"/>
                    <a:pt x="2589506" y="219160"/>
                    <a:pt x="2589506" y="209205"/>
                  </a:cubicBezTo>
                  <a:cubicBezTo>
                    <a:pt x="2589506" y="199250"/>
                    <a:pt x="2597576" y="191181"/>
                    <a:pt x="2607530" y="191181"/>
                  </a:cubicBezTo>
                  <a:close/>
                  <a:moveTo>
                    <a:pt x="30040" y="191181"/>
                  </a:moveTo>
                  <a:cubicBezTo>
                    <a:pt x="39995" y="191181"/>
                    <a:pt x="48065" y="199250"/>
                    <a:pt x="48065" y="209205"/>
                  </a:cubicBezTo>
                  <a:cubicBezTo>
                    <a:pt x="48065" y="219160"/>
                    <a:pt x="39995" y="227230"/>
                    <a:pt x="30040" y="227230"/>
                  </a:cubicBezTo>
                  <a:cubicBezTo>
                    <a:pt x="20086" y="227230"/>
                    <a:pt x="12016" y="219160"/>
                    <a:pt x="12016" y="209205"/>
                  </a:cubicBezTo>
                  <a:cubicBezTo>
                    <a:pt x="12016" y="199250"/>
                    <a:pt x="20086" y="191181"/>
                    <a:pt x="30040" y="191181"/>
                  </a:cubicBezTo>
                  <a:close/>
                  <a:moveTo>
                    <a:pt x="6368623" y="185173"/>
                  </a:moveTo>
                  <a:cubicBezTo>
                    <a:pt x="6378577" y="185173"/>
                    <a:pt x="6386648" y="193243"/>
                    <a:pt x="6386648" y="203197"/>
                  </a:cubicBezTo>
                  <a:cubicBezTo>
                    <a:pt x="6386648" y="213152"/>
                    <a:pt x="6378578" y="221222"/>
                    <a:pt x="6368623" y="221222"/>
                  </a:cubicBezTo>
                  <a:cubicBezTo>
                    <a:pt x="6358669" y="221222"/>
                    <a:pt x="6350599" y="213152"/>
                    <a:pt x="6350599" y="203197"/>
                  </a:cubicBezTo>
                  <a:cubicBezTo>
                    <a:pt x="6350599" y="193243"/>
                    <a:pt x="6358668" y="185173"/>
                    <a:pt x="6368623" y="185173"/>
                  </a:cubicBezTo>
                  <a:close/>
                  <a:moveTo>
                    <a:pt x="2379221" y="179165"/>
                  </a:moveTo>
                  <a:cubicBezTo>
                    <a:pt x="2389176" y="179165"/>
                    <a:pt x="2397246" y="187235"/>
                    <a:pt x="2397246" y="197189"/>
                  </a:cubicBezTo>
                  <a:cubicBezTo>
                    <a:pt x="2397246" y="207144"/>
                    <a:pt x="2389176" y="215214"/>
                    <a:pt x="2379221" y="215214"/>
                  </a:cubicBezTo>
                  <a:cubicBezTo>
                    <a:pt x="2369267" y="215214"/>
                    <a:pt x="2361197" y="207144"/>
                    <a:pt x="2361197" y="197189"/>
                  </a:cubicBezTo>
                  <a:cubicBezTo>
                    <a:pt x="2361197" y="187235"/>
                    <a:pt x="2369267" y="179165"/>
                    <a:pt x="2379221" y="179165"/>
                  </a:cubicBezTo>
                  <a:close/>
                  <a:moveTo>
                    <a:pt x="2253050" y="179165"/>
                  </a:moveTo>
                  <a:cubicBezTo>
                    <a:pt x="2263005" y="179165"/>
                    <a:pt x="2271075" y="187235"/>
                    <a:pt x="2271075" y="197189"/>
                  </a:cubicBezTo>
                  <a:cubicBezTo>
                    <a:pt x="2271075" y="207144"/>
                    <a:pt x="2263005" y="215214"/>
                    <a:pt x="2253050" y="215214"/>
                  </a:cubicBezTo>
                  <a:cubicBezTo>
                    <a:pt x="2243096" y="215214"/>
                    <a:pt x="2235026" y="207144"/>
                    <a:pt x="2235026" y="197189"/>
                  </a:cubicBezTo>
                  <a:cubicBezTo>
                    <a:pt x="2235026" y="187235"/>
                    <a:pt x="2243096" y="179165"/>
                    <a:pt x="2253050" y="179165"/>
                  </a:cubicBezTo>
                  <a:close/>
                  <a:moveTo>
                    <a:pt x="624846" y="179165"/>
                  </a:moveTo>
                  <a:cubicBezTo>
                    <a:pt x="634800" y="179165"/>
                    <a:pt x="642870" y="187235"/>
                    <a:pt x="642870" y="197189"/>
                  </a:cubicBezTo>
                  <a:cubicBezTo>
                    <a:pt x="642870" y="207144"/>
                    <a:pt x="634800" y="215214"/>
                    <a:pt x="624846" y="215214"/>
                  </a:cubicBezTo>
                  <a:cubicBezTo>
                    <a:pt x="614891" y="215214"/>
                    <a:pt x="606821" y="207144"/>
                    <a:pt x="606821" y="197189"/>
                  </a:cubicBezTo>
                  <a:cubicBezTo>
                    <a:pt x="606821" y="187235"/>
                    <a:pt x="614891" y="179165"/>
                    <a:pt x="624846" y="179165"/>
                  </a:cubicBezTo>
                  <a:close/>
                  <a:moveTo>
                    <a:pt x="6116281" y="167148"/>
                  </a:moveTo>
                  <a:cubicBezTo>
                    <a:pt x="6126236" y="167148"/>
                    <a:pt x="6134306" y="175218"/>
                    <a:pt x="6134306" y="185173"/>
                  </a:cubicBezTo>
                  <a:cubicBezTo>
                    <a:pt x="6134306" y="195127"/>
                    <a:pt x="6126236" y="203197"/>
                    <a:pt x="6116281" y="203197"/>
                  </a:cubicBezTo>
                  <a:cubicBezTo>
                    <a:pt x="6106327" y="203197"/>
                    <a:pt x="6098257" y="195127"/>
                    <a:pt x="6098257" y="185173"/>
                  </a:cubicBezTo>
                  <a:cubicBezTo>
                    <a:pt x="6098257" y="175218"/>
                    <a:pt x="6106327" y="167148"/>
                    <a:pt x="6116281" y="167148"/>
                  </a:cubicBezTo>
                  <a:close/>
                  <a:moveTo>
                    <a:pt x="5311191" y="167148"/>
                  </a:moveTo>
                  <a:cubicBezTo>
                    <a:pt x="5321146" y="167148"/>
                    <a:pt x="5329216" y="175218"/>
                    <a:pt x="5329216" y="185173"/>
                  </a:cubicBezTo>
                  <a:cubicBezTo>
                    <a:pt x="5329216" y="195127"/>
                    <a:pt x="5321146" y="203197"/>
                    <a:pt x="5311191" y="203197"/>
                  </a:cubicBezTo>
                  <a:cubicBezTo>
                    <a:pt x="5301237" y="203197"/>
                    <a:pt x="5293167" y="195127"/>
                    <a:pt x="5293167" y="185173"/>
                  </a:cubicBezTo>
                  <a:cubicBezTo>
                    <a:pt x="5293167" y="175218"/>
                    <a:pt x="5301237" y="167148"/>
                    <a:pt x="5311191" y="167148"/>
                  </a:cubicBezTo>
                  <a:close/>
                  <a:moveTo>
                    <a:pt x="3508750" y="167148"/>
                  </a:moveTo>
                  <a:cubicBezTo>
                    <a:pt x="3518705" y="167148"/>
                    <a:pt x="3526775" y="175218"/>
                    <a:pt x="3526775" y="185173"/>
                  </a:cubicBezTo>
                  <a:cubicBezTo>
                    <a:pt x="3526775" y="195127"/>
                    <a:pt x="3518705" y="203197"/>
                    <a:pt x="3508750" y="203197"/>
                  </a:cubicBezTo>
                  <a:cubicBezTo>
                    <a:pt x="3498796" y="203197"/>
                    <a:pt x="3490726" y="195127"/>
                    <a:pt x="3490726" y="185173"/>
                  </a:cubicBezTo>
                  <a:cubicBezTo>
                    <a:pt x="3490726" y="175218"/>
                    <a:pt x="3498796" y="167148"/>
                    <a:pt x="3508750" y="167148"/>
                  </a:cubicBezTo>
                  <a:close/>
                  <a:moveTo>
                    <a:pt x="1820464" y="167148"/>
                  </a:moveTo>
                  <a:cubicBezTo>
                    <a:pt x="1830419" y="167148"/>
                    <a:pt x="1838489" y="175218"/>
                    <a:pt x="1838489" y="185173"/>
                  </a:cubicBezTo>
                  <a:cubicBezTo>
                    <a:pt x="1838489" y="195127"/>
                    <a:pt x="1830419" y="203197"/>
                    <a:pt x="1820464" y="203197"/>
                  </a:cubicBezTo>
                  <a:cubicBezTo>
                    <a:pt x="1810510" y="203197"/>
                    <a:pt x="1802440" y="195127"/>
                    <a:pt x="1802440" y="185173"/>
                  </a:cubicBezTo>
                  <a:cubicBezTo>
                    <a:pt x="1802440" y="175218"/>
                    <a:pt x="1810510" y="167148"/>
                    <a:pt x="1820464" y="167148"/>
                  </a:cubicBezTo>
                  <a:close/>
                  <a:moveTo>
                    <a:pt x="1423927" y="167148"/>
                  </a:moveTo>
                  <a:cubicBezTo>
                    <a:pt x="1433882" y="167148"/>
                    <a:pt x="1441952" y="175218"/>
                    <a:pt x="1441952" y="185173"/>
                  </a:cubicBezTo>
                  <a:cubicBezTo>
                    <a:pt x="1441952" y="195127"/>
                    <a:pt x="1433882" y="203197"/>
                    <a:pt x="1423927" y="203197"/>
                  </a:cubicBezTo>
                  <a:cubicBezTo>
                    <a:pt x="1413973" y="203197"/>
                    <a:pt x="1405903" y="195127"/>
                    <a:pt x="1405903" y="185173"/>
                  </a:cubicBezTo>
                  <a:cubicBezTo>
                    <a:pt x="1405903" y="175218"/>
                    <a:pt x="1413973" y="167148"/>
                    <a:pt x="1423927" y="167148"/>
                  </a:cubicBezTo>
                  <a:close/>
                  <a:moveTo>
                    <a:pt x="5100906" y="161140"/>
                  </a:moveTo>
                  <a:cubicBezTo>
                    <a:pt x="5110861" y="161140"/>
                    <a:pt x="5118931" y="169209"/>
                    <a:pt x="5118931" y="179164"/>
                  </a:cubicBezTo>
                  <a:cubicBezTo>
                    <a:pt x="5118931" y="189119"/>
                    <a:pt x="5110861" y="197189"/>
                    <a:pt x="5100906" y="197189"/>
                  </a:cubicBezTo>
                  <a:cubicBezTo>
                    <a:pt x="5090952" y="197189"/>
                    <a:pt x="5082882" y="189119"/>
                    <a:pt x="5082882" y="179164"/>
                  </a:cubicBezTo>
                  <a:cubicBezTo>
                    <a:pt x="5082882" y="169209"/>
                    <a:pt x="5090952" y="161140"/>
                    <a:pt x="5100906" y="161140"/>
                  </a:cubicBezTo>
                  <a:close/>
                  <a:moveTo>
                    <a:pt x="1189610" y="161140"/>
                  </a:moveTo>
                  <a:cubicBezTo>
                    <a:pt x="1199565" y="161140"/>
                    <a:pt x="1207635" y="169209"/>
                    <a:pt x="1207635" y="179164"/>
                  </a:cubicBezTo>
                  <a:cubicBezTo>
                    <a:pt x="1207635" y="189119"/>
                    <a:pt x="1199565" y="197189"/>
                    <a:pt x="1189610" y="197189"/>
                  </a:cubicBezTo>
                  <a:cubicBezTo>
                    <a:pt x="1179656" y="197189"/>
                    <a:pt x="1171586" y="189119"/>
                    <a:pt x="1171586" y="179164"/>
                  </a:cubicBezTo>
                  <a:cubicBezTo>
                    <a:pt x="1171586" y="169209"/>
                    <a:pt x="1179656" y="161140"/>
                    <a:pt x="1189610" y="161140"/>
                  </a:cubicBezTo>
                  <a:close/>
                  <a:moveTo>
                    <a:pt x="492666" y="161140"/>
                  </a:moveTo>
                  <a:cubicBezTo>
                    <a:pt x="502621" y="161140"/>
                    <a:pt x="510691" y="169209"/>
                    <a:pt x="510691" y="179164"/>
                  </a:cubicBezTo>
                  <a:cubicBezTo>
                    <a:pt x="510691" y="189119"/>
                    <a:pt x="502621" y="197189"/>
                    <a:pt x="492666" y="197189"/>
                  </a:cubicBezTo>
                  <a:cubicBezTo>
                    <a:pt x="482712" y="197189"/>
                    <a:pt x="474642" y="189119"/>
                    <a:pt x="474642" y="179164"/>
                  </a:cubicBezTo>
                  <a:cubicBezTo>
                    <a:pt x="474642" y="169209"/>
                    <a:pt x="482712" y="161140"/>
                    <a:pt x="492666" y="161140"/>
                  </a:cubicBezTo>
                  <a:close/>
                  <a:moveTo>
                    <a:pt x="132178" y="161140"/>
                  </a:moveTo>
                  <a:cubicBezTo>
                    <a:pt x="142133" y="161140"/>
                    <a:pt x="150203" y="169209"/>
                    <a:pt x="150203" y="179164"/>
                  </a:cubicBezTo>
                  <a:cubicBezTo>
                    <a:pt x="150203" y="189119"/>
                    <a:pt x="142133" y="197189"/>
                    <a:pt x="132178" y="197189"/>
                  </a:cubicBezTo>
                  <a:cubicBezTo>
                    <a:pt x="122224" y="197189"/>
                    <a:pt x="114154" y="189119"/>
                    <a:pt x="114154" y="179164"/>
                  </a:cubicBezTo>
                  <a:cubicBezTo>
                    <a:pt x="114154" y="169209"/>
                    <a:pt x="122224" y="161140"/>
                    <a:pt x="132178" y="161140"/>
                  </a:cubicBezTo>
                  <a:close/>
                  <a:moveTo>
                    <a:pt x="4968727" y="155132"/>
                  </a:moveTo>
                  <a:cubicBezTo>
                    <a:pt x="4978682" y="155132"/>
                    <a:pt x="4986752" y="163202"/>
                    <a:pt x="4986752" y="173156"/>
                  </a:cubicBezTo>
                  <a:cubicBezTo>
                    <a:pt x="4986752" y="183111"/>
                    <a:pt x="4978682" y="191181"/>
                    <a:pt x="4968727" y="191181"/>
                  </a:cubicBezTo>
                  <a:cubicBezTo>
                    <a:pt x="4958772" y="191181"/>
                    <a:pt x="4950702" y="183111"/>
                    <a:pt x="4950702" y="173156"/>
                  </a:cubicBezTo>
                  <a:cubicBezTo>
                    <a:pt x="4950702" y="163202"/>
                    <a:pt x="4958772" y="155132"/>
                    <a:pt x="4968727" y="155132"/>
                  </a:cubicBezTo>
                  <a:close/>
                  <a:moveTo>
                    <a:pt x="3634921" y="155132"/>
                  </a:moveTo>
                  <a:cubicBezTo>
                    <a:pt x="3644876" y="155132"/>
                    <a:pt x="3652946" y="163202"/>
                    <a:pt x="3652946" y="173156"/>
                  </a:cubicBezTo>
                  <a:cubicBezTo>
                    <a:pt x="3652946" y="183111"/>
                    <a:pt x="3644876" y="191181"/>
                    <a:pt x="3634921" y="191181"/>
                  </a:cubicBezTo>
                  <a:cubicBezTo>
                    <a:pt x="3624966" y="191181"/>
                    <a:pt x="3616897" y="183111"/>
                    <a:pt x="3616897" y="173156"/>
                  </a:cubicBezTo>
                  <a:cubicBezTo>
                    <a:pt x="3616897" y="163202"/>
                    <a:pt x="3624966" y="155132"/>
                    <a:pt x="3634921" y="155132"/>
                  </a:cubicBezTo>
                  <a:close/>
                  <a:moveTo>
                    <a:pt x="2493375" y="155132"/>
                  </a:moveTo>
                  <a:cubicBezTo>
                    <a:pt x="2503330" y="155132"/>
                    <a:pt x="2511400" y="163202"/>
                    <a:pt x="2511400" y="173156"/>
                  </a:cubicBezTo>
                  <a:cubicBezTo>
                    <a:pt x="2511400" y="183111"/>
                    <a:pt x="2503330" y="191181"/>
                    <a:pt x="2493375" y="191181"/>
                  </a:cubicBezTo>
                  <a:cubicBezTo>
                    <a:pt x="2483420" y="191181"/>
                    <a:pt x="2475351" y="183111"/>
                    <a:pt x="2475351" y="173156"/>
                  </a:cubicBezTo>
                  <a:cubicBezTo>
                    <a:pt x="2475351" y="163202"/>
                    <a:pt x="2483420" y="155132"/>
                    <a:pt x="2493375" y="155132"/>
                  </a:cubicBezTo>
                  <a:close/>
                  <a:moveTo>
                    <a:pt x="1922603" y="155132"/>
                  </a:moveTo>
                  <a:cubicBezTo>
                    <a:pt x="1932558" y="155132"/>
                    <a:pt x="1940628" y="163202"/>
                    <a:pt x="1940628" y="173156"/>
                  </a:cubicBezTo>
                  <a:cubicBezTo>
                    <a:pt x="1940628" y="183111"/>
                    <a:pt x="1932558" y="191181"/>
                    <a:pt x="1922603" y="191181"/>
                  </a:cubicBezTo>
                  <a:cubicBezTo>
                    <a:pt x="1912649" y="191181"/>
                    <a:pt x="1904579" y="183111"/>
                    <a:pt x="1904579" y="173156"/>
                  </a:cubicBezTo>
                  <a:cubicBezTo>
                    <a:pt x="1904579" y="163202"/>
                    <a:pt x="1912649" y="155132"/>
                    <a:pt x="1922603" y="155132"/>
                  </a:cubicBezTo>
                  <a:close/>
                  <a:moveTo>
                    <a:pt x="919244" y="155132"/>
                  </a:moveTo>
                  <a:cubicBezTo>
                    <a:pt x="929199" y="155132"/>
                    <a:pt x="937269" y="163202"/>
                    <a:pt x="937269" y="173156"/>
                  </a:cubicBezTo>
                  <a:cubicBezTo>
                    <a:pt x="937269" y="183111"/>
                    <a:pt x="929199" y="191181"/>
                    <a:pt x="919244" y="191181"/>
                  </a:cubicBezTo>
                  <a:cubicBezTo>
                    <a:pt x="909290" y="191181"/>
                    <a:pt x="901220" y="183111"/>
                    <a:pt x="901220" y="173156"/>
                  </a:cubicBezTo>
                  <a:cubicBezTo>
                    <a:pt x="901220" y="163202"/>
                    <a:pt x="909290" y="155132"/>
                    <a:pt x="919244" y="155132"/>
                  </a:cubicBezTo>
                  <a:close/>
                  <a:moveTo>
                    <a:pt x="5905996" y="149124"/>
                  </a:moveTo>
                  <a:cubicBezTo>
                    <a:pt x="5915951" y="149124"/>
                    <a:pt x="5924021" y="157194"/>
                    <a:pt x="5924021" y="167148"/>
                  </a:cubicBezTo>
                  <a:cubicBezTo>
                    <a:pt x="5924021" y="177103"/>
                    <a:pt x="5915951" y="185173"/>
                    <a:pt x="5905996" y="185173"/>
                  </a:cubicBezTo>
                  <a:cubicBezTo>
                    <a:pt x="5896042" y="185173"/>
                    <a:pt x="5887972" y="177103"/>
                    <a:pt x="5887972" y="167148"/>
                  </a:cubicBezTo>
                  <a:cubicBezTo>
                    <a:pt x="5887972" y="157194"/>
                    <a:pt x="5896042" y="149124"/>
                    <a:pt x="5905996" y="149124"/>
                  </a:cubicBezTo>
                  <a:close/>
                  <a:moveTo>
                    <a:pt x="4644288" y="149124"/>
                  </a:moveTo>
                  <a:cubicBezTo>
                    <a:pt x="4654243" y="149124"/>
                    <a:pt x="4662313" y="157194"/>
                    <a:pt x="4662313" y="167148"/>
                  </a:cubicBezTo>
                  <a:cubicBezTo>
                    <a:pt x="4662313" y="177103"/>
                    <a:pt x="4654243" y="185173"/>
                    <a:pt x="4644288" y="185173"/>
                  </a:cubicBezTo>
                  <a:cubicBezTo>
                    <a:pt x="4634334" y="185173"/>
                    <a:pt x="4626264" y="177103"/>
                    <a:pt x="4626264" y="167148"/>
                  </a:cubicBezTo>
                  <a:cubicBezTo>
                    <a:pt x="4626264" y="157194"/>
                    <a:pt x="4634334" y="149124"/>
                    <a:pt x="4644288" y="149124"/>
                  </a:cubicBezTo>
                  <a:close/>
                  <a:moveTo>
                    <a:pt x="2126880" y="149124"/>
                  </a:moveTo>
                  <a:cubicBezTo>
                    <a:pt x="2136834" y="149124"/>
                    <a:pt x="2144904" y="157194"/>
                    <a:pt x="2144904" y="167148"/>
                  </a:cubicBezTo>
                  <a:cubicBezTo>
                    <a:pt x="2144904" y="177103"/>
                    <a:pt x="2136834" y="185173"/>
                    <a:pt x="2126880" y="185173"/>
                  </a:cubicBezTo>
                  <a:cubicBezTo>
                    <a:pt x="2116925" y="185173"/>
                    <a:pt x="2108855" y="177103"/>
                    <a:pt x="2108855" y="167148"/>
                  </a:cubicBezTo>
                  <a:cubicBezTo>
                    <a:pt x="2108855" y="157194"/>
                    <a:pt x="2116925" y="149124"/>
                    <a:pt x="2126880" y="149124"/>
                  </a:cubicBezTo>
                  <a:close/>
                  <a:moveTo>
                    <a:pt x="799081" y="149124"/>
                  </a:moveTo>
                  <a:cubicBezTo>
                    <a:pt x="809036" y="149124"/>
                    <a:pt x="817106" y="157194"/>
                    <a:pt x="817106" y="167148"/>
                  </a:cubicBezTo>
                  <a:cubicBezTo>
                    <a:pt x="817106" y="177103"/>
                    <a:pt x="809036" y="185173"/>
                    <a:pt x="799081" y="185173"/>
                  </a:cubicBezTo>
                  <a:cubicBezTo>
                    <a:pt x="789127" y="185173"/>
                    <a:pt x="781057" y="177103"/>
                    <a:pt x="781057" y="167148"/>
                  </a:cubicBezTo>
                  <a:cubicBezTo>
                    <a:pt x="781057" y="157194"/>
                    <a:pt x="789127" y="149124"/>
                    <a:pt x="799081" y="149124"/>
                  </a:cubicBezTo>
                  <a:close/>
                  <a:moveTo>
                    <a:pt x="366495" y="149124"/>
                  </a:moveTo>
                  <a:cubicBezTo>
                    <a:pt x="376450" y="149124"/>
                    <a:pt x="384520" y="157194"/>
                    <a:pt x="384520" y="167148"/>
                  </a:cubicBezTo>
                  <a:cubicBezTo>
                    <a:pt x="384520" y="177103"/>
                    <a:pt x="376450" y="185173"/>
                    <a:pt x="366495" y="185173"/>
                  </a:cubicBezTo>
                  <a:cubicBezTo>
                    <a:pt x="356541" y="185173"/>
                    <a:pt x="348471" y="177103"/>
                    <a:pt x="348471" y="167148"/>
                  </a:cubicBezTo>
                  <a:cubicBezTo>
                    <a:pt x="348471" y="157194"/>
                    <a:pt x="356541" y="149124"/>
                    <a:pt x="366495" y="149124"/>
                  </a:cubicBezTo>
                  <a:close/>
                  <a:moveTo>
                    <a:pt x="4758442" y="143116"/>
                  </a:moveTo>
                  <a:cubicBezTo>
                    <a:pt x="4768397" y="143116"/>
                    <a:pt x="4776467" y="151186"/>
                    <a:pt x="4776467" y="161140"/>
                  </a:cubicBezTo>
                  <a:cubicBezTo>
                    <a:pt x="4776467" y="171095"/>
                    <a:pt x="4768397" y="179165"/>
                    <a:pt x="4758442" y="179165"/>
                  </a:cubicBezTo>
                  <a:cubicBezTo>
                    <a:pt x="4748487" y="179165"/>
                    <a:pt x="4740417" y="171095"/>
                    <a:pt x="4740417" y="161140"/>
                  </a:cubicBezTo>
                  <a:cubicBezTo>
                    <a:pt x="4740417" y="151186"/>
                    <a:pt x="4748487" y="143116"/>
                    <a:pt x="4758442" y="143116"/>
                  </a:cubicBezTo>
                  <a:close/>
                  <a:moveTo>
                    <a:pt x="3226368" y="143116"/>
                  </a:moveTo>
                  <a:cubicBezTo>
                    <a:pt x="3236323" y="143116"/>
                    <a:pt x="3244393" y="151186"/>
                    <a:pt x="3244393" y="161140"/>
                  </a:cubicBezTo>
                  <a:cubicBezTo>
                    <a:pt x="3244393" y="171095"/>
                    <a:pt x="3236323" y="179165"/>
                    <a:pt x="3226368" y="179165"/>
                  </a:cubicBezTo>
                  <a:cubicBezTo>
                    <a:pt x="3216413" y="179165"/>
                    <a:pt x="3208343" y="171095"/>
                    <a:pt x="3208343" y="161140"/>
                  </a:cubicBezTo>
                  <a:cubicBezTo>
                    <a:pt x="3208343" y="151186"/>
                    <a:pt x="3216413" y="143116"/>
                    <a:pt x="3226368" y="143116"/>
                  </a:cubicBezTo>
                  <a:close/>
                  <a:moveTo>
                    <a:pt x="4235735" y="131100"/>
                  </a:moveTo>
                  <a:cubicBezTo>
                    <a:pt x="4245690" y="131100"/>
                    <a:pt x="4253760" y="139169"/>
                    <a:pt x="4253760" y="149124"/>
                  </a:cubicBezTo>
                  <a:cubicBezTo>
                    <a:pt x="4253760" y="159079"/>
                    <a:pt x="4245690" y="167149"/>
                    <a:pt x="4235735" y="167149"/>
                  </a:cubicBezTo>
                  <a:cubicBezTo>
                    <a:pt x="4225780" y="167149"/>
                    <a:pt x="4217711" y="159079"/>
                    <a:pt x="4217711" y="149124"/>
                  </a:cubicBezTo>
                  <a:cubicBezTo>
                    <a:pt x="4217711" y="139169"/>
                    <a:pt x="4225780" y="131100"/>
                    <a:pt x="4235735" y="131100"/>
                  </a:cubicBezTo>
                  <a:close/>
                  <a:moveTo>
                    <a:pt x="1057431" y="131100"/>
                  </a:moveTo>
                  <a:cubicBezTo>
                    <a:pt x="1067386" y="131100"/>
                    <a:pt x="1075456" y="139169"/>
                    <a:pt x="1075456" y="149124"/>
                  </a:cubicBezTo>
                  <a:cubicBezTo>
                    <a:pt x="1075456" y="159079"/>
                    <a:pt x="1067386" y="167149"/>
                    <a:pt x="1057431" y="167149"/>
                  </a:cubicBezTo>
                  <a:cubicBezTo>
                    <a:pt x="1047477" y="167149"/>
                    <a:pt x="1039407" y="159079"/>
                    <a:pt x="1039407" y="149124"/>
                  </a:cubicBezTo>
                  <a:cubicBezTo>
                    <a:pt x="1039407" y="139169"/>
                    <a:pt x="1047477" y="131100"/>
                    <a:pt x="1057431" y="131100"/>
                  </a:cubicBezTo>
                  <a:close/>
                  <a:moveTo>
                    <a:pt x="4536141" y="119083"/>
                  </a:moveTo>
                  <a:cubicBezTo>
                    <a:pt x="4546096" y="119083"/>
                    <a:pt x="4554166" y="127153"/>
                    <a:pt x="4554166" y="137107"/>
                  </a:cubicBezTo>
                  <a:cubicBezTo>
                    <a:pt x="4554166" y="147062"/>
                    <a:pt x="4546096" y="155132"/>
                    <a:pt x="4536141" y="155132"/>
                  </a:cubicBezTo>
                  <a:cubicBezTo>
                    <a:pt x="4526186" y="155132"/>
                    <a:pt x="4518117" y="147062"/>
                    <a:pt x="4518117" y="137107"/>
                  </a:cubicBezTo>
                  <a:cubicBezTo>
                    <a:pt x="4518117" y="127153"/>
                    <a:pt x="4526186" y="119083"/>
                    <a:pt x="4536141" y="119083"/>
                  </a:cubicBezTo>
                  <a:close/>
                  <a:moveTo>
                    <a:pt x="4361905" y="119083"/>
                  </a:moveTo>
                  <a:cubicBezTo>
                    <a:pt x="4371860" y="119083"/>
                    <a:pt x="4379930" y="127153"/>
                    <a:pt x="4379930" y="137107"/>
                  </a:cubicBezTo>
                  <a:cubicBezTo>
                    <a:pt x="4379930" y="147062"/>
                    <a:pt x="4371860" y="155132"/>
                    <a:pt x="4361905" y="155132"/>
                  </a:cubicBezTo>
                  <a:cubicBezTo>
                    <a:pt x="4351950" y="155132"/>
                    <a:pt x="4343881" y="147062"/>
                    <a:pt x="4343881" y="137107"/>
                  </a:cubicBezTo>
                  <a:cubicBezTo>
                    <a:pt x="4343881" y="127153"/>
                    <a:pt x="4351950" y="119083"/>
                    <a:pt x="4361905" y="119083"/>
                  </a:cubicBezTo>
                  <a:close/>
                  <a:moveTo>
                    <a:pt x="6020151" y="113075"/>
                  </a:moveTo>
                  <a:cubicBezTo>
                    <a:pt x="6030106" y="113075"/>
                    <a:pt x="6038176" y="121145"/>
                    <a:pt x="6038176" y="131099"/>
                  </a:cubicBezTo>
                  <a:cubicBezTo>
                    <a:pt x="6038176" y="141054"/>
                    <a:pt x="6030106" y="149124"/>
                    <a:pt x="6020151" y="149124"/>
                  </a:cubicBezTo>
                  <a:cubicBezTo>
                    <a:pt x="6010196" y="149124"/>
                    <a:pt x="6002126" y="141054"/>
                    <a:pt x="6002126" y="131099"/>
                  </a:cubicBezTo>
                  <a:cubicBezTo>
                    <a:pt x="6002126" y="121145"/>
                    <a:pt x="6010196" y="113075"/>
                    <a:pt x="6020151" y="113075"/>
                  </a:cubicBezTo>
                  <a:close/>
                  <a:moveTo>
                    <a:pt x="5209053" y="113075"/>
                  </a:moveTo>
                  <a:cubicBezTo>
                    <a:pt x="5219008" y="113075"/>
                    <a:pt x="5227078" y="121145"/>
                    <a:pt x="5227078" y="131099"/>
                  </a:cubicBezTo>
                  <a:cubicBezTo>
                    <a:pt x="5227078" y="141054"/>
                    <a:pt x="5219008" y="149124"/>
                    <a:pt x="5209053" y="149124"/>
                  </a:cubicBezTo>
                  <a:cubicBezTo>
                    <a:pt x="5199098" y="149124"/>
                    <a:pt x="5191028" y="141054"/>
                    <a:pt x="5191028" y="131099"/>
                  </a:cubicBezTo>
                  <a:cubicBezTo>
                    <a:pt x="5191028" y="121145"/>
                    <a:pt x="5199098" y="113075"/>
                    <a:pt x="5209053" y="113075"/>
                  </a:cubicBezTo>
                  <a:close/>
                  <a:moveTo>
                    <a:pt x="2865880" y="113075"/>
                  </a:moveTo>
                  <a:cubicBezTo>
                    <a:pt x="2875835" y="113075"/>
                    <a:pt x="2883905" y="121145"/>
                    <a:pt x="2883905" y="131099"/>
                  </a:cubicBezTo>
                  <a:cubicBezTo>
                    <a:pt x="2883905" y="141054"/>
                    <a:pt x="2875835" y="149124"/>
                    <a:pt x="2865880" y="149124"/>
                  </a:cubicBezTo>
                  <a:cubicBezTo>
                    <a:pt x="2855925" y="149124"/>
                    <a:pt x="2847855" y="141054"/>
                    <a:pt x="2847855" y="131099"/>
                  </a:cubicBezTo>
                  <a:cubicBezTo>
                    <a:pt x="2847855" y="121145"/>
                    <a:pt x="2855925" y="113075"/>
                    <a:pt x="2865880" y="113075"/>
                  </a:cubicBezTo>
                  <a:close/>
                  <a:moveTo>
                    <a:pt x="2751725" y="113075"/>
                  </a:moveTo>
                  <a:cubicBezTo>
                    <a:pt x="2761680" y="113075"/>
                    <a:pt x="2769750" y="121145"/>
                    <a:pt x="2769750" y="131099"/>
                  </a:cubicBezTo>
                  <a:cubicBezTo>
                    <a:pt x="2769750" y="141054"/>
                    <a:pt x="2761680" y="149124"/>
                    <a:pt x="2751725" y="149124"/>
                  </a:cubicBezTo>
                  <a:cubicBezTo>
                    <a:pt x="2741771" y="149124"/>
                    <a:pt x="2733701" y="141054"/>
                    <a:pt x="2733701" y="131099"/>
                  </a:cubicBezTo>
                  <a:cubicBezTo>
                    <a:pt x="2733701" y="121145"/>
                    <a:pt x="2741771" y="113075"/>
                    <a:pt x="2751725" y="113075"/>
                  </a:cubicBezTo>
                  <a:close/>
                  <a:moveTo>
                    <a:pt x="5797850" y="107067"/>
                  </a:moveTo>
                  <a:cubicBezTo>
                    <a:pt x="5807805" y="107067"/>
                    <a:pt x="5815875" y="115137"/>
                    <a:pt x="5815875" y="125092"/>
                  </a:cubicBezTo>
                  <a:cubicBezTo>
                    <a:pt x="5815875" y="135046"/>
                    <a:pt x="5807805" y="143116"/>
                    <a:pt x="5797850" y="143116"/>
                  </a:cubicBezTo>
                  <a:cubicBezTo>
                    <a:pt x="5787895" y="143116"/>
                    <a:pt x="5779826" y="135046"/>
                    <a:pt x="5779826" y="125092"/>
                  </a:cubicBezTo>
                  <a:cubicBezTo>
                    <a:pt x="5779826" y="115137"/>
                    <a:pt x="5787895" y="107067"/>
                    <a:pt x="5797850" y="107067"/>
                  </a:cubicBezTo>
                  <a:close/>
                  <a:moveTo>
                    <a:pt x="4055491" y="107067"/>
                  </a:moveTo>
                  <a:cubicBezTo>
                    <a:pt x="4065446" y="107067"/>
                    <a:pt x="4073516" y="115137"/>
                    <a:pt x="4073516" y="125092"/>
                  </a:cubicBezTo>
                  <a:cubicBezTo>
                    <a:pt x="4073516" y="135046"/>
                    <a:pt x="4065446" y="143116"/>
                    <a:pt x="4055491" y="143116"/>
                  </a:cubicBezTo>
                  <a:cubicBezTo>
                    <a:pt x="4045536" y="143116"/>
                    <a:pt x="4037467" y="135046"/>
                    <a:pt x="4037467" y="125092"/>
                  </a:cubicBezTo>
                  <a:cubicBezTo>
                    <a:pt x="4037467" y="115137"/>
                    <a:pt x="4045536" y="107067"/>
                    <a:pt x="4055491" y="107067"/>
                  </a:cubicBezTo>
                  <a:close/>
                  <a:moveTo>
                    <a:pt x="3917303" y="107067"/>
                  </a:moveTo>
                  <a:cubicBezTo>
                    <a:pt x="3927258" y="107067"/>
                    <a:pt x="3935328" y="115137"/>
                    <a:pt x="3935328" y="125092"/>
                  </a:cubicBezTo>
                  <a:cubicBezTo>
                    <a:pt x="3935328" y="135046"/>
                    <a:pt x="3927258" y="143116"/>
                    <a:pt x="3917303" y="143116"/>
                  </a:cubicBezTo>
                  <a:cubicBezTo>
                    <a:pt x="3907348" y="143116"/>
                    <a:pt x="3899278" y="135046"/>
                    <a:pt x="3899278" y="125092"/>
                  </a:cubicBezTo>
                  <a:cubicBezTo>
                    <a:pt x="3899278" y="115137"/>
                    <a:pt x="3907348" y="107067"/>
                    <a:pt x="3917303" y="107067"/>
                  </a:cubicBezTo>
                  <a:close/>
                  <a:moveTo>
                    <a:pt x="3346531" y="107067"/>
                  </a:moveTo>
                  <a:cubicBezTo>
                    <a:pt x="3356486" y="107067"/>
                    <a:pt x="3364556" y="115137"/>
                    <a:pt x="3364556" y="125092"/>
                  </a:cubicBezTo>
                  <a:cubicBezTo>
                    <a:pt x="3364556" y="135046"/>
                    <a:pt x="3356486" y="143116"/>
                    <a:pt x="3346531" y="143116"/>
                  </a:cubicBezTo>
                  <a:cubicBezTo>
                    <a:pt x="3336576" y="143116"/>
                    <a:pt x="3328506" y="135046"/>
                    <a:pt x="3328506" y="125092"/>
                  </a:cubicBezTo>
                  <a:cubicBezTo>
                    <a:pt x="3328506" y="115137"/>
                    <a:pt x="3336576" y="107067"/>
                    <a:pt x="3346531" y="107067"/>
                  </a:cubicBezTo>
                  <a:close/>
                  <a:moveTo>
                    <a:pt x="2024741" y="107067"/>
                  </a:moveTo>
                  <a:cubicBezTo>
                    <a:pt x="2034696" y="107067"/>
                    <a:pt x="2042766" y="115137"/>
                    <a:pt x="2042766" y="125092"/>
                  </a:cubicBezTo>
                  <a:cubicBezTo>
                    <a:pt x="2042766" y="135046"/>
                    <a:pt x="2034696" y="143116"/>
                    <a:pt x="2024741" y="143116"/>
                  </a:cubicBezTo>
                  <a:cubicBezTo>
                    <a:pt x="2014787" y="143116"/>
                    <a:pt x="2006717" y="135046"/>
                    <a:pt x="2006717" y="125092"/>
                  </a:cubicBezTo>
                  <a:cubicBezTo>
                    <a:pt x="2006717" y="115137"/>
                    <a:pt x="2014787" y="107067"/>
                    <a:pt x="2024741" y="107067"/>
                  </a:cubicBezTo>
                  <a:close/>
                  <a:moveTo>
                    <a:pt x="240325" y="107067"/>
                  </a:moveTo>
                  <a:cubicBezTo>
                    <a:pt x="250280" y="107067"/>
                    <a:pt x="258350" y="115137"/>
                    <a:pt x="258350" y="125092"/>
                  </a:cubicBezTo>
                  <a:cubicBezTo>
                    <a:pt x="258350" y="135046"/>
                    <a:pt x="250280" y="143116"/>
                    <a:pt x="240325" y="143116"/>
                  </a:cubicBezTo>
                  <a:cubicBezTo>
                    <a:pt x="230371" y="143116"/>
                    <a:pt x="222301" y="135046"/>
                    <a:pt x="222301" y="125092"/>
                  </a:cubicBezTo>
                  <a:cubicBezTo>
                    <a:pt x="222301" y="115137"/>
                    <a:pt x="230371" y="107067"/>
                    <a:pt x="240325" y="107067"/>
                  </a:cubicBezTo>
                  <a:close/>
                  <a:moveTo>
                    <a:pt x="3761092" y="101059"/>
                  </a:moveTo>
                  <a:cubicBezTo>
                    <a:pt x="3771047" y="101059"/>
                    <a:pt x="3779117" y="109128"/>
                    <a:pt x="3779117" y="119083"/>
                  </a:cubicBezTo>
                  <a:cubicBezTo>
                    <a:pt x="3779117" y="129038"/>
                    <a:pt x="3771047" y="137108"/>
                    <a:pt x="3761092" y="137108"/>
                  </a:cubicBezTo>
                  <a:cubicBezTo>
                    <a:pt x="3751137" y="137108"/>
                    <a:pt x="3743068" y="129038"/>
                    <a:pt x="3743068" y="119083"/>
                  </a:cubicBezTo>
                  <a:cubicBezTo>
                    <a:pt x="3743068" y="109128"/>
                    <a:pt x="3751137" y="101059"/>
                    <a:pt x="3761092" y="101059"/>
                  </a:cubicBezTo>
                  <a:close/>
                  <a:moveTo>
                    <a:pt x="1706311" y="101059"/>
                  </a:moveTo>
                  <a:cubicBezTo>
                    <a:pt x="1716265" y="101059"/>
                    <a:pt x="1724335" y="109128"/>
                    <a:pt x="1724335" y="119083"/>
                  </a:cubicBezTo>
                  <a:cubicBezTo>
                    <a:pt x="1724335" y="129038"/>
                    <a:pt x="1716265" y="137108"/>
                    <a:pt x="1706311" y="137108"/>
                  </a:cubicBezTo>
                  <a:cubicBezTo>
                    <a:pt x="1696356" y="137108"/>
                    <a:pt x="1688286" y="129038"/>
                    <a:pt x="1688286" y="119083"/>
                  </a:cubicBezTo>
                  <a:cubicBezTo>
                    <a:pt x="1688286" y="109128"/>
                    <a:pt x="1696356" y="101059"/>
                    <a:pt x="1706311" y="101059"/>
                  </a:cubicBezTo>
                  <a:close/>
                  <a:moveTo>
                    <a:pt x="1574131" y="101059"/>
                  </a:moveTo>
                  <a:cubicBezTo>
                    <a:pt x="1584086" y="101059"/>
                    <a:pt x="1592156" y="109128"/>
                    <a:pt x="1592156" y="119083"/>
                  </a:cubicBezTo>
                  <a:cubicBezTo>
                    <a:pt x="1592156" y="129038"/>
                    <a:pt x="1584086" y="137108"/>
                    <a:pt x="1574131" y="137108"/>
                  </a:cubicBezTo>
                  <a:cubicBezTo>
                    <a:pt x="1564177" y="137108"/>
                    <a:pt x="1556107" y="129038"/>
                    <a:pt x="1556107" y="119083"/>
                  </a:cubicBezTo>
                  <a:cubicBezTo>
                    <a:pt x="1556107" y="109128"/>
                    <a:pt x="1564177" y="101059"/>
                    <a:pt x="1574131" y="101059"/>
                  </a:cubicBezTo>
                  <a:close/>
                  <a:moveTo>
                    <a:pt x="5611598" y="89043"/>
                  </a:moveTo>
                  <a:cubicBezTo>
                    <a:pt x="5621553" y="89043"/>
                    <a:pt x="5629623" y="97113"/>
                    <a:pt x="5629623" y="107067"/>
                  </a:cubicBezTo>
                  <a:cubicBezTo>
                    <a:pt x="5629623" y="117022"/>
                    <a:pt x="5621553" y="125092"/>
                    <a:pt x="5611598" y="125092"/>
                  </a:cubicBezTo>
                  <a:cubicBezTo>
                    <a:pt x="5601644" y="125092"/>
                    <a:pt x="5593574" y="117022"/>
                    <a:pt x="5593574" y="107067"/>
                  </a:cubicBezTo>
                  <a:cubicBezTo>
                    <a:pt x="5593574" y="97113"/>
                    <a:pt x="5601644" y="89043"/>
                    <a:pt x="5611598" y="89043"/>
                  </a:cubicBezTo>
                  <a:close/>
                  <a:moveTo>
                    <a:pt x="5419337" y="89043"/>
                  </a:moveTo>
                  <a:cubicBezTo>
                    <a:pt x="5429292" y="89043"/>
                    <a:pt x="5437362" y="97113"/>
                    <a:pt x="5437362" y="107067"/>
                  </a:cubicBezTo>
                  <a:cubicBezTo>
                    <a:pt x="5437362" y="117022"/>
                    <a:pt x="5429292" y="125092"/>
                    <a:pt x="5419337" y="125092"/>
                  </a:cubicBezTo>
                  <a:cubicBezTo>
                    <a:pt x="5409382" y="125092"/>
                    <a:pt x="5401312" y="117022"/>
                    <a:pt x="5401312" y="107067"/>
                  </a:cubicBezTo>
                  <a:cubicBezTo>
                    <a:pt x="5401312" y="97113"/>
                    <a:pt x="5409382" y="89043"/>
                    <a:pt x="5419337" y="89043"/>
                  </a:cubicBezTo>
                  <a:close/>
                  <a:moveTo>
                    <a:pt x="2992051" y="89043"/>
                  </a:moveTo>
                  <a:cubicBezTo>
                    <a:pt x="3002006" y="89043"/>
                    <a:pt x="3010076" y="97113"/>
                    <a:pt x="3010076" y="107067"/>
                  </a:cubicBezTo>
                  <a:cubicBezTo>
                    <a:pt x="3010076" y="117022"/>
                    <a:pt x="3002006" y="125092"/>
                    <a:pt x="2992051" y="125092"/>
                  </a:cubicBezTo>
                  <a:cubicBezTo>
                    <a:pt x="2982097" y="125092"/>
                    <a:pt x="2974027" y="117022"/>
                    <a:pt x="2974027" y="107067"/>
                  </a:cubicBezTo>
                  <a:cubicBezTo>
                    <a:pt x="2974027" y="97113"/>
                    <a:pt x="2982097" y="89043"/>
                    <a:pt x="2992051" y="89043"/>
                  </a:cubicBezTo>
                  <a:close/>
                  <a:moveTo>
                    <a:pt x="6368623" y="83034"/>
                  </a:moveTo>
                  <a:cubicBezTo>
                    <a:pt x="6378577" y="83034"/>
                    <a:pt x="6386648" y="91104"/>
                    <a:pt x="6386648" y="101058"/>
                  </a:cubicBezTo>
                  <a:cubicBezTo>
                    <a:pt x="6386648" y="111013"/>
                    <a:pt x="6378578" y="119083"/>
                    <a:pt x="6368623" y="119083"/>
                  </a:cubicBezTo>
                  <a:cubicBezTo>
                    <a:pt x="6358669" y="119083"/>
                    <a:pt x="6350599" y="111013"/>
                    <a:pt x="6350599" y="101058"/>
                  </a:cubicBezTo>
                  <a:cubicBezTo>
                    <a:pt x="6350599" y="91104"/>
                    <a:pt x="6358668" y="83034"/>
                    <a:pt x="6368623" y="83034"/>
                  </a:cubicBezTo>
                  <a:close/>
                  <a:moveTo>
                    <a:pt x="6242452" y="83034"/>
                  </a:moveTo>
                  <a:cubicBezTo>
                    <a:pt x="6252407" y="83034"/>
                    <a:pt x="6260477" y="91104"/>
                    <a:pt x="6260477" y="101058"/>
                  </a:cubicBezTo>
                  <a:cubicBezTo>
                    <a:pt x="6260477" y="111013"/>
                    <a:pt x="6252407" y="119083"/>
                    <a:pt x="6242452" y="119083"/>
                  </a:cubicBezTo>
                  <a:cubicBezTo>
                    <a:pt x="6232498" y="119083"/>
                    <a:pt x="6224428" y="111013"/>
                    <a:pt x="6224428" y="101058"/>
                  </a:cubicBezTo>
                  <a:cubicBezTo>
                    <a:pt x="6224428" y="91104"/>
                    <a:pt x="6232498" y="83034"/>
                    <a:pt x="6242452" y="83034"/>
                  </a:cubicBezTo>
                  <a:close/>
                  <a:moveTo>
                    <a:pt x="4884613" y="83034"/>
                  </a:moveTo>
                  <a:cubicBezTo>
                    <a:pt x="4894568" y="83034"/>
                    <a:pt x="4902638" y="91104"/>
                    <a:pt x="4902638" y="101058"/>
                  </a:cubicBezTo>
                  <a:cubicBezTo>
                    <a:pt x="4902638" y="111013"/>
                    <a:pt x="4894568" y="119083"/>
                    <a:pt x="4884613" y="119083"/>
                  </a:cubicBezTo>
                  <a:cubicBezTo>
                    <a:pt x="4874659" y="119083"/>
                    <a:pt x="4866589" y="111013"/>
                    <a:pt x="4866589" y="101058"/>
                  </a:cubicBezTo>
                  <a:cubicBezTo>
                    <a:pt x="4866589" y="91104"/>
                    <a:pt x="4874659" y="83034"/>
                    <a:pt x="4884613" y="83034"/>
                  </a:cubicBezTo>
                  <a:close/>
                  <a:moveTo>
                    <a:pt x="3118221" y="83034"/>
                  </a:moveTo>
                  <a:cubicBezTo>
                    <a:pt x="3128176" y="83034"/>
                    <a:pt x="3136246" y="91104"/>
                    <a:pt x="3136246" y="101058"/>
                  </a:cubicBezTo>
                  <a:cubicBezTo>
                    <a:pt x="3136246" y="111013"/>
                    <a:pt x="3128176" y="119083"/>
                    <a:pt x="3118221" y="119083"/>
                  </a:cubicBezTo>
                  <a:cubicBezTo>
                    <a:pt x="3108267" y="119083"/>
                    <a:pt x="3100197" y="111013"/>
                    <a:pt x="3100197" y="101058"/>
                  </a:cubicBezTo>
                  <a:cubicBezTo>
                    <a:pt x="3100197" y="91104"/>
                    <a:pt x="3108267" y="83034"/>
                    <a:pt x="3118221" y="83034"/>
                  </a:cubicBezTo>
                  <a:close/>
                  <a:moveTo>
                    <a:pt x="2619546" y="83034"/>
                  </a:moveTo>
                  <a:cubicBezTo>
                    <a:pt x="2629501" y="83034"/>
                    <a:pt x="2637571" y="91104"/>
                    <a:pt x="2637571" y="101058"/>
                  </a:cubicBezTo>
                  <a:cubicBezTo>
                    <a:pt x="2637571" y="111013"/>
                    <a:pt x="2629501" y="119083"/>
                    <a:pt x="2619546" y="119083"/>
                  </a:cubicBezTo>
                  <a:cubicBezTo>
                    <a:pt x="2609591" y="119083"/>
                    <a:pt x="2601522" y="111013"/>
                    <a:pt x="2601522" y="101058"/>
                  </a:cubicBezTo>
                  <a:cubicBezTo>
                    <a:pt x="2601522" y="91104"/>
                    <a:pt x="2609591" y="83034"/>
                    <a:pt x="2619546" y="83034"/>
                  </a:cubicBezTo>
                  <a:close/>
                  <a:moveTo>
                    <a:pt x="1291748" y="83034"/>
                  </a:moveTo>
                  <a:cubicBezTo>
                    <a:pt x="1301703" y="83034"/>
                    <a:pt x="1309773" y="91104"/>
                    <a:pt x="1309773" y="101058"/>
                  </a:cubicBezTo>
                  <a:cubicBezTo>
                    <a:pt x="1309773" y="111013"/>
                    <a:pt x="1301703" y="119083"/>
                    <a:pt x="1291748" y="119083"/>
                  </a:cubicBezTo>
                  <a:cubicBezTo>
                    <a:pt x="1281794" y="119083"/>
                    <a:pt x="1273724" y="111013"/>
                    <a:pt x="1273724" y="101058"/>
                  </a:cubicBezTo>
                  <a:cubicBezTo>
                    <a:pt x="1273724" y="91104"/>
                    <a:pt x="1281794" y="83034"/>
                    <a:pt x="1291748" y="83034"/>
                  </a:cubicBezTo>
                  <a:close/>
                  <a:moveTo>
                    <a:pt x="702951" y="83034"/>
                  </a:moveTo>
                  <a:cubicBezTo>
                    <a:pt x="712906" y="83034"/>
                    <a:pt x="720976" y="91104"/>
                    <a:pt x="720976" y="101058"/>
                  </a:cubicBezTo>
                  <a:cubicBezTo>
                    <a:pt x="720976" y="111013"/>
                    <a:pt x="712906" y="119083"/>
                    <a:pt x="702951" y="119083"/>
                  </a:cubicBezTo>
                  <a:cubicBezTo>
                    <a:pt x="692997" y="119083"/>
                    <a:pt x="684927" y="111013"/>
                    <a:pt x="684927" y="101058"/>
                  </a:cubicBezTo>
                  <a:cubicBezTo>
                    <a:pt x="684927" y="91104"/>
                    <a:pt x="692997" y="83034"/>
                    <a:pt x="702951" y="83034"/>
                  </a:cubicBezTo>
                  <a:close/>
                  <a:moveTo>
                    <a:pt x="2319139" y="65010"/>
                  </a:moveTo>
                  <a:cubicBezTo>
                    <a:pt x="2329094" y="65010"/>
                    <a:pt x="2337164" y="73080"/>
                    <a:pt x="2337164" y="83034"/>
                  </a:cubicBezTo>
                  <a:cubicBezTo>
                    <a:pt x="2337164" y="92989"/>
                    <a:pt x="2329094" y="101059"/>
                    <a:pt x="2319139" y="101059"/>
                  </a:cubicBezTo>
                  <a:cubicBezTo>
                    <a:pt x="2309185" y="101059"/>
                    <a:pt x="2301115" y="92989"/>
                    <a:pt x="2301115" y="83034"/>
                  </a:cubicBezTo>
                  <a:cubicBezTo>
                    <a:pt x="2301115" y="73080"/>
                    <a:pt x="2309185" y="65010"/>
                    <a:pt x="2319139" y="65010"/>
                  </a:cubicBezTo>
                  <a:close/>
                  <a:moveTo>
                    <a:pt x="564765" y="65010"/>
                  </a:moveTo>
                  <a:cubicBezTo>
                    <a:pt x="574719" y="65010"/>
                    <a:pt x="582789" y="73080"/>
                    <a:pt x="582789" y="83034"/>
                  </a:cubicBezTo>
                  <a:cubicBezTo>
                    <a:pt x="582789" y="92989"/>
                    <a:pt x="574719" y="101059"/>
                    <a:pt x="564765" y="101059"/>
                  </a:cubicBezTo>
                  <a:cubicBezTo>
                    <a:pt x="554810" y="101059"/>
                    <a:pt x="546740" y="92989"/>
                    <a:pt x="546740" y="83034"/>
                  </a:cubicBezTo>
                  <a:cubicBezTo>
                    <a:pt x="546740" y="73080"/>
                    <a:pt x="554810" y="65010"/>
                    <a:pt x="564765" y="65010"/>
                  </a:cubicBezTo>
                  <a:close/>
                  <a:moveTo>
                    <a:pt x="18024" y="65010"/>
                  </a:moveTo>
                  <a:cubicBezTo>
                    <a:pt x="27979" y="65010"/>
                    <a:pt x="36049" y="73080"/>
                    <a:pt x="36049" y="83034"/>
                  </a:cubicBezTo>
                  <a:cubicBezTo>
                    <a:pt x="36049" y="92989"/>
                    <a:pt x="27979" y="101059"/>
                    <a:pt x="18024" y="101059"/>
                  </a:cubicBezTo>
                  <a:cubicBezTo>
                    <a:pt x="8070" y="101059"/>
                    <a:pt x="0" y="92989"/>
                    <a:pt x="0" y="83034"/>
                  </a:cubicBezTo>
                  <a:cubicBezTo>
                    <a:pt x="0" y="73080"/>
                    <a:pt x="8070" y="65010"/>
                    <a:pt x="18024" y="65010"/>
                  </a:cubicBezTo>
                  <a:close/>
                  <a:moveTo>
                    <a:pt x="5052841" y="59002"/>
                  </a:moveTo>
                  <a:cubicBezTo>
                    <a:pt x="5062796" y="59002"/>
                    <a:pt x="5070866" y="67072"/>
                    <a:pt x="5070866" y="77026"/>
                  </a:cubicBezTo>
                  <a:cubicBezTo>
                    <a:pt x="5070866" y="86981"/>
                    <a:pt x="5062796" y="95051"/>
                    <a:pt x="5052841" y="95051"/>
                  </a:cubicBezTo>
                  <a:cubicBezTo>
                    <a:pt x="5042886" y="95051"/>
                    <a:pt x="5034817" y="86981"/>
                    <a:pt x="5034817" y="77026"/>
                  </a:cubicBezTo>
                  <a:cubicBezTo>
                    <a:pt x="5034817" y="67072"/>
                    <a:pt x="5042886" y="59002"/>
                    <a:pt x="5052841" y="59002"/>
                  </a:cubicBezTo>
                  <a:close/>
                  <a:moveTo>
                    <a:pt x="3490726" y="59002"/>
                  </a:moveTo>
                  <a:cubicBezTo>
                    <a:pt x="3500681" y="59002"/>
                    <a:pt x="3508751" y="67072"/>
                    <a:pt x="3508751" y="77026"/>
                  </a:cubicBezTo>
                  <a:cubicBezTo>
                    <a:pt x="3508751" y="86981"/>
                    <a:pt x="3500681" y="95051"/>
                    <a:pt x="3490726" y="95051"/>
                  </a:cubicBezTo>
                  <a:cubicBezTo>
                    <a:pt x="3480771" y="95051"/>
                    <a:pt x="3472702" y="86981"/>
                    <a:pt x="3472702" y="77026"/>
                  </a:cubicBezTo>
                  <a:cubicBezTo>
                    <a:pt x="3472702" y="67072"/>
                    <a:pt x="3480771" y="59002"/>
                    <a:pt x="3490726" y="59002"/>
                  </a:cubicBezTo>
                  <a:close/>
                  <a:moveTo>
                    <a:pt x="1447960" y="59002"/>
                  </a:moveTo>
                  <a:cubicBezTo>
                    <a:pt x="1457915" y="59002"/>
                    <a:pt x="1465985" y="67072"/>
                    <a:pt x="1465985" y="77026"/>
                  </a:cubicBezTo>
                  <a:cubicBezTo>
                    <a:pt x="1465985" y="86981"/>
                    <a:pt x="1457915" y="95051"/>
                    <a:pt x="1447960" y="95051"/>
                  </a:cubicBezTo>
                  <a:cubicBezTo>
                    <a:pt x="1438006" y="95051"/>
                    <a:pt x="1429936" y="86981"/>
                    <a:pt x="1429936" y="77026"/>
                  </a:cubicBezTo>
                  <a:cubicBezTo>
                    <a:pt x="1429936" y="67072"/>
                    <a:pt x="1438006" y="59002"/>
                    <a:pt x="1447960" y="59002"/>
                  </a:cubicBezTo>
                  <a:close/>
                  <a:moveTo>
                    <a:pt x="2192969" y="46987"/>
                  </a:moveTo>
                  <a:cubicBezTo>
                    <a:pt x="2202924" y="46987"/>
                    <a:pt x="2210994" y="55057"/>
                    <a:pt x="2210994" y="65012"/>
                  </a:cubicBezTo>
                  <a:cubicBezTo>
                    <a:pt x="2210994" y="74966"/>
                    <a:pt x="2202924" y="83036"/>
                    <a:pt x="2192969" y="83036"/>
                  </a:cubicBezTo>
                  <a:cubicBezTo>
                    <a:pt x="2183015" y="83036"/>
                    <a:pt x="2174945" y="74966"/>
                    <a:pt x="2174945" y="65012"/>
                  </a:cubicBezTo>
                  <a:cubicBezTo>
                    <a:pt x="2174945" y="55057"/>
                    <a:pt x="2183015" y="46987"/>
                    <a:pt x="2192969" y="46987"/>
                  </a:cubicBezTo>
                  <a:close/>
                  <a:moveTo>
                    <a:pt x="4434003" y="40979"/>
                  </a:moveTo>
                  <a:cubicBezTo>
                    <a:pt x="4443958" y="40979"/>
                    <a:pt x="4452028" y="49048"/>
                    <a:pt x="4452028" y="59003"/>
                  </a:cubicBezTo>
                  <a:cubicBezTo>
                    <a:pt x="4452028" y="68958"/>
                    <a:pt x="4443958" y="77028"/>
                    <a:pt x="4434003" y="77028"/>
                  </a:cubicBezTo>
                  <a:cubicBezTo>
                    <a:pt x="4424049" y="77028"/>
                    <a:pt x="4415979" y="68958"/>
                    <a:pt x="4415979" y="59003"/>
                  </a:cubicBezTo>
                  <a:cubicBezTo>
                    <a:pt x="4415979" y="49048"/>
                    <a:pt x="4424049" y="40979"/>
                    <a:pt x="4434003" y="40979"/>
                  </a:cubicBezTo>
                  <a:close/>
                  <a:moveTo>
                    <a:pt x="3616897" y="40979"/>
                  </a:moveTo>
                  <a:cubicBezTo>
                    <a:pt x="3626852" y="40979"/>
                    <a:pt x="3634922" y="49048"/>
                    <a:pt x="3634922" y="59003"/>
                  </a:cubicBezTo>
                  <a:cubicBezTo>
                    <a:pt x="3634922" y="68958"/>
                    <a:pt x="3626852" y="77028"/>
                    <a:pt x="3616897" y="77028"/>
                  </a:cubicBezTo>
                  <a:cubicBezTo>
                    <a:pt x="3606942" y="77028"/>
                    <a:pt x="3598872" y="68958"/>
                    <a:pt x="3598872" y="59003"/>
                  </a:cubicBezTo>
                  <a:cubicBezTo>
                    <a:pt x="3598872" y="49048"/>
                    <a:pt x="3606942" y="40979"/>
                    <a:pt x="3616897" y="40979"/>
                  </a:cubicBezTo>
                  <a:close/>
                  <a:moveTo>
                    <a:pt x="1826473" y="40979"/>
                  </a:moveTo>
                  <a:cubicBezTo>
                    <a:pt x="1836427" y="40979"/>
                    <a:pt x="1844497" y="49048"/>
                    <a:pt x="1844497" y="59003"/>
                  </a:cubicBezTo>
                  <a:cubicBezTo>
                    <a:pt x="1844497" y="68958"/>
                    <a:pt x="1836427" y="77028"/>
                    <a:pt x="1826473" y="77028"/>
                  </a:cubicBezTo>
                  <a:cubicBezTo>
                    <a:pt x="1816518" y="77028"/>
                    <a:pt x="1808448" y="68958"/>
                    <a:pt x="1808448" y="59003"/>
                  </a:cubicBezTo>
                  <a:cubicBezTo>
                    <a:pt x="1808448" y="49048"/>
                    <a:pt x="1816518" y="40979"/>
                    <a:pt x="1826473" y="40979"/>
                  </a:cubicBezTo>
                  <a:close/>
                  <a:moveTo>
                    <a:pt x="5942045" y="34970"/>
                  </a:moveTo>
                  <a:cubicBezTo>
                    <a:pt x="5952000" y="34970"/>
                    <a:pt x="5960070" y="43040"/>
                    <a:pt x="5960070" y="52994"/>
                  </a:cubicBezTo>
                  <a:cubicBezTo>
                    <a:pt x="5960070" y="62949"/>
                    <a:pt x="5952000" y="71019"/>
                    <a:pt x="5942045" y="71019"/>
                  </a:cubicBezTo>
                  <a:cubicBezTo>
                    <a:pt x="5932091" y="71019"/>
                    <a:pt x="5924021" y="62949"/>
                    <a:pt x="5924021" y="52994"/>
                  </a:cubicBezTo>
                  <a:cubicBezTo>
                    <a:pt x="5924021" y="43040"/>
                    <a:pt x="5932091" y="34970"/>
                    <a:pt x="5942045" y="34970"/>
                  </a:cubicBezTo>
                  <a:close/>
                  <a:moveTo>
                    <a:pt x="5719744" y="34970"/>
                  </a:moveTo>
                  <a:cubicBezTo>
                    <a:pt x="5729699" y="34970"/>
                    <a:pt x="5737769" y="43040"/>
                    <a:pt x="5737769" y="52994"/>
                  </a:cubicBezTo>
                  <a:cubicBezTo>
                    <a:pt x="5737769" y="62949"/>
                    <a:pt x="5729699" y="71019"/>
                    <a:pt x="5719744" y="71019"/>
                  </a:cubicBezTo>
                  <a:cubicBezTo>
                    <a:pt x="5709789" y="71019"/>
                    <a:pt x="5701719" y="62949"/>
                    <a:pt x="5701719" y="52994"/>
                  </a:cubicBezTo>
                  <a:cubicBezTo>
                    <a:pt x="5701719" y="43040"/>
                    <a:pt x="5709789" y="34970"/>
                    <a:pt x="5719744" y="34970"/>
                  </a:cubicBezTo>
                  <a:close/>
                  <a:moveTo>
                    <a:pt x="1171586" y="34970"/>
                  </a:moveTo>
                  <a:cubicBezTo>
                    <a:pt x="1181541" y="34970"/>
                    <a:pt x="1189611" y="43040"/>
                    <a:pt x="1189611" y="52994"/>
                  </a:cubicBezTo>
                  <a:cubicBezTo>
                    <a:pt x="1189611" y="62949"/>
                    <a:pt x="1181541" y="71019"/>
                    <a:pt x="1171586" y="71019"/>
                  </a:cubicBezTo>
                  <a:cubicBezTo>
                    <a:pt x="1161632" y="71019"/>
                    <a:pt x="1153562" y="62949"/>
                    <a:pt x="1153562" y="52994"/>
                  </a:cubicBezTo>
                  <a:cubicBezTo>
                    <a:pt x="1153562" y="43040"/>
                    <a:pt x="1161632" y="34970"/>
                    <a:pt x="1171586" y="34970"/>
                  </a:cubicBezTo>
                  <a:close/>
                  <a:moveTo>
                    <a:pt x="937268" y="34970"/>
                  </a:moveTo>
                  <a:cubicBezTo>
                    <a:pt x="947223" y="34970"/>
                    <a:pt x="955293" y="43040"/>
                    <a:pt x="955293" y="52994"/>
                  </a:cubicBezTo>
                  <a:cubicBezTo>
                    <a:pt x="955293" y="62949"/>
                    <a:pt x="947223" y="71019"/>
                    <a:pt x="937268" y="71019"/>
                  </a:cubicBezTo>
                  <a:cubicBezTo>
                    <a:pt x="927314" y="71019"/>
                    <a:pt x="919244" y="62949"/>
                    <a:pt x="919244" y="52994"/>
                  </a:cubicBezTo>
                  <a:cubicBezTo>
                    <a:pt x="919244" y="43040"/>
                    <a:pt x="927314" y="34970"/>
                    <a:pt x="937268" y="34970"/>
                  </a:cubicBezTo>
                  <a:close/>
                  <a:moveTo>
                    <a:pt x="426577" y="34970"/>
                  </a:moveTo>
                  <a:cubicBezTo>
                    <a:pt x="436532" y="34970"/>
                    <a:pt x="444602" y="43040"/>
                    <a:pt x="444602" y="52994"/>
                  </a:cubicBezTo>
                  <a:cubicBezTo>
                    <a:pt x="444602" y="62949"/>
                    <a:pt x="436532" y="71019"/>
                    <a:pt x="426577" y="71019"/>
                  </a:cubicBezTo>
                  <a:cubicBezTo>
                    <a:pt x="416623" y="71019"/>
                    <a:pt x="408553" y="62949"/>
                    <a:pt x="408553" y="52994"/>
                  </a:cubicBezTo>
                  <a:cubicBezTo>
                    <a:pt x="408553" y="43040"/>
                    <a:pt x="416623" y="34970"/>
                    <a:pt x="426577" y="34970"/>
                  </a:cubicBezTo>
                  <a:close/>
                  <a:moveTo>
                    <a:pt x="6146322" y="28962"/>
                  </a:moveTo>
                  <a:cubicBezTo>
                    <a:pt x="6156277" y="28962"/>
                    <a:pt x="6164347" y="37032"/>
                    <a:pt x="6164347" y="46986"/>
                  </a:cubicBezTo>
                  <a:cubicBezTo>
                    <a:pt x="6164347" y="56941"/>
                    <a:pt x="6156277" y="65011"/>
                    <a:pt x="6146322" y="65011"/>
                  </a:cubicBezTo>
                  <a:cubicBezTo>
                    <a:pt x="6136368" y="65011"/>
                    <a:pt x="6128298" y="56941"/>
                    <a:pt x="6128298" y="46986"/>
                  </a:cubicBezTo>
                  <a:cubicBezTo>
                    <a:pt x="6128298" y="37032"/>
                    <a:pt x="6136368" y="28962"/>
                    <a:pt x="6146322" y="28962"/>
                  </a:cubicBezTo>
                  <a:close/>
                  <a:moveTo>
                    <a:pt x="4776467" y="28962"/>
                  </a:moveTo>
                  <a:cubicBezTo>
                    <a:pt x="4786422" y="28962"/>
                    <a:pt x="4794492" y="37032"/>
                    <a:pt x="4794492" y="46986"/>
                  </a:cubicBezTo>
                  <a:cubicBezTo>
                    <a:pt x="4794492" y="56941"/>
                    <a:pt x="4786422" y="65011"/>
                    <a:pt x="4776467" y="65011"/>
                  </a:cubicBezTo>
                  <a:cubicBezTo>
                    <a:pt x="4766512" y="65011"/>
                    <a:pt x="4758443" y="56941"/>
                    <a:pt x="4758443" y="46986"/>
                  </a:cubicBezTo>
                  <a:cubicBezTo>
                    <a:pt x="4758443" y="37032"/>
                    <a:pt x="4766512" y="28962"/>
                    <a:pt x="4776467" y="28962"/>
                  </a:cubicBezTo>
                  <a:close/>
                  <a:moveTo>
                    <a:pt x="2451318" y="28962"/>
                  </a:moveTo>
                  <a:cubicBezTo>
                    <a:pt x="2461273" y="28962"/>
                    <a:pt x="2469343" y="37032"/>
                    <a:pt x="2469343" y="46986"/>
                  </a:cubicBezTo>
                  <a:cubicBezTo>
                    <a:pt x="2469343" y="56941"/>
                    <a:pt x="2461273" y="65011"/>
                    <a:pt x="2451318" y="65011"/>
                  </a:cubicBezTo>
                  <a:cubicBezTo>
                    <a:pt x="2441364" y="65011"/>
                    <a:pt x="2433294" y="56941"/>
                    <a:pt x="2433294" y="46986"/>
                  </a:cubicBezTo>
                  <a:cubicBezTo>
                    <a:pt x="2433294" y="37032"/>
                    <a:pt x="2441364" y="28962"/>
                    <a:pt x="2451318" y="28962"/>
                  </a:cubicBezTo>
                  <a:close/>
                  <a:moveTo>
                    <a:pt x="150203" y="28962"/>
                  </a:moveTo>
                  <a:cubicBezTo>
                    <a:pt x="160158" y="28962"/>
                    <a:pt x="168228" y="37032"/>
                    <a:pt x="168228" y="46986"/>
                  </a:cubicBezTo>
                  <a:cubicBezTo>
                    <a:pt x="168228" y="56941"/>
                    <a:pt x="160158" y="65011"/>
                    <a:pt x="150203" y="65011"/>
                  </a:cubicBezTo>
                  <a:cubicBezTo>
                    <a:pt x="140249" y="65011"/>
                    <a:pt x="132179" y="56941"/>
                    <a:pt x="132179" y="46986"/>
                  </a:cubicBezTo>
                  <a:cubicBezTo>
                    <a:pt x="132179" y="37032"/>
                    <a:pt x="140249" y="28962"/>
                    <a:pt x="150203" y="28962"/>
                  </a:cubicBezTo>
                  <a:close/>
                  <a:moveTo>
                    <a:pt x="4277792" y="22954"/>
                  </a:moveTo>
                  <a:cubicBezTo>
                    <a:pt x="4287747" y="22954"/>
                    <a:pt x="4295817" y="31024"/>
                    <a:pt x="4295817" y="40978"/>
                  </a:cubicBezTo>
                  <a:cubicBezTo>
                    <a:pt x="4295817" y="50933"/>
                    <a:pt x="4287747" y="59003"/>
                    <a:pt x="4277792" y="59003"/>
                  </a:cubicBezTo>
                  <a:cubicBezTo>
                    <a:pt x="4267837" y="59003"/>
                    <a:pt x="4259767" y="50933"/>
                    <a:pt x="4259767" y="40978"/>
                  </a:cubicBezTo>
                  <a:cubicBezTo>
                    <a:pt x="4259767" y="31024"/>
                    <a:pt x="4267837" y="22954"/>
                    <a:pt x="4277792" y="22954"/>
                  </a:cubicBezTo>
                  <a:close/>
                  <a:moveTo>
                    <a:pt x="4145613" y="22954"/>
                  </a:moveTo>
                  <a:cubicBezTo>
                    <a:pt x="4155568" y="22954"/>
                    <a:pt x="4163638" y="31024"/>
                    <a:pt x="4163638" y="40978"/>
                  </a:cubicBezTo>
                  <a:cubicBezTo>
                    <a:pt x="4163638" y="50933"/>
                    <a:pt x="4155568" y="59003"/>
                    <a:pt x="4145613" y="59003"/>
                  </a:cubicBezTo>
                  <a:cubicBezTo>
                    <a:pt x="4135658" y="59003"/>
                    <a:pt x="4127589" y="50933"/>
                    <a:pt x="4127589" y="40978"/>
                  </a:cubicBezTo>
                  <a:cubicBezTo>
                    <a:pt x="4127589" y="31024"/>
                    <a:pt x="4135658" y="22954"/>
                    <a:pt x="4145613" y="22954"/>
                  </a:cubicBezTo>
                  <a:close/>
                  <a:moveTo>
                    <a:pt x="817106" y="22954"/>
                  </a:moveTo>
                  <a:cubicBezTo>
                    <a:pt x="823743" y="22954"/>
                    <a:pt x="829123" y="28334"/>
                    <a:pt x="829123" y="34970"/>
                  </a:cubicBezTo>
                  <a:cubicBezTo>
                    <a:pt x="829123" y="41607"/>
                    <a:pt x="823743" y="46987"/>
                    <a:pt x="817106" y="46987"/>
                  </a:cubicBezTo>
                  <a:cubicBezTo>
                    <a:pt x="810470" y="46987"/>
                    <a:pt x="805090" y="41606"/>
                    <a:pt x="805090" y="34970"/>
                  </a:cubicBezTo>
                  <a:cubicBezTo>
                    <a:pt x="805090" y="28334"/>
                    <a:pt x="810470" y="22954"/>
                    <a:pt x="817106" y="22954"/>
                  </a:cubicBezTo>
                  <a:close/>
                  <a:moveTo>
                    <a:pt x="5491435" y="16946"/>
                  </a:moveTo>
                  <a:cubicBezTo>
                    <a:pt x="5501390" y="16946"/>
                    <a:pt x="5509460" y="25016"/>
                    <a:pt x="5509460" y="34971"/>
                  </a:cubicBezTo>
                  <a:cubicBezTo>
                    <a:pt x="5509460" y="44925"/>
                    <a:pt x="5501390" y="52995"/>
                    <a:pt x="5491435" y="52995"/>
                  </a:cubicBezTo>
                  <a:cubicBezTo>
                    <a:pt x="5481481" y="52995"/>
                    <a:pt x="5473411" y="44925"/>
                    <a:pt x="5473411" y="34971"/>
                  </a:cubicBezTo>
                  <a:cubicBezTo>
                    <a:pt x="5473411" y="25016"/>
                    <a:pt x="5481481" y="16946"/>
                    <a:pt x="5491435" y="16946"/>
                  </a:cubicBezTo>
                  <a:close/>
                  <a:moveTo>
                    <a:pt x="5323207" y="16946"/>
                  </a:moveTo>
                  <a:cubicBezTo>
                    <a:pt x="5333162" y="16946"/>
                    <a:pt x="5341232" y="25016"/>
                    <a:pt x="5341232" y="34971"/>
                  </a:cubicBezTo>
                  <a:cubicBezTo>
                    <a:pt x="5341232" y="44925"/>
                    <a:pt x="5333162" y="52995"/>
                    <a:pt x="5323207" y="52995"/>
                  </a:cubicBezTo>
                  <a:cubicBezTo>
                    <a:pt x="5313252" y="52995"/>
                    <a:pt x="5305183" y="44925"/>
                    <a:pt x="5305183" y="34971"/>
                  </a:cubicBezTo>
                  <a:cubicBezTo>
                    <a:pt x="5305183" y="25016"/>
                    <a:pt x="5313252" y="16946"/>
                    <a:pt x="5323207" y="16946"/>
                  </a:cubicBezTo>
                  <a:close/>
                  <a:moveTo>
                    <a:pt x="4632272" y="16946"/>
                  </a:moveTo>
                  <a:cubicBezTo>
                    <a:pt x="4642227" y="16946"/>
                    <a:pt x="4650297" y="25016"/>
                    <a:pt x="4650297" y="34971"/>
                  </a:cubicBezTo>
                  <a:cubicBezTo>
                    <a:pt x="4650297" y="44925"/>
                    <a:pt x="4642227" y="52995"/>
                    <a:pt x="4632272" y="52995"/>
                  </a:cubicBezTo>
                  <a:cubicBezTo>
                    <a:pt x="4622317" y="52995"/>
                    <a:pt x="4614248" y="44925"/>
                    <a:pt x="4614248" y="34971"/>
                  </a:cubicBezTo>
                  <a:cubicBezTo>
                    <a:pt x="4614248" y="25016"/>
                    <a:pt x="4622317" y="16946"/>
                    <a:pt x="4632272" y="16946"/>
                  </a:cubicBezTo>
                  <a:close/>
                  <a:moveTo>
                    <a:pt x="3226368" y="16946"/>
                  </a:moveTo>
                  <a:cubicBezTo>
                    <a:pt x="3236323" y="16946"/>
                    <a:pt x="3244393" y="25016"/>
                    <a:pt x="3244393" y="34971"/>
                  </a:cubicBezTo>
                  <a:cubicBezTo>
                    <a:pt x="3244393" y="44925"/>
                    <a:pt x="3236323" y="52995"/>
                    <a:pt x="3226368" y="52995"/>
                  </a:cubicBezTo>
                  <a:cubicBezTo>
                    <a:pt x="3216413" y="52995"/>
                    <a:pt x="3208343" y="44925"/>
                    <a:pt x="3208343" y="34971"/>
                  </a:cubicBezTo>
                  <a:cubicBezTo>
                    <a:pt x="3208343" y="25016"/>
                    <a:pt x="3216413" y="16946"/>
                    <a:pt x="3226368" y="16946"/>
                  </a:cubicBezTo>
                  <a:close/>
                  <a:moveTo>
                    <a:pt x="3983393" y="10938"/>
                  </a:moveTo>
                  <a:cubicBezTo>
                    <a:pt x="3993348" y="10938"/>
                    <a:pt x="4001418" y="19007"/>
                    <a:pt x="4001418" y="28962"/>
                  </a:cubicBezTo>
                  <a:cubicBezTo>
                    <a:pt x="4001418" y="38917"/>
                    <a:pt x="3993348" y="46987"/>
                    <a:pt x="3983393" y="46987"/>
                  </a:cubicBezTo>
                  <a:cubicBezTo>
                    <a:pt x="3973439" y="46987"/>
                    <a:pt x="3965369" y="38917"/>
                    <a:pt x="3965369" y="28962"/>
                  </a:cubicBezTo>
                  <a:cubicBezTo>
                    <a:pt x="3965369" y="19007"/>
                    <a:pt x="3973439" y="10938"/>
                    <a:pt x="3983393" y="10938"/>
                  </a:cubicBezTo>
                  <a:close/>
                  <a:moveTo>
                    <a:pt x="1039407" y="10938"/>
                  </a:moveTo>
                  <a:cubicBezTo>
                    <a:pt x="1049362" y="10938"/>
                    <a:pt x="1057432" y="19007"/>
                    <a:pt x="1057432" y="28962"/>
                  </a:cubicBezTo>
                  <a:cubicBezTo>
                    <a:pt x="1057432" y="38917"/>
                    <a:pt x="1049362" y="46987"/>
                    <a:pt x="1039407" y="46987"/>
                  </a:cubicBezTo>
                  <a:cubicBezTo>
                    <a:pt x="1029453" y="46987"/>
                    <a:pt x="1021383" y="38917"/>
                    <a:pt x="1021383" y="28962"/>
                  </a:cubicBezTo>
                  <a:cubicBezTo>
                    <a:pt x="1021383" y="19007"/>
                    <a:pt x="1029453" y="10938"/>
                    <a:pt x="1039407" y="10938"/>
                  </a:cubicBezTo>
                  <a:close/>
                  <a:moveTo>
                    <a:pt x="312422" y="10938"/>
                  </a:moveTo>
                  <a:cubicBezTo>
                    <a:pt x="322377" y="10938"/>
                    <a:pt x="330447" y="19007"/>
                    <a:pt x="330447" y="28962"/>
                  </a:cubicBezTo>
                  <a:cubicBezTo>
                    <a:pt x="330447" y="38917"/>
                    <a:pt x="322377" y="46987"/>
                    <a:pt x="312422" y="46987"/>
                  </a:cubicBezTo>
                  <a:cubicBezTo>
                    <a:pt x="302468" y="46987"/>
                    <a:pt x="294398" y="38917"/>
                    <a:pt x="294398" y="28962"/>
                  </a:cubicBezTo>
                  <a:cubicBezTo>
                    <a:pt x="294398" y="19007"/>
                    <a:pt x="302468" y="10938"/>
                    <a:pt x="312422" y="10938"/>
                  </a:cubicBezTo>
                  <a:close/>
                  <a:moveTo>
                    <a:pt x="3839198" y="4930"/>
                  </a:moveTo>
                  <a:cubicBezTo>
                    <a:pt x="3849153" y="4930"/>
                    <a:pt x="3857223" y="13000"/>
                    <a:pt x="3857223" y="22954"/>
                  </a:cubicBezTo>
                  <a:cubicBezTo>
                    <a:pt x="3857223" y="32909"/>
                    <a:pt x="3849153" y="40979"/>
                    <a:pt x="3839198" y="40979"/>
                  </a:cubicBezTo>
                  <a:cubicBezTo>
                    <a:pt x="3829244" y="40979"/>
                    <a:pt x="3821174" y="32909"/>
                    <a:pt x="3821174" y="22954"/>
                  </a:cubicBezTo>
                  <a:cubicBezTo>
                    <a:pt x="3821174" y="13000"/>
                    <a:pt x="3829244" y="4930"/>
                    <a:pt x="3839198" y="4930"/>
                  </a:cubicBezTo>
                  <a:close/>
                  <a:moveTo>
                    <a:pt x="3388588" y="4930"/>
                  </a:moveTo>
                  <a:cubicBezTo>
                    <a:pt x="3398543" y="4930"/>
                    <a:pt x="3406613" y="13000"/>
                    <a:pt x="3406613" y="22954"/>
                  </a:cubicBezTo>
                  <a:cubicBezTo>
                    <a:pt x="3406613" y="32909"/>
                    <a:pt x="3398543" y="40979"/>
                    <a:pt x="3388588" y="40979"/>
                  </a:cubicBezTo>
                  <a:cubicBezTo>
                    <a:pt x="3378634" y="40979"/>
                    <a:pt x="3370564" y="32909"/>
                    <a:pt x="3370564" y="22954"/>
                  </a:cubicBezTo>
                  <a:cubicBezTo>
                    <a:pt x="3370564" y="13000"/>
                    <a:pt x="3378634" y="4930"/>
                    <a:pt x="3388588" y="4930"/>
                  </a:cubicBezTo>
                  <a:close/>
                  <a:moveTo>
                    <a:pt x="5171526" y="0"/>
                  </a:moveTo>
                  <a:lnTo>
                    <a:pt x="5198514" y="0"/>
                  </a:lnTo>
                  <a:lnTo>
                    <a:pt x="5203045" y="10937"/>
                  </a:lnTo>
                  <a:cubicBezTo>
                    <a:pt x="5203045" y="20892"/>
                    <a:pt x="5194975" y="28962"/>
                    <a:pt x="5185020" y="28962"/>
                  </a:cubicBezTo>
                  <a:cubicBezTo>
                    <a:pt x="5175066" y="28962"/>
                    <a:pt x="5166996" y="20892"/>
                    <a:pt x="5166996" y="10937"/>
                  </a:cubicBezTo>
                  <a:close/>
                  <a:moveTo>
                    <a:pt x="4908761" y="0"/>
                  </a:moveTo>
                  <a:lnTo>
                    <a:pt x="4932564" y="0"/>
                  </a:lnTo>
                  <a:lnTo>
                    <a:pt x="4920662" y="4930"/>
                  </a:lnTo>
                  <a:close/>
                  <a:moveTo>
                    <a:pt x="3701458" y="0"/>
                  </a:moveTo>
                  <a:lnTo>
                    <a:pt x="3736613" y="0"/>
                  </a:lnTo>
                  <a:lnTo>
                    <a:pt x="3731781" y="11667"/>
                  </a:lnTo>
                  <a:cubicBezTo>
                    <a:pt x="3728519" y="14929"/>
                    <a:pt x="3724013" y="16946"/>
                    <a:pt x="3719035" y="16946"/>
                  </a:cubicBezTo>
                  <a:cubicBezTo>
                    <a:pt x="3714058" y="16946"/>
                    <a:pt x="3709552" y="14929"/>
                    <a:pt x="3706290" y="11667"/>
                  </a:cubicBezTo>
                  <a:close/>
                  <a:moveTo>
                    <a:pt x="3058255" y="0"/>
                  </a:moveTo>
                  <a:lnTo>
                    <a:pt x="3082058" y="0"/>
                  </a:lnTo>
                  <a:lnTo>
                    <a:pt x="3070156" y="4930"/>
                  </a:lnTo>
                  <a:close/>
                  <a:moveTo>
                    <a:pt x="2908383" y="0"/>
                  </a:moveTo>
                  <a:lnTo>
                    <a:pt x="2943539" y="0"/>
                  </a:lnTo>
                  <a:lnTo>
                    <a:pt x="2938707" y="11667"/>
                  </a:lnTo>
                  <a:cubicBezTo>
                    <a:pt x="2935445" y="14929"/>
                    <a:pt x="2930939" y="16946"/>
                    <a:pt x="2925961" y="16946"/>
                  </a:cubicBezTo>
                  <a:cubicBezTo>
                    <a:pt x="2920984" y="16946"/>
                    <a:pt x="2916477" y="14929"/>
                    <a:pt x="2913216" y="11667"/>
                  </a:cubicBezTo>
                  <a:close/>
                  <a:moveTo>
                    <a:pt x="2794230" y="0"/>
                  </a:moveTo>
                  <a:lnTo>
                    <a:pt x="2829385" y="0"/>
                  </a:lnTo>
                  <a:lnTo>
                    <a:pt x="2824553" y="11667"/>
                  </a:lnTo>
                  <a:cubicBezTo>
                    <a:pt x="2821291" y="14929"/>
                    <a:pt x="2816785" y="16946"/>
                    <a:pt x="2811807" y="16946"/>
                  </a:cubicBezTo>
                  <a:cubicBezTo>
                    <a:pt x="2806830" y="16946"/>
                    <a:pt x="2802324" y="14929"/>
                    <a:pt x="2799062" y="11667"/>
                  </a:cubicBezTo>
                  <a:close/>
                  <a:moveTo>
                    <a:pt x="2675662" y="0"/>
                  </a:moveTo>
                  <a:lnTo>
                    <a:pt x="2707627" y="0"/>
                  </a:lnTo>
                  <a:lnTo>
                    <a:pt x="2709669" y="4930"/>
                  </a:lnTo>
                  <a:cubicBezTo>
                    <a:pt x="2709669" y="14884"/>
                    <a:pt x="2701599" y="22954"/>
                    <a:pt x="2691644" y="22954"/>
                  </a:cubicBezTo>
                  <a:cubicBezTo>
                    <a:pt x="2681690" y="22954"/>
                    <a:pt x="2673620" y="14884"/>
                    <a:pt x="2673620" y="4930"/>
                  </a:cubicBezTo>
                  <a:close/>
                  <a:moveTo>
                    <a:pt x="2543483" y="0"/>
                  </a:moveTo>
                  <a:lnTo>
                    <a:pt x="2575448" y="0"/>
                  </a:lnTo>
                  <a:lnTo>
                    <a:pt x="2577490" y="4930"/>
                  </a:lnTo>
                  <a:cubicBezTo>
                    <a:pt x="2577490" y="14884"/>
                    <a:pt x="2569420" y="22954"/>
                    <a:pt x="2559465" y="22954"/>
                  </a:cubicBezTo>
                  <a:cubicBezTo>
                    <a:pt x="2549510" y="22954"/>
                    <a:pt x="2541441" y="14884"/>
                    <a:pt x="2541441" y="4930"/>
                  </a:cubicBezTo>
                  <a:close/>
                  <a:moveTo>
                    <a:pt x="2047297" y="0"/>
                  </a:moveTo>
                  <a:lnTo>
                    <a:pt x="2074285" y="0"/>
                  </a:lnTo>
                  <a:lnTo>
                    <a:pt x="2078815" y="10937"/>
                  </a:lnTo>
                  <a:cubicBezTo>
                    <a:pt x="2078815" y="20892"/>
                    <a:pt x="2070745" y="28962"/>
                    <a:pt x="2060790" y="28962"/>
                  </a:cubicBezTo>
                  <a:cubicBezTo>
                    <a:pt x="2050836" y="28962"/>
                    <a:pt x="2042766" y="20892"/>
                    <a:pt x="2042766" y="10937"/>
                  </a:cubicBezTo>
                  <a:close/>
                  <a:moveTo>
                    <a:pt x="1932017" y="0"/>
                  </a:moveTo>
                  <a:lnTo>
                    <a:pt x="1937222" y="0"/>
                  </a:lnTo>
                  <a:lnTo>
                    <a:pt x="1947365" y="4201"/>
                  </a:lnTo>
                  <a:cubicBezTo>
                    <a:pt x="1950627" y="7463"/>
                    <a:pt x="1952644" y="11969"/>
                    <a:pt x="1952644" y="16946"/>
                  </a:cubicBezTo>
                  <a:cubicBezTo>
                    <a:pt x="1952644" y="26901"/>
                    <a:pt x="1944574" y="34971"/>
                    <a:pt x="1934619" y="34971"/>
                  </a:cubicBezTo>
                  <a:cubicBezTo>
                    <a:pt x="1924665" y="34971"/>
                    <a:pt x="1916595" y="26901"/>
                    <a:pt x="1916595" y="16946"/>
                  </a:cubicBezTo>
                  <a:cubicBezTo>
                    <a:pt x="1916595" y="11969"/>
                    <a:pt x="1918613" y="7463"/>
                    <a:pt x="1921875" y="4201"/>
                  </a:cubicBezTo>
                  <a:close/>
                  <a:moveTo>
                    <a:pt x="1694741" y="0"/>
                  </a:moveTo>
                  <a:lnTo>
                    <a:pt x="1729896" y="0"/>
                  </a:lnTo>
                  <a:lnTo>
                    <a:pt x="1725064" y="11667"/>
                  </a:lnTo>
                  <a:cubicBezTo>
                    <a:pt x="1721802" y="14929"/>
                    <a:pt x="1717296" y="16946"/>
                    <a:pt x="1712318" y="16946"/>
                  </a:cubicBezTo>
                  <a:cubicBezTo>
                    <a:pt x="1707341" y="16946"/>
                    <a:pt x="1702835" y="14929"/>
                    <a:pt x="1699574" y="11667"/>
                  </a:cubicBezTo>
                  <a:close/>
                  <a:moveTo>
                    <a:pt x="1586594" y="0"/>
                  </a:moveTo>
                  <a:lnTo>
                    <a:pt x="1621749" y="0"/>
                  </a:lnTo>
                  <a:lnTo>
                    <a:pt x="1616917" y="11667"/>
                  </a:lnTo>
                  <a:cubicBezTo>
                    <a:pt x="1613655" y="14929"/>
                    <a:pt x="1609149" y="16946"/>
                    <a:pt x="1604171" y="16946"/>
                  </a:cubicBezTo>
                  <a:cubicBezTo>
                    <a:pt x="1599194" y="16946"/>
                    <a:pt x="1594688" y="14929"/>
                    <a:pt x="1591427" y="11667"/>
                  </a:cubicBezTo>
                  <a:close/>
                  <a:moveTo>
                    <a:pt x="1328245" y="0"/>
                  </a:moveTo>
                  <a:lnTo>
                    <a:pt x="1363400" y="0"/>
                  </a:lnTo>
                  <a:lnTo>
                    <a:pt x="1358568" y="11667"/>
                  </a:lnTo>
                  <a:cubicBezTo>
                    <a:pt x="1355306" y="14929"/>
                    <a:pt x="1350800" y="16946"/>
                    <a:pt x="1345823" y="16946"/>
                  </a:cubicBezTo>
                  <a:cubicBezTo>
                    <a:pt x="1340846" y="16946"/>
                    <a:pt x="1336340" y="14929"/>
                    <a:pt x="1333078" y="11667"/>
                  </a:cubicBezTo>
                  <a:close/>
                  <a:moveTo>
                    <a:pt x="636977" y="0"/>
                  </a:moveTo>
                  <a:lnTo>
                    <a:pt x="660780" y="0"/>
                  </a:lnTo>
                  <a:lnTo>
                    <a:pt x="648878" y="4930"/>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AADD9643-5489-42CB-9762-FBAC2AAE9FB9}"/>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0" y="2390523"/>
              <a:ext cx="611491" cy="1421482"/>
            </a:xfrm>
            <a:custGeom>
              <a:avLst/>
              <a:gdLst>
                <a:gd name="connsiteX0" fmla="*/ 0 w 611491"/>
                <a:gd name="connsiteY0" fmla="*/ 0 h 1429512"/>
                <a:gd name="connsiteX1" fmla="*/ 62526 w 611491"/>
                <a:gd name="connsiteY1" fmla="*/ 22473 h 1429512"/>
                <a:gd name="connsiteX2" fmla="*/ 241043 w 611491"/>
                <a:gd name="connsiteY2" fmla="*/ 176817 h 1429512"/>
                <a:gd name="connsiteX3" fmla="*/ 497720 w 611491"/>
                <a:gd name="connsiteY3" fmla="*/ 299929 h 1429512"/>
                <a:gd name="connsiteX4" fmla="*/ 610380 w 611491"/>
                <a:gd name="connsiteY4" fmla="*/ 577513 h 1429512"/>
                <a:gd name="connsiteX5" fmla="*/ 458232 w 611491"/>
                <a:gd name="connsiteY5" fmla="*/ 845805 h 1429512"/>
                <a:gd name="connsiteX6" fmla="*/ 455909 w 611491"/>
                <a:gd name="connsiteY6" fmla="*/ 848128 h 1429512"/>
                <a:gd name="connsiteX7" fmla="*/ 407128 w 611491"/>
                <a:gd name="connsiteY7" fmla="*/ 956142 h 1429512"/>
                <a:gd name="connsiteX8" fmla="*/ 396675 w 611491"/>
                <a:gd name="connsiteY8" fmla="*/ 993308 h 1429512"/>
                <a:gd name="connsiteX9" fmla="*/ 230590 w 611491"/>
                <a:gd name="connsiteY9" fmla="*/ 1283668 h 1429512"/>
                <a:gd name="connsiteX10" fmla="*/ 7730 w 611491"/>
                <a:gd name="connsiteY10" fmla="*/ 1427579 h 1429512"/>
                <a:gd name="connsiteX11" fmla="*/ 0 w 611491"/>
                <a:gd name="connsiteY11" fmla="*/ 1429512 h 1429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1491" h="1429512">
                  <a:moveTo>
                    <a:pt x="0" y="0"/>
                  </a:moveTo>
                  <a:lnTo>
                    <a:pt x="62526" y="22473"/>
                  </a:lnTo>
                  <a:cubicBezTo>
                    <a:pt x="133465" y="57262"/>
                    <a:pt x="193134" y="114099"/>
                    <a:pt x="241043" y="176817"/>
                  </a:cubicBezTo>
                  <a:cubicBezTo>
                    <a:pt x="333958" y="204691"/>
                    <a:pt x="425711" y="231405"/>
                    <a:pt x="497720" y="299929"/>
                  </a:cubicBezTo>
                  <a:cubicBezTo>
                    <a:pt x="569730" y="369616"/>
                    <a:pt x="619671" y="476468"/>
                    <a:pt x="610380" y="577513"/>
                  </a:cubicBezTo>
                  <a:cubicBezTo>
                    <a:pt x="601088" y="676235"/>
                    <a:pt x="515142" y="767989"/>
                    <a:pt x="458232" y="845805"/>
                  </a:cubicBezTo>
                  <a:cubicBezTo>
                    <a:pt x="457070" y="846967"/>
                    <a:pt x="457070" y="848128"/>
                    <a:pt x="455909" y="848128"/>
                  </a:cubicBezTo>
                  <a:cubicBezTo>
                    <a:pt x="432680" y="880648"/>
                    <a:pt x="416420" y="916653"/>
                    <a:pt x="407128" y="956142"/>
                  </a:cubicBezTo>
                  <a:cubicBezTo>
                    <a:pt x="403644" y="968918"/>
                    <a:pt x="401321" y="980532"/>
                    <a:pt x="396675" y="993308"/>
                  </a:cubicBezTo>
                  <a:cubicBezTo>
                    <a:pt x="362994" y="1101322"/>
                    <a:pt x="308406" y="1201205"/>
                    <a:pt x="230590" y="1283668"/>
                  </a:cubicBezTo>
                  <a:cubicBezTo>
                    <a:pt x="170921" y="1347256"/>
                    <a:pt x="92143" y="1398432"/>
                    <a:pt x="7730" y="1427579"/>
                  </a:cubicBezTo>
                  <a:lnTo>
                    <a:pt x="0" y="1429512"/>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Freeform: Shape 20">
              <a:extLst>
                <a:ext uri="{FF2B5EF4-FFF2-40B4-BE49-F238E27FC236}">
                  <a16:creationId xmlns:a16="http://schemas.microsoft.com/office/drawing/2014/main" id="{09A2C16E-2745-4E3D-BECC-D66755221E3B}"/>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3792772" y="0"/>
              <a:ext cx="2423863" cy="1343767"/>
            </a:xfrm>
            <a:custGeom>
              <a:avLst/>
              <a:gdLst>
                <a:gd name="connsiteX0" fmla="*/ 37089 w 3015964"/>
                <a:gd name="connsiteY0" fmla="*/ 0 h 1681468"/>
                <a:gd name="connsiteX1" fmla="*/ 3014022 w 3015964"/>
                <a:gd name="connsiteY1" fmla="*/ 0 h 1681468"/>
                <a:gd name="connsiteX2" fmla="*/ 3015964 w 3015964"/>
                <a:gd name="connsiteY2" fmla="*/ 52718 h 1681468"/>
                <a:gd name="connsiteX3" fmla="*/ 2982682 w 3015964"/>
                <a:gd name="connsiteY3" fmla="*/ 249186 h 1681468"/>
                <a:gd name="connsiteX4" fmla="*/ 1789950 w 3015964"/>
                <a:gd name="connsiteY4" fmla="*/ 1181800 h 1681468"/>
                <a:gd name="connsiteX5" fmla="*/ 1536391 w 3015964"/>
                <a:gd name="connsiteY5" fmla="*/ 1275909 h 1681468"/>
                <a:gd name="connsiteX6" fmla="*/ 1257206 w 3015964"/>
                <a:gd name="connsiteY6" fmla="*/ 1431287 h 1681468"/>
                <a:gd name="connsiteX7" fmla="*/ 990871 w 3015964"/>
                <a:gd name="connsiteY7" fmla="*/ 1669291 h 1681468"/>
                <a:gd name="connsiteX8" fmla="*/ 584900 w 3015964"/>
                <a:gd name="connsiteY8" fmla="*/ 1589975 h 1681468"/>
                <a:gd name="connsiteX9" fmla="*/ 32440 w 3015964"/>
                <a:gd name="connsiteY9" fmla="*/ 985257 h 1681468"/>
                <a:gd name="connsiteX10" fmla="*/ 98094 w 3015964"/>
                <a:gd name="connsiteY10" fmla="*/ 314136 h 1681468"/>
                <a:gd name="connsiteX11" fmla="*/ 37491 w 3015964"/>
                <a:gd name="connsiteY11" fmla="*/ 8555 h 168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15964" h="1681468">
                  <a:moveTo>
                    <a:pt x="37089" y="0"/>
                  </a:moveTo>
                  <a:lnTo>
                    <a:pt x="3014022" y="0"/>
                  </a:lnTo>
                  <a:lnTo>
                    <a:pt x="3015964" y="52718"/>
                  </a:lnTo>
                  <a:cubicBezTo>
                    <a:pt x="3014020" y="116767"/>
                    <a:pt x="3003328" y="182440"/>
                    <a:pt x="2982682" y="249186"/>
                  </a:cubicBezTo>
                  <a:cubicBezTo>
                    <a:pt x="2816250" y="780974"/>
                    <a:pt x="2269424" y="1021163"/>
                    <a:pt x="1789950" y="1181800"/>
                  </a:cubicBezTo>
                  <a:cubicBezTo>
                    <a:pt x="1704900" y="1210572"/>
                    <a:pt x="1618927" y="1242781"/>
                    <a:pt x="1536391" y="1275909"/>
                  </a:cubicBezTo>
                  <a:cubicBezTo>
                    <a:pt x="1442962" y="1315327"/>
                    <a:pt x="1325233" y="1362965"/>
                    <a:pt x="1257206" y="1431287"/>
                  </a:cubicBezTo>
                  <a:cubicBezTo>
                    <a:pt x="1165891" y="1524673"/>
                    <a:pt x="1138606" y="1633376"/>
                    <a:pt x="990871" y="1669291"/>
                  </a:cubicBezTo>
                  <a:cubicBezTo>
                    <a:pt x="855624" y="1706711"/>
                    <a:pt x="704676" y="1651532"/>
                    <a:pt x="584900" y="1589975"/>
                  </a:cubicBezTo>
                  <a:cubicBezTo>
                    <a:pt x="340993" y="1469377"/>
                    <a:pt x="110379" y="1251058"/>
                    <a:pt x="32440" y="985257"/>
                  </a:cubicBezTo>
                  <a:cubicBezTo>
                    <a:pt x="-35009" y="762780"/>
                    <a:pt x="10420" y="524511"/>
                    <a:pt x="98094" y="314136"/>
                  </a:cubicBezTo>
                  <a:cubicBezTo>
                    <a:pt x="73927" y="211903"/>
                    <a:pt x="49528" y="110530"/>
                    <a:pt x="37491" y="855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Freeform: Shape 21">
              <a:extLst>
                <a:ext uri="{FF2B5EF4-FFF2-40B4-BE49-F238E27FC236}">
                  <a16:creationId xmlns:a16="http://schemas.microsoft.com/office/drawing/2014/main" id="{52E5A063-571D-4461-9869-B3E93F6E69DD}"/>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10946850" y="0"/>
              <a:ext cx="1242102" cy="2620884"/>
            </a:xfrm>
            <a:custGeom>
              <a:avLst/>
              <a:gdLst>
                <a:gd name="connsiteX0" fmla="*/ 48089 w 1242102"/>
                <a:gd name="connsiteY0" fmla="*/ 0 h 2635689"/>
                <a:gd name="connsiteX1" fmla="*/ 1242102 w 1242102"/>
                <a:gd name="connsiteY1" fmla="*/ 0 h 2635689"/>
                <a:gd name="connsiteX2" fmla="*/ 1242102 w 1242102"/>
                <a:gd name="connsiteY2" fmla="*/ 2546285 h 2635689"/>
                <a:gd name="connsiteX3" fmla="*/ 1169982 w 1242102"/>
                <a:gd name="connsiteY3" fmla="*/ 2578052 h 2635689"/>
                <a:gd name="connsiteX4" fmla="*/ 289259 w 1242102"/>
                <a:gd name="connsiteY4" fmla="*/ 2399682 h 2635689"/>
                <a:gd name="connsiteX5" fmla="*/ 77957 w 1242102"/>
                <a:gd name="connsiteY5" fmla="*/ 900439 h 2635689"/>
                <a:gd name="connsiteX6" fmla="*/ 123236 w 1242102"/>
                <a:gd name="connsiteY6" fmla="*/ 633796 h 2635689"/>
                <a:gd name="connsiteX7" fmla="*/ 128267 w 1242102"/>
                <a:gd name="connsiteY7" fmla="*/ 314326 h 2635689"/>
                <a:gd name="connsiteX8" fmla="*/ 44729 w 1242102"/>
                <a:gd name="connsiteY8" fmla="*/ 16426 h 263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2102" h="2635689">
                  <a:moveTo>
                    <a:pt x="48089" y="0"/>
                  </a:moveTo>
                  <a:lnTo>
                    <a:pt x="1242102" y="0"/>
                  </a:lnTo>
                  <a:lnTo>
                    <a:pt x="1242102" y="2546285"/>
                  </a:lnTo>
                  <a:lnTo>
                    <a:pt x="1169982" y="2578052"/>
                  </a:lnTo>
                  <a:cubicBezTo>
                    <a:pt x="865271" y="2683266"/>
                    <a:pt x="526660" y="2655949"/>
                    <a:pt x="289259" y="2399682"/>
                  </a:cubicBezTo>
                  <a:cubicBezTo>
                    <a:pt x="-88067" y="1989654"/>
                    <a:pt x="-22664" y="1395994"/>
                    <a:pt x="77957" y="900439"/>
                  </a:cubicBezTo>
                  <a:cubicBezTo>
                    <a:pt x="95565" y="812397"/>
                    <a:pt x="110658" y="721838"/>
                    <a:pt x="123236" y="633796"/>
                  </a:cubicBezTo>
                  <a:cubicBezTo>
                    <a:pt x="135813" y="533175"/>
                    <a:pt x="153422" y="407400"/>
                    <a:pt x="128267" y="314326"/>
                  </a:cubicBezTo>
                  <a:cubicBezTo>
                    <a:pt x="97452" y="204273"/>
                    <a:pt x="31970" y="130812"/>
                    <a:pt x="44729" y="16426"/>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Freeform: Shape 22">
              <a:extLst>
                <a:ext uri="{FF2B5EF4-FFF2-40B4-BE49-F238E27FC236}">
                  <a16:creationId xmlns:a16="http://schemas.microsoft.com/office/drawing/2014/main" id="{366019AD-E33B-4DBF-BAD3-AE3611603168}"/>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0" y="0"/>
              <a:ext cx="1577788" cy="980141"/>
            </a:xfrm>
            <a:custGeom>
              <a:avLst/>
              <a:gdLst>
                <a:gd name="connsiteX0" fmla="*/ 117137 w 1471018"/>
                <a:gd name="connsiteY0" fmla="*/ 759920 h 795676"/>
                <a:gd name="connsiteX1" fmla="*/ 130429 w 1471018"/>
                <a:gd name="connsiteY1" fmla="*/ 768654 h 795676"/>
                <a:gd name="connsiteX2" fmla="*/ 124353 w 1471018"/>
                <a:gd name="connsiteY2" fmla="*/ 792959 h 795676"/>
                <a:gd name="connsiteX3" fmla="*/ 100048 w 1471018"/>
                <a:gd name="connsiteY3" fmla="*/ 786883 h 795676"/>
                <a:gd name="connsiteX4" fmla="*/ 106124 w 1471018"/>
                <a:gd name="connsiteY4" fmla="*/ 762578 h 795676"/>
                <a:gd name="connsiteX5" fmla="*/ 117137 w 1471018"/>
                <a:gd name="connsiteY5" fmla="*/ 759920 h 795676"/>
                <a:gd name="connsiteX6" fmla="*/ 220419 w 1471018"/>
                <a:gd name="connsiteY6" fmla="*/ 753844 h 795676"/>
                <a:gd name="connsiteX7" fmla="*/ 233710 w 1471018"/>
                <a:gd name="connsiteY7" fmla="*/ 762578 h 795676"/>
                <a:gd name="connsiteX8" fmla="*/ 227634 w 1471018"/>
                <a:gd name="connsiteY8" fmla="*/ 786883 h 795676"/>
                <a:gd name="connsiteX9" fmla="*/ 203329 w 1471018"/>
                <a:gd name="connsiteY9" fmla="*/ 780807 h 795676"/>
                <a:gd name="connsiteX10" fmla="*/ 209405 w 1471018"/>
                <a:gd name="connsiteY10" fmla="*/ 756502 h 795676"/>
                <a:gd name="connsiteX11" fmla="*/ 220419 w 1471018"/>
                <a:gd name="connsiteY11" fmla="*/ 753844 h 795676"/>
                <a:gd name="connsiteX12" fmla="*/ 25999 w 1471018"/>
                <a:gd name="connsiteY12" fmla="*/ 741691 h 795676"/>
                <a:gd name="connsiteX13" fmla="*/ 39290 w 1471018"/>
                <a:gd name="connsiteY13" fmla="*/ 750425 h 795676"/>
                <a:gd name="connsiteX14" fmla="*/ 33214 w 1471018"/>
                <a:gd name="connsiteY14" fmla="*/ 774730 h 795676"/>
                <a:gd name="connsiteX15" fmla="*/ 8909 w 1471018"/>
                <a:gd name="connsiteY15" fmla="*/ 768654 h 795676"/>
                <a:gd name="connsiteX16" fmla="*/ 14985 w 1471018"/>
                <a:gd name="connsiteY16" fmla="*/ 744349 h 795676"/>
                <a:gd name="connsiteX17" fmla="*/ 25999 w 1471018"/>
                <a:gd name="connsiteY17" fmla="*/ 741691 h 795676"/>
                <a:gd name="connsiteX18" fmla="*/ 329796 w 1471018"/>
                <a:gd name="connsiteY18" fmla="*/ 735615 h 795676"/>
                <a:gd name="connsiteX19" fmla="*/ 343088 w 1471018"/>
                <a:gd name="connsiteY19" fmla="*/ 744349 h 795676"/>
                <a:gd name="connsiteX20" fmla="*/ 337012 w 1471018"/>
                <a:gd name="connsiteY20" fmla="*/ 768654 h 795676"/>
                <a:gd name="connsiteX21" fmla="*/ 312707 w 1471018"/>
                <a:gd name="connsiteY21" fmla="*/ 762578 h 795676"/>
                <a:gd name="connsiteX22" fmla="*/ 318783 w 1471018"/>
                <a:gd name="connsiteY22" fmla="*/ 738273 h 795676"/>
                <a:gd name="connsiteX23" fmla="*/ 329796 w 1471018"/>
                <a:gd name="connsiteY23" fmla="*/ 735615 h 795676"/>
                <a:gd name="connsiteX24" fmla="*/ 442198 w 1471018"/>
                <a:gd name="connsiteY24" fmla="*/ 702197 h 795676"/>
                <a:gd name="connsiteX25" fmla="*/ 455488 w 1471018"/>
                <a:gd name="connsiteY25" fmla="*/ 710931 h 795676"/>
                <a:gd name="connsiteX26" fmla="*/ 449413 w 1471018"/>
                <a:gd name="connsiteY26" fmla="*/ 735236 h 795676"/>
                <a:gd name="connsiteX27" fmla="*/ 425110 w 1471018"/>
                <a:gd name="connsiteY27" fmla="*/ 729160 h 795676"/>
                <a:gd name="connsiteX28" fmla="*/ 431186 w 1471018"/>
                <a:gd name="connsiteY28" fmla="*/ 704855 h 795676"/>
                <a:gd name="connsiteX29" fmla="*/ 442198 w 1471018"/>
                <a:gd name="connsiteY29" fmla="*/ 702197 h 795676"/>
                <a:gd name="connsiteX30" fmla="*/ 542453 w 1471018"/>
                <a:gd name="connsiteY30" fmla="*/ 668778 h 795676"/>
                <a:gd name="connsiteX31" fmla="*/ 555745 w 1471018"/>
                <a:gd name="connsiteY31" fmla="*/ 677512 h 795676"/>
                <a:gd name="connsiteX32" fmla="*/ 549669 w 1471018"/>
                <a:gd name="connsiteY32" fmla="*/ 701817 h 795676"/>
                <a:gd name="connsiteX33" fmla="*/ 525364 w 1471018"/>
                <a:gd name="connsiteY33" fmla="*/ 695741 h 795676"/>
                <a:gd name="connsiteX34" fmla="*/ 531440 w 1471018"/>
                <a:gd name="connsiteY34" fmla="*/ 671436 h 795676"/>
                <a:gd name="connsiteX35" fmla="*/ 542453 w 1471018"/>
                <a:gd name="connsiteY35" fmla="*/ 668778 h 795676"/>
                <a:gd name="connsiteX36" fmla="*/ 132328 w 1471018"/>
                <a:gd name="connsiteY36" fmla="*/ 650549 h 795676"/>
                <a:gd name="connsiteX37" fmla="*/ 145620 w 1471018"/>
                <a:gd name="connsiteY37" fmla="*/ 659283 h 795676"/>
                <a:gd name="connsiteX38" fmla="*/ 139544 w 1471018"/>
                <a:gd name="connsiteY38" fmla="*/ 683588 h 795676"/>
                <a:gd name="connsiteX39" fmla="*/ 115239 w 1471018"/>
                <a:gd name="connsiteY39" fmla="*/ 677512 h 795676"/>
                <a:gd name="connsiteX40" fmla="*/ 121315 w 1471018"/>
                <a:gd name="connsiteY40" fmla="*/ 653207 h 795676"/>
                <a:gd name="connsiteX41" fmla="*/ 132328 w 1471018"/>
                <a:gd name="connsiteY41" fmla="*/ 650549 h 795676"/>
                <a:gd name="connsiteX42" fmla="*/ 642709 w 1471018"/>
                <a:gd name="connsiteY42" fmla="*/ 641435 h 795676"/>
                <a:gd name="connsiteX43" fmla="*/ 656001 w 1471018"/>
                <a:gd name="connsiteY43" fmla="*/ 650169 h 795676"/>
                <a:gd name="connsiteX44" fmla="*/ 649925 w 1471018"/>
                <a:gd name="connsiteY44" fmla="*/ 674474 h 795676"/>
                <a:gd name="connsiteX45" fmla="*/ 625620 w 1471018"/>
                <a:gd name="connsiteY45" fmla="*/ 668398 h 795676"/>
                <a:gd name="connsiteX46" fmla="*/ 631696 w 1471018"/>
                <a:gd name="connsiteY46" fmla="*/ 644093 h 795676"/>
                <a:gd name="connsiteX47" fmla="*/ 642709 w 1471018"/>
                <a:gd name="connsiteY47" fmla="*/ 641435 h 795676"/>
                <a:gd name="connsiteX48" fmla="*/ 235618 w 1471018"/>
                <a:gd name="connsiteY48" fmla="*/ 641435 h 795676"/>
                <a:gd name="connsiteX49" fmla="*/ 248910 w 1471018"/>
                <a:gd name="connsiteY49" fmla="*/ 650169 h 795676"/>
                <a:gd name="connsiteX50" fmla="*/ 242833 w 1471018"/>
                <a:gd name="connsiteY50" fmla="*/ 674474 h 795676"/>
                <a:gd name="connsiteX51" fmla="*/ 218529 w 1471018"/>
                <a:gd name="connsiteY51" fmla="*/ 668398 h 795676"/>
                <a:gd name="connsiteX52" fmla="*/ 224605 w 1471018"/>
                <a:gd name="connsiteY52" fmla="*/ 644093 h 795676"/>
                <a:gd name="connsiteX53" fmla="*/ 235618 w 1471018"/>
                <a:gd name="connsiteY53" fmla="*/ 641435 h 795676"/>
                <a:gd name="connsiteX54" fmla="*/ 338904 w 1471018"/>
                <a:gd name="connsiteY54" fmla="*/ 629283 h 795676"/>
                <a:gd name="connsiteX55" fmla="*/ 352196 w 1471018"/>
                <a:gd name="connsiteY55" fmla="*/ 638017 h 795676"/>
                <a:gd name="connsiteX56" fmla="*/ 346120 w 1471018"/>
                <a:gd name="connsiteY56" fmla="*/ 662322 h 795676"/>
                <a:gd name="connsiteX57" fmla="*/ 321815 w 1471018"/>
                <a:gd name="connsiteY57" fmla="*/ 656246 h 795676"/>
                <a:gd name="connsiteX58" fmla="*/ 327891 w 1471018"/>
                <a:gd name="connsiteY58" fmla="*/ 631941 h 795676"/>
                <a:gd name="connsiteX59" fmla="*/ 338904 w 1471018"/>
                <a:gd name="connsiteY59" fmla="*/ 629283 h 795676"/>
                <a:gd name="connsiteX60" fmla="*/ 32070 w 1471018"/>
                <a:gd name="connsiteY60" fmla="*/ 601940 h 795676"/>
                <a:gd name="connsiteX61" fmla="*/ 45361 w 1471018"/>
                <a:gd name="connsiteY61" fmla="*/ 610674 h 795676"/>
                <a:gd name="connsiteX62" fmla="*/ 39285 w 1471018"/>
                <a:gd name="connsiteY62" fmla="*/ 634979 h 795676"/>
                <a:gd name="connsiteX63" fmla="*/ 14981 w 1471018"/>
                <a:gd name="connsiteY63" fmla="*/ 628903 h 795676"/>
                <a:gd name="connsiteX64" fmla="*/ 21056 w 1471018"/>
                <a:gd name="connsiteY64" fmla="*/ 604598 h 795676"/>
                <a:gd name="connsiteX65" fmla="*/ 32070 w 1471018"/>
                <a:gd name="connsiteY65" fmla="*/ 601940 h 795676"/>
                <a:gd name="connsiteX66" fmla="*/ 752079 w 1471018"/>
                <a:gd name="connsiteY66" fmla="*/ 586750 h 795676"/>
                <a:gd name="connsiteX67" fmla="*/ 765371 w 1471018"/>
                <a:gd name="connsiteY67" fmla="*/ 595484 h 795676"/>
                <a:gd name="connsiteX68" fmla="*/ 759295 w 1471018"/>
                <a:gd name="connsiteY68" fmla="*/ 619789 h 795676"/>
                <a:gd name="connsiteX69" fmla="*/ 734990 w 1471018"/>
                <a:gd name="connsiteY69" fmla="*/ 613713 h 795676"/>
                <a:gd name="connsiteX70" fmla="*/ 741066 w 1471018"/>
                <a:gd name="connsiteY70" fmla="*/ 589408 h 795676"/>
                <a:gd name="connsiteX71" fmla="*/ 752079 w 1471018"/>
                <a:gd name="connsiteY71" fmla="*/ 586750 h 795676"/>
                <a:gd name="connsiteX72" fmla="*/ 436123 w 1471018"/>
                <a:gd name="connsiteY72" fmla="*/ 583712 h 795676"/>
                <a:gd name="connsiteX73" fmla="*/ 449413 w 1471018"/>
                <a:gd name="connsiteY73" fmla="*/ 592446 h 795676"/>
                <a:gd name="connsiteX74" fmla="*/ 443339 w 1471018"/>
                <a:gd name="connsiteY74" fmla="*/ 616751 h 795676"/>
                <a:gd name="connsiteX75" fmla="*/ 419039 w 1471018"/>
                <a:gd name="connsiteY75" fmla="*/ 610675 h 795676"/>
                <a:gd name="connsiteX76" fmla="*/ 425114 w 1471018"/>
                <a:gd name="connsiteY76" fmla="*/ 586370 h 795676"/>
                <a:gd name="connsiteX77" fmla="*/ 436123 w 1471018"/>
                <a:gd name="connsiteY77" fmla="*/ 583712 h 795676"/>
                <a:gd name="connsiteX78" fmla="*/ 548529 w 1471018"/>
                <a:gd name="connsiteY78" fmla="*/ 556370 h 795676"/>
                <a:gd name="connsiteX79" fmla="*/ 561821 w 1471018"/>
                <a:gd name="connsiteY79" fmla="*/ 565104 h 795676"/>
                <a:gd name="connsiteX80" fmla="*/ 555745 w 1471018"/>
                <a:gd name="connsiteY80" fmla="*/ 589409 h 795676"/>
                <a:gd name="connsiteX81" fmla="*/ 531440 w 1471018"/>
                <a:gd name="connsiteY81" fmla="*/ 583333 h 795676"/>
                <a:gd name="connsiteX82" fmla="*/ 537516 w 1471018"/>
                <a:gd name="connsiteY82" fmla="*/ 559028 h 795676"/>
                <a:gd name="connsiteX83" fmla="*/ 548529 w 1471018"/>
                <a:gd name="connsiteY83" fmla="*/ 556370 h 795676"/>
                <a:gd name="connsiteX84" fmla="*/ 852335 w 1471018"/>
                <a:gd name="connsiteY84" fmla="*/ 550293 h 795676"/>
                <a:gd name="connsiteX85" fmla="*/ 865627 w 1471018"/>
                <a:gd name="connsiteY85" fmla="*/ 559027 h 795676"/>
                <a:gd name="connsiteX86" fmla="*/ 859551 w 1471018"/>
                <a:gd name="connsiteY86" fmla="*/ 583332 h 795676"/>
                <a:gd name="connsiteX87" fmla="*/ 835246 w 1471018"/>
                <a:gd name="connsiteY87" fmla="*/ 577256 h 795676"/>
                <a:gd name="connsiteX88" fmla="*/ 841322 w 1471018"/>
                <a:gd name="connsiteY88" fmla="*/ 552951 h 795676"/>
                <a:gd name="connsiteX89" fmla="*/ 852335 w 1471018"/>
                <a:gd name="connsiteY89" fmla="*/ 550293 h 795676"/>
                <a:gd name="connsiteX90" fmla="*/ 667013 w 1471018"/>
                <a:gd name="connsiteY90" fmla="*/ 532065 h 795676"/>
                <a:gd name="connsiteX91" fmla="*/ 680305 w 1471018"/>
                <a:gd name="connsiteY91" fmla="*/ 540799 h 795676"/>
                <a:gd name="connsiteX92" fmla="*/ 674229 w 1471018"/>
                <a:gd name="connsiteY92" fmla="*/ 565104 h 795676"/>
                <a:gd name="connsiteX93" fmla="*/ 649924 w 1471018"/>
                <a:gd name="connsiteY93" fmla="*/ 559028 h 795676"/>
                <a:gd name="connsiteX94" fmla="*/ 656000 w 1471018"/>
                <a:gd name="connsiteY94" fmla="*/ 534723 h 795676"/>
                <a:gd name="connsiteX95" fmla="*/ 667013 w 1471018"/>
                <a:gd name="connsiteY95" fmla="*/ 532065 h 795676"/>
                <a:gd name="connsiteX96" fmla="*/ 126251 w 1471018"/>
                <a:gd name="connsiteY96" fmla="*/ 532065 h 795676"/>
                <a:gd name="connsiteX97" fmla="*/ 139543 w 1471018"/>
                <a:gd name="connsiteY97" fmla="*/ 540799 h 795676"/>
                <a:gd name="connsiteX98" fmla="*/ 133467 w 1471018"/>
                <a:gd name="connsiteY98" fmla="*/ 565104 h 795676"/>
                <a:gd name="connsiteX99" fmla="*/ 109162 w 1471018"/>
                <a:gd name="connsiteY99" fmla="*/ 559028 h 795676"/>
                <a:gd name="connsiteX100" fmla="*/ 115238 w 1471018"/>
                <a:gd name="connsiteY100" fmla="*/ 534723 h 795676"/>
                <a:gd name="connsiteX101" fmla="*/ 126251 w 1471018"/>
                <a:gd name="connsiteY101" fmla="*/ 532065 h 795676"/>
                <a:gd name="connsiteX102" fmla="*/ 226503 w 1471018"/>
                <a:gd name="connsiteY102" fmla="*/ 529027 h 795676"/>
                <a:gd name="connsiteX103" fmla="*/ 239794 w 1471018"/>
                <a:gd name="connsiteY103" fmla="*/ 537761 h 795676"/>
                <a:gd name="connsiteX104" fmla="*/ 233718 w 1471018"/>
                <a:gd name="connsiteY104" fmla="*/ 562066 h 795676"/>
                <a:gd name="connsiteX105" fmla="*/ 209414 w 1471018"/>
                <a:gd name="connsiteY105" fmla="*/ 555990 h 795676"/>
                <a:gd name="connsiteX106" fmla="*/ 215490 w 1471018"/>
                <a:gd name="connsiteY106" fmla="*/ 531685 h 795676"/>
                <a:gd name="connsiteX107" fmla="*/ 226503 w 1471018"/>
                <a:gd name="connsiteY107" fmla="*/ 529027 h 795676"/>
                <a:gd name="connsiteX108" fmla="*/ 332836 w 1471018"/>
                <a:gd name="connsiteY108" fmla="*/ 519913 h 795676"/>
                <a:gd name="connsiteX109" fmla="*/ 346128 w 1471018"/>
                <a:gd name="connsiteY109" fmla="*/ 528647 h 795676"/>
                <a:gd name="connsiteX110" fmla="*/ 340052 w 1471018"/>
                <a:gd name="connsiteY110" fmla="*/ 552952 h 795676"/>
                <a:gd name="connsiteX111" fmla="*/ 315748 w 1471018"/>
                <a:gd name="connsiteY111" fmla="*/ 546876 h 795676"/>
                <a:gd name="connsiteX112" fmla="*/ 321823 w 1471018"/>
                <a:gd name="connsiteY112" fmla="*/ 522571 h 795676"/>
                <a:gd name="connsiteX113" fmla="*/ 332836 w 1471018"/>
                <a:gd name="connsiteY113" fmla="*/ 519913 h 795676"/>
                <a:gd name="connsiteX114" fmla="*/ 7768 w 1471018"/>
                <a:gd name="connsiteY114" fmla="*/ 507761 h 795676"/>
                <a:gd name="connsiteX115" fmla="*/ 21060 w 1471018"/>
                <a:gd name="connsiteY115" fmla="*/ 516495 h 795676"/>
                <a:gd name="connsiteX116" fmla="*/ 14984 w 1471018"/>
                <a:gd name="connsiteY116" fmla="*/ 540800 h 795676"/>
                <a:gd name="connsiteX117" fmla="*/ 2831 w 1471018"/>
                <a:gd name="connsiteY117" fmla="*/ 543458 h 795676"/>
                <a:gd name="connsiteX118" fmla="*/ 0 w 1471018"/>
                <a:gd name="connsiteY118" fmla="*/ 541423 h 795676"/>
                <a:gd name="connsiteX119" fmla="*/ 0 w 1471018"/>
                <a:gd name="connsiteY119" fmla="*/ 509636 h 795676"/>
                <a:gd name="connsiteX120" fmla="*/ 946515 w 1471018"/>
                <a:gd name="connsiteY120" fmla="*/ 486494 h 795676"/>
                <a:gd name="connsiteX121" fmla="*/ 959807 w 1471018"/>
                <a:gd name="connsiteY121" fmla="*/ 495228 h 795676"/>
                <a:gd name="connsiteX122" fmla="*/ 953731 w 1471018"/>
                <a:gd name="connsiteY122" fmla="*/ 519533 h 795676"/>
                <a:gd name="connsiteX123" fmla="*/ 929426 w 1471018"/>
                <a:gd name="connsiteY123" fmla="*/ 513457 h 795676"/>
                <a:gd name="connsiteX124" fmla="*/ 935502 w 1471018"/>
                <a:gd name="connsiteY124" fmla="*/ 489152 h 795676"/>
                <a:gd name="connsiteX125" fmla="*/ 946515 w 1471018"/>
                <a:gd name="connsiteY125" fmla="*/ 486494 h 795676"/>
                <a:gd name="connsiteX126" fmla="*/ 457386 w 1471018"/>
                <a:gd name="connsiteY126" fmla="*/ 483456 h 795676"/>
                <a:gd name="connsiteX127" fmla="*/ 470679 w 1471018"/>
                <a:gd name="connsiteY127" fmla="*/ 492190 h 795676"/>
                <a:gd name="connsiteX128" fmla="*/ 464601 w 1471018"/>
                <a:gd name="connsiteY128" fmla="*/ 516495 h 795676"/>
                <a:gd name="connsiteX129" fmla="*/ 440300 w 1471018"/>
                <a:gd name="connsiteY129" fmla="*/ 510419 h 795676"/>
                <a:gd name="connsiteX130" fmla="*/ 446374 w 1471018"/>
                <a:gd name="connsiteY130" fmla="*/ 486114 h 795676"/>
                <a:gd name="connsiteX131" fmla="*/ 457386 w 1471018"/>
                <a:gd name="connsiteY131" fmla="*/ 483456 h 795676"/>
                <a:gd name="connsiteX132" fmla="*/ 821954 w 1471018"/>
                <a:gd name="connsiteY132" fmla="*/ 456114 h 795676"/>
                <a:gd name="connsiteX133" fmla="*/ 835246 w 1471018"/>
                <a:gd name="connsiteY133" fmla="*/ 464848 h 795676"/>
                <a:gd name="connsiteX134" fmla="*/ 829170 w 1471018"/>
                <a:gd name="connsiteY134" fmla="*/ 489153 h 795676"/>
                <a:gd name="connsiteX135" fmla="*/ 804865 w 1471018"/>
                <a:gd name="connsiteY135" fmla="*/ 483077 h 795676"/>
                <a:gd name="connsiteX136" fmla="*/ 810941 w 1471018"/>
                <a:gd name="connsiteY136" fmla="*/ 458772 h 795676"/>
                <a:gd name="connsiteX137" fmla="*/ 821954 w 1471018"/>
                <a:gd name="connsiteY137" fmla="*/ 456114 h 795676"/>
                <a:gd name="connsiteX138" fmla="*/ 584986 w 1471018"/>
                <a:gd name="connsiteY138" fmla="*/ 456114 h 795676"/>
                <a:gd name="connsiteX139" fmla="*/ 598278 w 1471018"/>
                <a:gd name="connsiteY139" fmla="*/ 464848 h 795676"/>
                <a:gd name="connsiteX140" fmla="*/ 592202 w 1471018"/>
                <a:gd name="connsiteY140" fmla="*/ 489153 h 795676"/>
                <a:gd name="connsiteX141" fmla="*/ 567897 w 1471018"/>
                <a:gd name="connsiteY141" fmla="*/ 483077 h 795676"/>
                <a:gd name="connsiteX142" fmla="*/ 573973 w 1471018"/>
                <a:gd name="connsiteY142" fmla="*/ 458772 h 795676"/>
                <a:gd name="connsiteX143" fmla="*/ 584986 w 1471018"/>
                <a:gd name="connsiteY143" fmla="*/ 456114 h 795676"/>
                <a:gd name="connsiteX144" fmla="*/ 718660 w 1471018"/>
                <a:gd name="connsiteY144" fmla="*/ 443961 h 795676"/>
                <a:gd name="connsiteX145" fmla="*/ 731952 w 1471018"/>
                <a:gd name="connsiteY145" fmla="*/ 452695 h 795676"/>
                <a:gd name="connsiteX146" fmla="*/ 725876 w 1471018"/>
                <a:gd name="connsiteY146" fmla="*/ 477000 h 795676"/>
                <a:gd name="connsiteX147" fmla="*/ 701571 w 1471018"/>
                <a:gd name="connsiteY147" fmla="*/ 470924 h 795676"/>
                <a:gd name="connsiteX148" fmla="*/ 707647 w 1471018"/>
                <a:gd name="connsiteY148" fmla="*/ 446619 h 795676"/>
                <a:gd name="connsiteX149" fmla="*/ 718660 w 1471018"/>
                <a:gd name="connsiteY149" fmla="*/ 443961 h 795676"/>
                <a:gd name="connsiteX150" fmla="*/ 1016390 w 1471018"/>
                <a:gd name="connsiteY150" fmla="*/ 425733 h 795676"/>
                <a:gd name="connsiteX151" fmla="*/ 1029681 w 1471018"/>
                <a:gd name="connsiteY151" fmla="*/ 434467 h 795676"/>
                <a:gd name="connsiteX152" fmla="*/ 1023605 w 1471018"/>
                <a:gd name="connsiteY152" fmla="*/ 458772 h 795676"/>
                <a:gd name="connsiteX153" fmla="*/ 999301 w 1471018"/>
                <a:gd name="connsiteY153" fmla="*/ 452696 h 795676"/>
                <a:gd name="connsiteX154" fmla="*/ 1005377 w 1471018"/>
                <a:gd name="connsiteY154" fmla="*/ 428391 h 795676"/>
                <a:gd name="connsiteX155" fmla="*/ 1016390 w 1471018"/>
                <a:gd name="connsiteY155" fmla="*/ 425733 h 795676"/>
                <a:gd name="connsiteX156" fmla="*/ 250806 w 1471018"/>
                <a:gd name="connsiteY156" fmla="*/ 416619 h 795676"/>
                <a:gd name="connsiteX157" fmla="*/ 264098 w 1471018"/>
                <a:gd name="connsiteY157" fmla="*/ 425353 h 795676"/>
                <a:gd name="connsiteX158" fmla="*/ 258022 w 1471018"/>
                <a:gd name="connsiteY158" fmla="*/ 449658 h 795676"/>
                <a:gd name="connsiteX159" fmla="*/ 233717 w 1471018"/>
                <a:gd name="connsiteY159" fmla="*/ 443582 h 795676"/>
                <a:gd name="connsiteX160" fmla="*/ 239793 w 1471018"/>
                <a:gd name="connsiteY160" fmla="*/ 419277 h 795676"/>
                <a:gd name="connsiteX161" fmla="*/ 250806 w 1471018"/>
                <a:gd name="connsiteY161" fmla="*/ 416619 h 795676"/>
                <a:gd name="connsiteX162" fmla="*/ 144467 w 1471018"/>
                <a:gd name="connsiteY162" fmla="*/ 416619 h 795676"/>
                <a:gd name="connsiteX163" fmla="*/ 157759 w 1471018"/>
                <a:gd name="connsiteY163" fmla="*/ 425353 h 795676"/>
                <a:gd name="connsiteX164" fmla="*/ 151683 w 1471018"/>
                <a:gd name="connsiteY164" fmla="*/ 449658 h 795676"/>
                <a:gd name="connsiteX165" fmla="*/ 127378 w 1471018"/>
                <a:gd name="connsiteY165" fmla="*/ 443582 h 795676"/>
                <a:gd name="connsiteX166" fmla="*/ 133454 w 1471018"/>
                <a:gd name="connsiteY166" fmla="*/ 419277 h 795676"/>
                <a:gd name="connsiteX167" fmla="*/ 144467 w 1471018"/>
                <a:gd name="connsiteY167" fmla="*/ 416619 h 795676"/>
                <a:gd name="connsiteX168" fmla="*/ 29033 w 1471018"/>
                <a:gd name="connsiteY168" fmla="*/ 416619 h 795676"/>
                <a:gd name="connsiteX169" fmla="*/ 42324 w 1471018"/>
                <a:gd name="connsiteY169" fmla="*/ 425353 h 795676"/>
                <a:gd name="connsiteX170" fmla="*/ 36248 w 1471018"/>
                <a:gd name="connsiteY170" fmla="*/ 449658 h 795676"/>
                <a:gd name="connsiteX171" fmla="*/ 11944 w 1471018"/>
                <a:gd name="connsiteY171" fmla="*/ 443582 h 795676"/>
                <a:gd name="connsiteX172" fmla="*/ 18020 w 1471018"/>
                <a:gd name="connsiteY172" fmla="*/ 419277 h 795676"/>
                <a:gd name="connsiteX173" fmla="*/ 29033 w 1471018"/>
                <a:gd name="connsiteY173" fmla="*/ 416619 h 795676"/>
                <a:gd name="connsiteX174" fmla="*/ 360172 w 1471018"/>
                <a:gd name="connsiteY174" fmla="*/ 410543 h 795676"/>
                <a:gd name="connsiteX175" fmla="*/ 373464 w 1471018"/>
                <a:gd name="connsiteY175" fmla="*/ 419277 h 795676"/>
                <a:gd name="connsiteX176" fmla="*/ 367388 w 1471018"/>
                <a:gd name="connsiteY176" fmla="*/ 443582 h 795676"/>
                <a:gd name="connsiteX177" fmla="*/ 343083 w 1471018"/>
                <a:gd name="connsiteY177" fmla="*/ 437506 h 795676"/>
                <a:gd name="connsiteX178" fmla="*/ 349159 w 1471018"/>
                <a:gd name="connsiteY178" fmla="*/ 413201 h 795676"/>
                <a:gd name="connsiteX179" fmla="*/ 360172 w 1471018"/>
                <a:gd name="connsiteY179" fmla="*/ 410543 h 795676"/>
                <a:gd name="connsiteX180" fmla="*/ 1110570 w 1471018"/>
                <a:gd name="connsiteY180" fmla="*/ 389276 h 795676"/>
                <a:gd name="connsiteX181" fmla="*/ 1123862 w 1471018"/>
                <a:gd name="connsiteY181" fmla="*/ 398010 h 795676"/>
                <a:gd name="connsiteX182" fmla="*/ 1117786 w 1471018"/>
                <a:gd name="connsiteY182" fmla="*/ 422315 h 795676"/>
                <a:gd name="connsiteX183" fmla="*/ 1093481 w 1471018"/>
                <a:gd name="connsiteY183" fmla="*/ 416239 h 795676"/>
                <a:gd name="connsiteX184" fmla="*/ 1099557 w 1471018"/>
                <a:gd name="connsiteY184" fmla="*/ 391934 h 795676"/>
                <a:gd name="connsiteX185" fmla="*/ 1110570 w 1471018"/>
                <a:gd name="connsiteY185" fmla="*/ 389276 h 795676"/>
                <a:gd name="connsiteX186" fmla="*/ 490806 w 1471018"/>
                <a:gd name="connsiteY186" fmla="*/ 383200 h 795676"/>
                <a:gd name="connsiteX187" fmla="*/ 504098 w 1471018"/>
                <a:gd name="connsiteY187" fmla="*/ 391934 h 795676"/>
                <a:gd name="connsiteX188" fmla="*/ 498022 w 1471018"/>
                <a:gd name="connsiteY188" fmla="*/ 416239 h 795676"/>
                <a:gd name="connsiteX189" fmla="*/ 473717 w 1471018"/>
                <a:gd name="connsiteY189" fmla="*/ 410163 h 795676"/>
                <a:gd name="connsiteX190" fmla="*/ 479793 w 1471018"/>
                <a:gd name="connsiteY190" fmla="*/ 385858 h 795676"/>
                <a:gd name="connsiteX191" fmla="*/ 490806 w 1471018"/>
                <a:gd name="connsiteY191" fmla="*/ 383200 h 795676"/>
                <a:gd name="connsiteX192" fmla="*/ 900944 w 1471018"/>
                <a:gd name="connsiteY192" fmla="*/ 380162 h 795676"/>
                <a:gd name="connsiteX193" fmla="*/ 914236 w 1471018"/>
                <a:gd name="connsiteY193" fmla="*/ 388896 h 795676"/>
                <a:gd name="connsiteX194" fmla="*/ 908160 w 1471018"/>
                <a:gd name="connsiteY194" fmla="*/ 413201 h 795676"/>
                <a:gd name="connsiteX195" fmla="*/ 883855 w 1471018"/>
                <a:gd name="connsiteY195" fmla="*/ 407125 h 795676"/>
                <a:gd name="connsiteX196" fmla="*/ 889931 w 1471018"/>
                <a:gd name="connsiteY196" fmla="*/ 382820 h 795676"/>
                <a:gd name="connsiteX197" fmla="*/ 900944 w 1471018"/>
                <a:gd name="connsiteY197" fmla="*/ 380162 h 795676"/>
                <a:gd name="connsiteX198" fmla="*/ 618404 w 1471018"/>
                <a:gd name="connsiteY198" fmla="*/ 361934 h 795676"/>
                <a:gd name="connsiteX199" fmla="*/ 631696 w 1471018"/>
                <a:gd name="connsiteY199" fmla="*/ 370668 h 795676"/>
                <a:gd name="connsiteX200" fmla="*/ 625620 w 1471018"/>
                <a:gd name="connsiteY200" fmla="*/ 394973 h 795676"/>
                <a:gd name="connsiteX201" fmla="*/ 601315 w 1471018"/>
                <a:gd name="connsiteY201" fmla="*/ 388897 h 795676"/>
                <a:gd name="connsiteX202" fmla="*/ 607391 w 1471018"/>
                <a:gd name="connsiteY202" fmla="*/ 364592 h 795676"/>
                <a:gd name="connsiteX203" fmla="*/ 618404 w 1471018"/>
                <a:gd name="connsiteY203" fmla="*/ 361934 h 795676"/>
                <a:gd name="connsiteX204" fmla="*/ 749041 w 1471018"/>
                <a:gd name="connsiteY204" fmla="*/ 355858 h 795676"/>
                <a:gd name="connsiteX205" fmla="*/ 762333 w 1471018"/>
                <a:gd name="connsiteY205" fmla="*/ 364592 h 795676"/>
                <a:gd name="connsiteX206" fmla="*/ 756257 w 1471018"/>
                <a:gd name="connsiteY206" fmla="*/ 388897 h 795676"/>
                <a:gd name="connsiteX207" fmla="*/ 731952 w 1471018"/>
                <a:gd name="connsiteY207" fmla="*/ 382821 h 795676"/>
                <a:gd name="connsiteX208" fmla="*/ 738028 w 1471018"/>
                <a:gd name="connsiteY208" fmla="*/ 358516 h 795676"/>
                <a:gd name="connsiteX209" fmla="*/ 749041 w 1471018"/>
                <a:gd name="connsiteY209" fmla="*/ 355858 h 795676"/>
                <a:gd name="connsiteX210" fmla="*/ 10801 w 1471018"/>
                <a:gd name="connsiteY210" fmla="*/ 334591 h 795676"/>
                <a:gd name="connsiteX211" fmla="*/ 24093 w 1471018"/>
                <a:gd name="connsiteY211" fmla="*/ 343325 h 795676"/>
                <a:gd name="connsiteX212" fmla="*/ 18017 w 1471018"/>
                <a:gd name="connsiteY212" fmla="*/ 367630 h 795676"/>
                <a:gd name="connsiteX213" fmla="*/ 5865 w 1471018"/>
                <a:gd name="connsiteY213" fmla="*/ 370288 h 795676"/>
                <a:gd name="connsiteX214" fmla="*/ 0 w 1471018"/>
                <a:gd name="connsiteY214" fmla="*/ 366073 h 795676"/>
                <a:gd name="connsiteX215" fmla="*/ 0 w 1471018"/>
                <a:gd name="connsiteY215" fmla="*/ 337198 h 795676"/>
                <a:gd name="connsiteX216" fmla="*/ 1213864 w 1471018"/>
                <a:gd name="connsiteY216" fmla="*/ 313325 h 795676"/>
                <a:gd name="connsiteX217" fmla="*/ 1227156 w 1471018"/>
                <a:gd name="connsiteY217" fmla="*/ 322059 h 795676"/>
                <a:gd name="connsiteX218" fmla="*/ 1221080 w 1471018"/>
                <a:gd name="connsiteY218" fmla="*/ 346364 h 795676"/>
                <a:gd name="connsiteX219" fmla="*/ 1196775 w 1471018"/>
                <a:gd name="connsiteY219" fmla="*/ 340288 h 795676"/>
                <a:gd name="connsiteX220" fmla="*/ 1202851 w 1471018"/>
                <a:gd name="connsiteY220" fmla="*/ 315983 h 795676"/>
                <a:gd name="connsiteX221" fmla="*/ 1213864 w 1471018"/>
                <a:gd name="connsiteY221" fmla="*/ 313325 h 795676"/>
                <a:gd name="connsiteX222" fmla="*/ 211313 w 1471018"/>
                <a:gd name="connsiteY222" fmla="*/ 313325 h 795676"/>
                <a:gd name="connsiteX223" fmla="*/ 224605 w 1471018"/>
                <a:gd name="connsiteY223" fmla="*/ 322059 h 795676"/>
                <a:gd name="connsiteX224" fmla="*/ 218529 w 1471018"/>
                <a:gd name="connsiteY224" fmla="*/ 346364 h 795676"/>
                <a:gd name="connsiteX225" fmla="*/ 194224 w 1471018"/>
                <a:gd name="connsiteY225" fmla="*/ 340288 h 795676"/>
                <a:gd name="connsiteX226" fmla="*/ 200300 w 1471018"/>
                <a:gd name="connsiteY226" fmla="*/ 315983 h 795676"/>
                <a:gd name="connsiteX227" fmla="*/ 211313 w 1471018"/>
                <a:gd name="connsiteY227" fmla="*/ 313325 h 795676"/>
                <a:gd name="connsiteX228" fmla="*/ 314600 w 1471018"/>
                <a:gd name="connsiteY228" fmla="*/ 301172 h 795676"/>
                <a:gd name="connsiteX229" fmla="*/ 327892 w 1471018"/>
                <a:gd name="connsiteY229" fmla="*/ 309906 h 795676"/>
                <a:gd name="connsiteX230" fmla="*/ 321816 w 1471018"/>
                <a:gd name="connsiteY230" fmla="*/ 334211 h 795676"/>
                <a:gd name="connsiteX231" fmla="*/ 297511 w 1471018"/>
                <a:gd name="connsiteY231" fmla="*/ 328135 h 795676"/>
                <a:gd name="connsiteX232" fmla="*/ 303587 w 1471018"/>
                <a:gd name="connsiteY232" fmla="*/ 303830 h 795676"/>
                <a:gd name="connsiteX233" fmla="*/ 314600 w 1471018"/>
                <a:gd name="connsiteY233" fmla="*/ 301172 h 795676"/>
                <a:gd name="connsiteX234" fmla="*/ 982972 w 1471018"/>
                <a:gd name="connsiteY234" fmla="*/ 298134 h 795676"/>
                <a:gd name="connsiteX235" fmla="*/ 996264 w 1471018"/>
                <a:gd name="connsiteY235" fmla="*/ 306868 h 795676"/>
                <a:gd name="connsiteX236" fmla="*/ 990188 w 1471018"/>
                <a:gd name="connsiteY236" fmla="*/ 331173 h 795676"/>
                <a:gd name="connsiteX237" fmla="*/ 965883 w 1471018"/>
                <a:gd name="connsiteY237" fmla="*/ 325097 h 795676"/>
                <a:gd name="connsiteX238" fmla="*/ 971959 w 1471018"/>
                <a:gd name="connsiteY238" fmla="*/ 300792 h 795676"/>
                <a:gd name="connsiteX239" fmla="*/ 982972 w 1471018"/>
                <a:gd name="connsiteY239" fmla="*/ 298134 h 795676"/>
                <a:gd name="connsiteX240" fmla="*/ 417898 w 1471018"/>
                <a:gd name="connsiteY240" fmla="*/ 298134 h 795676"/>
                <a:gd name="connsiteX241" fmla="*/ 431187 w 1471018"/>
                <a:gd name="connsiteY241" fmla="*/ 306868 h 795676"/>
                <a:gd name="connsiteX242" fmla="*/ 425112 w 1471018"/>
                <a:gd name="connsiteY242" fmla="*/ 331173 h 795676"/>
                <a:gd name="connsiteX243" fmla="*/ 400806 w 1471018"/>
                <a:gd name="connsiteY243" fmla="*/ 325097 h 795676"/>
                <a:gd name="connsiteX244" fmla="*/ 406884 w 1471018"/>
                <a:gd name="connsiteY244" fmla="*/ 300792 h 795676"/>
                <a:gd name="connsiteX245" fmla="*/ 417898 w 1471018"/>
                <a:gd name="connsiteY245" fmla="*/ 298134 h 795676"/>
                <a:gd name="connsiteX246" fmla="*/ 858411 w 1471018"/>
                <a:gd name="connsiteY246" fmla="*/ 295096 h 795676"/>
                <a:gd name="connsiteX247" fmla="*/ 871703 w 1471018"/>
                <a:gd name="connsiteY247" fmla="*/ 303830 h 795676"/>
                <a:gd name="connsiteX248" fmla="*/ 865627 w 1471018"/>
                <a:gd name="connsiteY248" fmla="*/ 328135 h 795676"/>
                <a:gd name="connsiteX249" fmla="*/ 841322 w 1471018"/>
                <a:gd name="connsiteY249" fmla="*/ 322059 h 795676"/>
                <a:gd name="connsiteX250" fmla="*/ 847398 w 1471018"/>
                <a:gd name="connsiteY250" fmla="*/ 297754 h 795676"/>
                <a:gd name="connsiteX251" fmla="*/ 858411 w 1471018"/>
                <a:gd name="connsiteY251" fmla="*/ 295096 h 795676"/>
                <a:gd name="connsiteX252" fmla="*/ 1095380 w 1471018"/>
                <a:gd name="connsiteY252" fmla="*/ 292058 h 795676"/>
                <a:gd name="connsiteX253" fmla="*/ 1108672 w 1471018"/>
                <a:gd name="connsiteY253" fmla="*/ 300792 h 795676"/>
                <a:gd name="connsiteX254" fmla="*/ 1102596 w 1471018"/>
                <a:gd name="connsiteY254" fmla="*/ 325097 h 795676"/>
                <a:gd name="connsiteX255" fmla="*/ 1078291 w 1471018"/>
                <a:gd name="connsiteY255" fmla="*/ 319021 h 795676"/>
                <a:gd name="connsiteX256" fmla="*/ 1084367 w 1471018"/>
                <a:gd name="connsiteY256" fmla="*/ 294716 h 795676"/>
                <a:gd name="connsiteX257" fmla="*/ 1095380 w 1471018"/>
                <a:gd name="connsiteY257" fmla="*/ 292058 h 795676"/>
                <a:gd name="connsiteX258" fmla="*/ 108024 w 1471018"/>
                <a:gd name="connsiteY258" fmla="*/ 289020 h 795676"/>
                <a:gd name="connsiteX259" fmla="*/ 121316 w 1471018"/>
                <a:gd name="connsiteY259" fmla="*/ 297754 h 795676"/>
                <a:gd name="connsiteX260" fmla="*/ 115240 w 1471018"/>
                <a:gd name="connsiteY260" fmla="*/ 322059 h 795676"/>
                <a:gd name="connsiteX261" fmla="*/ 90935 w 1471018"/>
                <a:gd name="connsiteY261" fmla="*/ 315983 h 795676"/>
                <a:gd name="connsiteX262" fmla="*/ 97011 w 1471018"/>
                <a:gd name="connsiteY262" fmla="*/ 291678 h 795676"/>
                <a:gd name="connsiteX263" fmla="*/ 108024 w 1471018"/>
                <a:gd name="connsiteY263" fmla="*/ 289020 h 795676"/>
                <a:gd name="connsiteX264" fmla="*/ 533338 w 1471018"/>
                <a:gd name="connsiteY264" fmla="*/ 270792 h 795676"/>
                <a:gd name="connsiteX265" fmla="*/ 546630 w 1471018"/>
                <a:gd name="connsiteY265" fmla="*/ 279526 h 795676"/>
                <a:gd name="connsiteX266" fmla="*/ 540554 w 1471018"/>
                <a:gd name="connsiteY266" fmla="*/ 303831 h 795676"/>
                <a:gd name="connsiteX267" fmla="*/ 516251 w 1471018"/>
                <a:gd name="connsiteY267" fmla="*/ 297755 h 795676"/>
                <a:gd name="connsiteX268" fmla="*/ 522328 w 1471018"/>
                <a:gd name="connsiteY268" fmla="*/ 273450 h 795676"/>
                <a:gd name="connsiteX269" fmla="*/ 533338 w 1471018"/>
                <a:gd name="connsiteY269" fmla="*/ 270792 h 795676"/>
                <a:gd name="connsiteX270" fmla="*/ 633594 w 1471018"/>
                <a:gd name="connsiteY270" fmla="*/ 261678 h 795676"/>
                <a:gd name="connsiteX271" fmla="*/ 646886 w 1471018"/>
                <a:gd name="connsiteY271" fmla="*/ 270412 h 795676"/>
                <a:gd name="connsiteX272" fmla="*/ 640810 w 1471018"/>
                <a:gd name="connsiteY272" fmla="*/ 294717 h 795676"/>
                <a:gd name="connsiteX273" fmla="*/ 616505 w 1471018"/>
                <a:gd name="connsiteY273" fmla="*/ 288641 h 795676"/>
                <a:gd name="connsiteX274" fmla="*/ 622581 w 1471018"/>
                <a:gd name="connsiteY274" fmla="*/ 264336 h 795676"/>
                <a:gd name="connsiteX275" fmla="*/ 633594 w 1471018"/>
                <a:gd name="connsiteY275" fmla="*/ 261678 h 795676"/>
                <a:gd name="connsiteX276" fmla="*/ 746003 w 1471018"/>
                <a:gd name="connsiteY276" fmla="*/ 258640 h 795676"/>
                <a:gd name="connsiteX277" fmla="*/ 759295 w 1471018"/>
                <a:gd name="connsiteY277" fmla="*/ 267374 h 795676"/>
                <a:gd name="connsiteX278" fmla="*/ 753219 w 1471018"/>
                <a:gd name="connsiteY278" fmla="*/ 291679 h 795676"/>
                <a:gd name="connsiteX279" fmla="*/ 728914 w 1471018"/>
                <a:gd name="connsiteY279" fmla="*/ 285603 h 795676"/>
                <a:gd name="connsiteX280" fmla="*/ 734990 w 1471018"/>
                <a:gd name="connsiteY280" fmla="*/ 261298 h 795676"/>
                <a:gd name="connsiteX281" fmla="*/ 746003 w 1471018"/>
                <a:gd name="connsiteY281" fmla="*/ 258640 h 795676"/>
                <a:gd name="connsiteX282" fmla="*/ 1301968 w 1471018"/>
                <a:gd name="connsiteY282" fmla="*/ 225221 h 795676"/>
                <a:gd name="connsiteX283" fmla="*/ 1315260 w 1471018"/>
                <a:gd name="connsiteY283" fmla="*/ 233955 h 795676"/>
                <a:gd name="connsiteX284" fmla="*/ 1309184 w 1471018"/>
                <a:gd name="connsiteY284" fmla="*/ 258260 h 795676"/>
                <a:gd name="connsiteX285" fmla="*/ 1284879 w 1471018"/>
                <a:gd name="connsiteY285" fmla="*/ 252184 h 795676"/>
                <a:gd name="connsiteX286" fmla="*/ 1290955 w 1471018"/>
                <a:gd name="connsiteY286" fmla="*/ 227879 h 795676"/>
                <a:gd name="connsiteX287" fmla="*/ 1301968 w 1471018"/>
                <a:gd name="connsiteY287" fmla="*/ 225221 h 795676"/>
                <a:gd name="connsiteX288" fmla="*/ 7756 w 1471018"/>
                <a:gd name="connsiteY288" fmla="*/ 225221 h 795676"/>
                <a:gd name="connsiteX289" fmla="*/ 21048 w 1471018"/>
                <a:gd name="connsiteY289" fmla="*/ 233955 h 795676"/>
                <a:gd name="connsiteX290" fmla="*/ 14972 w 1471018"/>
                <a:gd name="connsiteY290" fmla="*/ 258260 h 795676"/>
                <a:gd name="connsiteX291" fmla="*/ 2819 w 1471018"/>
                <a:gd name="connsiteY291" fmla="*/ 260918 h 795676"/>
                <a:gd name="connsiteX292" fmla="*/ 0 w 1471018"/>
                <a:gd name="connsiteY292" fmla="*/ 258892 h 795676"/>
                <a:gd name="connsiteX293" fmla="*/ 0 w 1471018"/>
                <a:gd name="connsiteY293" fmla="*/ 227093 h 795676"/>
                <a:gd name="connsiteX294" fmla="*/ 180938 w 1471018"/>
                <a:gd name="connsiteY294" fmla="*/ 210031 h 795676"/>
                <a:gd name="connsiteX295" fmla="*/ 194229 w 1471018"/>
                <a:gd name="connsiteY295" fmla="*/ 218765 h 795676"/>
                <a:gd name="connsiteX296" fmla="*/ 188153 w 1471018"/>
                <a:gd name="connsiteY296" fmla="*/ 243070 h 795676"/>
                <a:gd name="connsiteX297" fmla="*/ 163849 w 1471018"/>
                <a:gd name="connsiteY297" fmla="*/ 236994 h 795676"/>
                <a:gd name="connsiteX298" fmla="*/ 169925 w 1471018"/>
                <a:gd name="connsiteY298" fmla="*/ 212689 h 795676"/>
                <a:gd name="connsiteX299" fmla="*/ 180938 w 1471018"/>
                <a:gd name="connsiteY299" fmla="*/ 210031 h 795676"/>
                <a:gd name="connsiteX300" fmla="*/ 1183484 w 1471018"/>
                <a:gd name="connsiteY300" fmla="*/ 203954 h 795676"/>
                <a:gd name="connsiteX301" fmla="*/ 1196776 w 1471018"/>
                <a:gd name="connsiteY301" fmla="*/ 212688 h 795676"/>
                <a:gd name="connsiteX302" fmla="*/ 1190700 w 1471018"/>
                <a:gd name="connsiteY302" fmla="*/ 236993 h 795676"/>
                <a:gd name="connsiteX303" fmla="*/ 1166395 w 1471018"/>
                <a:gd name="connsiteY303" fmla="*/ 230917 h 795676"/>
                <a:gd name="connsiteX304" fmla="*/ 1172471 w 1471018"/>
                <a:gd name="connsiteY304" fmla="*/ 206612 h 795676"/>
                <a:gd name="connsiteX305" fmla="*/ 1183484 w 1471018"/>
                <a:gd name="connsiteY305" fmla="*/ 203954 h 795676"/>
                <a:gd name="connsiteX306" fmla="*/ 946515 w 1471018"/>
                <a:gd name="connsiteY306" fmla="*/ 197878 h 795676"/>
                <a:gd name="connsiteX307" fmla="*/ 959807 w 1471018"/>
                <a:gd name="connsiteY307" fmla="*/ 206612 h 795676"/>
                <a:gd name="connsiteX308" fmla="*/ 953731 w 1471018"/>
                <a:gd name="connsiteY308" fmla="*/ 230917 h 795676"/>
                <a:gd name="connsiteX309" fmla="*/ 929426 w 1471018"/>
                <a:gd name="connsiteY309" fmla="*/ 224841 h 795676"/>
                <a:gd name="connsiteX310" fmla="*/ 935502 w 1471018"/>
                <a:gd name="connsiteY310" fmla="*/ 200536 h 795676"/>
                <a:gd name="connsiteX311" fmla="*/ 946515 w 1471018"/>
                <a:gd name="connsiteY311" fmla="*/ 197878 h 795676"/>
                <a:gd name="connsiteX312" fmla="*/ 466501 w 1471018"/>
                <a:gd name="connsiteY312" fmla="*/ 197878 h 795676"/>
                <a:gd name="connsiteX313" fmla="*/ 479793 w 1471018"/>
                <a:gd name="connsiteY313" fmla="*/ 206612 h 795676"/>
                <a:gd name="connsiteX314" fmla="*/ 473717 w 1471018"/>
                <a:gd name="connsiteY314" fmla="*/ 230917 h 795676"/>
                <a:gd name="connsiteX315" fmla="*/ 449412 w 1471018"/>
                <a:gd name="connsiteY315" fmla="*/ 224841 h 795676"/>
                <a:gd name="connsiteX316" fmla="*/ 455486 w 1471018"/>
                <a:gd name="connsiteY316" fmla="*/ 200536 h 795676"/>
                <a:gd name="connsiteX317" fmla="*/ 466501 w 1471018"/>
                <a:gd name="connsiteY317" fmla="*/ 197878 h 795676"/>
                <a:gd name="connsiteX318" fmla="*/ 323717 w 1471018"/>
                <a:gd name="connsiteY318" fmla="*/ 197878 h 795676"/>
                <a:gd name="connsiteX319" fmla="*/ 337009 w 1471018"/>
                <a:gd name="connsiteY319" fmla="*/ 206612 h 795676"/>
                <a:gd name="connsiteX320" fmla="*/ 330933 w 1471018"/>
                <a:gd name="connsiteY320" fmla="*/ 230917 h 795676"/>
                <a:gd name="connsiteX321" fmla="*/ 306628 w 1471018"/>
                <a:gd name="connsiteY321" fmla="*/ 224841 h 795676"/>
                <a:gd name="connsiteX322" fmla="*/ 312704 w 1471018"/>
                <a:gd name="connsiteY322" fmla="*/ 200536 h 795676"/>
                <a:gd name="connsiteX323" fmla="*/ 323717 w 1471018"/>
                <a:gd name="connsiteY323" fmla="*/ 197878 h 795676"/>
                <a:gd name="connsiteX324" fmla="*/ 1074113 w 1471018"/>
                <a:gd name="connsiteY324" fmla="*/ 188764 h 795676"/>
                <a:gd name="connsiteX325" fmla="*/ 1087405 w 1471018"/>
                <a:gd name="connsiteY325" fmla="*/ 197498 h 795676"/>
                <a:gd name="connsiteX326" fmla="*/ 1081329 w 1471018"/>
                <a:gd name="connsiteY326" fmla="*/ 221803 h 795676"/>
                <a:gd name="connsiteX327" fmla="*/ 1057024 w 1471018"/>
                <a:gd name="connsiteY327" fmla="*/ 215727 h 795676"/>
                <a:gd name="connsiteX328" fmla="*/ 1063100 w 1471018"/>
                <a:gd name="connsiteY328" fmla="*/ 191422 h 795676"/>
                <a:gd name="connsiteX329" fmla="*/ 1074113 w 1471018"/>
                <a:gd name="connsiteY329" fmla="*/ 188764 h 795676"/>
                <a:gd name="connsiteX330" fmla="*/ 846259 w 1471018"/>
                <a:gd name="connsiteY330" fmla="*/ 188764 h 795676"/>
                <a:gd name="connsiteX331" fmla="*/ 859551 w 1471018"/>
                <a:gd name="connsiteY331" fmla="*/ 197498 h 795676"/>
                <a:gd name="connsiteX332" fmla="*/ 853475 w 1471018"/>
                <a:gd name="connsiteY332" fmla="*/ 221803 h 795676"/>
                <a:gd name="connsiteX333" fmla="*/ 829170 w 1471018"/>
                <a:gd name="connsiteY333" fmla="*/ 215727 h 795676"/>
                <a:gd name="connsiteX334" fmla="*/ 835246 w 1471018"/>
                <a:gd name="connsiteY334" fmla="*/ 191422 h 795676"/>
                <a:gd name="connsiteX335" fmla="*/ 846259 w 1471018"/>
                <a:gd name="connsiteY335" fmla="*/ 188764 h 795676"/>
                <a:gd name="connsiteX336" fmla="*/ 694356 w 1471018"/>
                <a:gd name="connsiteY336" fmla="*/ 164460 h 795676"/>
                <a:gd name="connsiteX337" fmla="*/ 707648 w 1471018"/>
                <a:gd name="connsiteY337" fmla="*/ 173194 h 795676"/>
                <a:gd name="connsiteX338" fmla="*/ 701572 w 1471018"/>
                <a:gd name="connsiteY338" fmla="*/ 197499 h 795676"/>
                <a:gd name="connsiteX339" fmla="*/ 677267 w 1471018"/>
                <a:gd name="connsiteY339" fmla="*/ 191423 h 795676"/>
                <a:gd name="connsiteX340" fmla="*/ 683343 w 1471018"/>
                <a:gd name="connsiteY340" fmla="*/ 167118 h 795676"/>
                <a:gd name="connsiteX341" fmla="*/ 694356 w 1471018"/>
                <a:gd name="connsiteY341" fmla="*/ 164460 h 795676"/>
                <a:gd name="connsiteX342" fmla="*/ 77635 w 1471018"/>
                <a:gd name="connsiteY342" fmla="*/ 152307 h 795676"/>
                <a:gd name="connsiteX343" fmla="*/ 90926 w 1471018"/>
                <a:gd name="connsiteY343" fmla="*/ 161041 h 795676"/>
                <a:gd name="connsiteX344" fmla="*/ 84851 w 1471018"/>
                <a:gd name="connsiteY344" fmla="*/ 185346 h 795676"/>
                <a:gd name="connsiteX345" fmla="*/ 60546 w 1471018"/>
                <a:gd name="connsiteY345" fmla="*/ 179270 h 795676"/>
                <a:gd name="connsiteX346" fmla="*/ 66622 w 1471018"/>
                <a:gd name="connsiteY346" fmla="*/ 154965 h 795676"/>
                <a:gd name="connsiteX347" fmla="*/ 77635 w 1471018"/>
                <a:gd name="connsiteY347" fmla="*/ 152307 h 795676"/>
                <a:gd name="connsiteX348" fmla="*/ 1377919 w 1471018"/>
                <a:gd name="connsiteY348" fmla="*/ 146231 h 795676"/>
                <a:gd name="connsiteX349" fmla="*/ 1391211 w 1471018"/>
                <a:gd name="connsiteY349" fmla="*/ 154965 h 795676"/>
                <a:gd name="connsiteX350" fmla="*/ 1385135 w 1471018"/>
                <a:gd name="connsiteY350" fmla="*/ 179270 h 795676"/>
                <a:gd name="connsiteX351" fmla="*/ 1360830 w 1471018"/>
                <a:gd name="connsiteY351" fmla="*/ 173194 h 795676"/>
                <a:gd name="connsiteX352" fmla="*/ 1366906 w 1471018"/>
                <a:gd name="connsiteY352" fmla="*/ 148889 h 795676"/>
                <a:gd name="connsiteX353" fmla="*/ 1377919 w 1471018"/>
                <a:gd name="connsiteY353" fmla="*/ 146231 h 795676"/>
                <a:gd name="connsiteX354" fmla="*/ 588024 w 1471018"/>
                <a:gd name="connsiteY354" fmla="*/ 143193 h 795676"/>
                <a:gd name="connsiteX355" fmla="*/ 601316 w 1471018"/>
                <a:gd name="connsiteY355" fmla="*/ 151927 h 795676"/>
                <a:gd name="connsiteX356" fmla="*/ 595240 w 1471018"/>
                <a:gd name="connsiteY356" fmla="*/ 176232 h 795676"/>
                <a:gd name="connsiteX357" fmla="*/ 570935 w 1471018"/>
                <a:gd name="connsiteY357" fmla="*/ 170156 h 795676"/>
                <a:gd name="connsiteX358" fmla="*/ 577011 w 1471018"/>
                <a:gd name="connsiteY358" fmla="*/ 145851 h 795676"/>
                <a:gd name="connsiteX359" fmla="*/ 588024 w 1471018"/>
                <a:gd name="connsiteY359" fmla="*/ 143193 h 795676"/>
                <a:gd name="connsiteX360" fmla="*/ 241687 w 1471018"/>
                <a:gd name="connsiteY360" fmla="*/ 128003 h 795676"/>
                <a:gd name="connsiteX361" fmla="*/ 254979 w 1471018"/>
                <a:gd name="connsiteY361" fmla="*/ 136737 h 795676"/>
                <a:gd name="connsiteX362" fmla="*/ 248903 w 1471018"/>
                <a:gd name="connsiteY362" fmla="*/ 161042 h 795676"/>
                <a:gd name="connsiteX363" fmla="*/ 224598 w 1471018"/>
                <a:gd name="connsiteY363" fmla="*/ 154966 h 795676"/>
                <a:gd name="connsiteX364" fmla="*/ 230674 w 1471018"/>
                <a:gd name="connsiteY364" fmla="*/ 130661 h 795676"/>
                <a:gd name="connsiteX365" fmla="*/ 241687 w 1471018"/>
                <a:gd name="connsiteY365" fmla="*/ 128003 h 795676"/>
                <a:gd name="connsiteX366" fmla="*/ 1259435 w 1471018"/>
                <a:gd name="connsiteY366" fmla="*/ 124965 h 795676"/>
                <a:gd name="connsiteX367" fmla="*/ 1272727 w 1471018"/>
                <a:gd name="connsiteY367" fmla="*/ 133699 h 795676"/>
                <a:gd name="connsiteX368" fmla="*/ 1266651 w 1471018"/>
                <a:gd name="connsiteY368" fmla="*/ 158004 h 795676"/>
                <a:gd name="connsiteX369" fmla="*/ 1242346 w 1471018"/>
                <a:gd name="connsiteY369" fmla="*/ 151928 h 795676"/>
                <a:gd name="connsiteX370" fmla="*/ 1248422 w 1471018"/>
                <a:gd name="connsiteY370" fmla="*/ 127623 h 795676"/>
                <a:gd name="connsiteX371" fmla="*/ 1259435 w 1471018"/>
                <a:gd name="connsiteY371" fmla="*/ 124965 h 795676"/>
                <a:gd name="connsiteX372" fmla="*/ 399672 w 1471018"/>
                <a:gd name="connsiteY372" fmla="*/ 118889 h 795676"/>
                <a:gd name="connsiteX373" fmla="*/ 412966 w 1471018"/>
                <a:gd name="connsiteY373" fmla="*/ 127623 h 795676"/>
                <a:gd name="connsiteX374" fmla="*/ 406890 w 1471018"/>
                <a:gd name="connsiteY374" fmla="*/ 151928 h 795676"/>
                <a:gd name="connsiteX375" fmla="*/ 382584 w 1471018"/>
                <a:gd name="connsiteY375" fmla="*/ 145852 h 795676"/>
                <a:gd name="connsiteX376" fmla="*/ 388658 w 1471018"/>
                <a:gd name="connsiteY376" fmla="*/ 121547 h 795676"/>
                <a:gd name="connsiteX377" fmla="*/ 399672 w 1471018"/>
                <a:gd name="connsiteY377" fmla="*/ 118889 h 795676"/>
                <a:gd name="connsiteX378" fmla="*/ 1004238 w 1471018"/>
                <a:gd name="connsiteY378" fmla="*/ 112813 h 795676"/>
                <a:gd name="connsiteX379" fmla="*/ 1017530 w 1471018"/>
                <a:gd name="connsiteY379" fmla="*/ 121547 h 795676"/>
                <a:gd name="connsiteX380" fmla="*/ 1011454 w 1471018"/>
                <a:gd name="connsiteY380" fmla="*/ 145852 h 795676"/>
                <a:gd name="connsiteX381" fmla="*/ 987149 w 1471018"/>
                <a:gd name="connsiteY381" fmla="*/ 139776 h 795676"/>
                <a:gd name="connsiteX382" fmla="*/ 993225 w 1471018"/>
                <a:gd name="connsiteY382" fmla="*/ 115471 h 795676"/>
                <a:gd name="connsiteX383" fmla="*/ 1004238 w 1471018"/>
                <a:gd name="connsiteY383" fmla="*/ 112813 h 795676"/>
                <a:gd name="connsiteX384" fmla="*/ 800688 w 1471018"/>
                <a:gd name="connsiteY384" fmla="*/ 97622 h 795676"/>
                <a:gd name="connsiteX385" fmla="*/ 813980 w 1471018"/>
                <a:gd name="connsiteY385" fmla="*/ 106356 h 795676"/>
                <a:gd name="connsiteX386" fmla="*/ 807904 w 1471018"/>
                <a:gd name="connsiteY386" fmla="*/ 130661 h 795676"/>
                <a:gd name="connsiteX387" fmla="*/ 783599 w 1471018"/>
                <a:gd name="connsiteY387" fmla="*/ 124585 h 795676"/>
                <a:gd name="connsiteX388" fmla="*/ 789675 w 1471018"/>
                <a:gd name="connsiteY388" fmla="*/ 100280 h 795676"/>
                <a:gd name="connsiteX389" fmla="*/ 800688 w 1471018"/>
                <a:gd name="connsiteY389" fmla="*/ 97622 h 795676"/>
                <a:gd name="connsiteX390" fmla="*/ 1128799 w 1471018"/>
                <a:gd name="connsiteY390" fmla="*/ 85470 h 795676"/>
                <a:gd name="connsiteX391" fmla="*/ 1142090 w 1471018"/>
                <a:gd name="connsiteY391" fmla="*/ 94204 h 795676"/>
                <a:gd name="connsiteX392" fmla="*/ 1136014 w 1471018"/>
                <a:gd name="connsiteY392" fmla="*/ 118509 h 795676"/>
                <a:gd name="connsiteX393" fmla="*/ 1111709 w 1471018"/>
                <a:gd name="connsiteY393" fmla="*/ 112433 h 795676"/>
                <a:gd name="connsiteX394" fmla="*/ 1117785 w 1471018"/>
                <a:gd name="connsiteY394" fmla="*/ 88128 h 795676"/>
                <a:gd name="connsiteX395" fmla="*/ 1128799 w 1471018"/>
                <a:gd name="connsiteY395" fmla="*/ 85470 h 795676"/>
                <a:gd name="connsiteX396" fmla="*/ 515112 w 1471018"/>
                <a:gd name="connsiteY396" fmla="*/ 85470 h 795676"/>
                <a:gd name="connsiteX397" fmla="*/ 528402 w 1471018"/>
                <a:gd name="connsiteY397" fmla="*/ 94204 h 795676"/>
                <a:gd name="connsiteX398" fmla="*/ 522328 w 1471018"/>
                <a:gd name="connsiteY398" fmla="*/ 118509 h 795676"/>
                <a:gd name="connsiteX399" fmla="*/ 498023 w 1471018"/>
                <a:gd name="connsiteY399" fmla="*/ 112433 h 795676"/>
                <a:gd name="connsiteX400" fmla="*/ 504099 w 1471018"/>
                <a:gd name="connsiteY400" fmla="*/ 88128 h 795676"/>
                <a:gd name="connsiteX401" fmla="*/ 515112 w 1471018"/>
                <a:gd name="connsiteY401" fmla="*/ 85470 h 795676"/>
                <a:gd name="connsiteX402" fmla="*/ 682203 w 1471018"/>
                <a:gd name="connsiteY402" fmla="*/ 73318 h 795676"/>
                <a:gd name="connsiteX403" fmla="*/ 695495 w 1471018"/>
                <a:gd name="connsiteY403" fmla="*/ 82052 h 795676"/>
                <a:gd name="connsiteX404" fmla="*/ 689419 w 1471018"/>
                <a:gd name="connsiteY404" fmla="*/ 106357 h 795676"/>
                <a:gd name="connsiteX405" fmla="*/ 665114 w 1471018"/>
                <a:gd name="connsiteY405" fmla="*/ 100281 h 795676"/>
                <a:gd name="connsiteX406" fmla="*/ 671190 w 1471018"/>
                <a:gd name="connsiteY406" fmla="*/ 75976 h 795676"/>
                <a:gd name="connsiteX407" fmla="*/ 682203 w 1471018"/>
                <a:gd name="connsiteY407" fmla="*/ 73318 h 795676"/>
                <a:gd name="connsiteX408" fmla="*/ 159669 w 1471018"/>
                <a:gd name="connsiteY408" fmla="*/ 67242 h 795676"/>
                <a:gd name="connsiteX409" fmla="*/ 172960 w 1471018"/>
                <a:gd name="connsiteY409" fmla="*/ 75976 h 795676"/>
                <a:gd name="connsiteX410" fmla="*/ 166884 w 1471018"/>
                <a:gd name="connsiteY410" fmla="*/ 100281 h 795676"/>
                <a:gd name="connsiteX411" fmla="*/ 142579 w 1471018"/>
                <a:gd name="connsiteY411" fmla="*/ 94205 h 795676"/>
                <a:gd name="connsiteX412" fmla="*/ 148655 w 1471018"/>
                <a:gd name="connsiteY412" fmla="*/ 69900 h 795676"/>
                <a:gd name="connsiteX413" fmla="*/ 159669 w 1471018"/>
                <a:gd name="connsiteY413" fmla="*/ 67242 h 795676"/>
                <a:gd name="connsiteX414" fmla="*/ 1453871 w 1471018"/>
                <a:gd name="connsiteY414" fmla="*/ 58127 h 795676"/>
                <a:gd name="connsiteX415" fmla="*/ 1467163 w 1471018"/>
                <a:gd name="connsiteY415" fmla="*/ 66861 h 795676"/>
                <a:gd name="connsiteX416" fmla="*/ 1461087 w 1471018"/>
                <a:gd name="connsiteY416" fmla="*/ 91166 h 795676"/>
                <a:gd name="connsiteX417" fmla="*/ 1436782 w 1471018"/>
                <a:gd name="connsiteY417" fmla="*/ 85090 h 795676"/>
                <a:gd name="connsiteX418" fmla="*/ 1442858 w 1471018"/>
                <a:gd name="connsiteY418" fmla="*/ 60785 h 795676"/>
                <a:gd name="connsiteX419" fmla="*/ 1453871 w 1471018"/>
                <a:gd name="connsiteY419" fmla="*/ 58127 h 795676"/>
                <a:gd name="connsiteX420" fmla="*/ 47254 w 1471018"/>
                <a:gd name="connsiteY420" fmla="*/ 58127 h 795676"/>
                <a:gd name="connsiteX421" fmla="*/ 60546 w 1471018"/>
                <a:gd name="connsiteY421" fmla="*/ 66861 h 795676"/>
                <a:gd name="connsiteX422" fmla="*/ 54470 w 1471018"/>
                <a:gd name="connsiteY422" fmla="*/ 91166 h 795676"/>
                <a:gd name="connsiteX423" fmla="*/ 30165 w 1471018"/>
                <a:gd name="connsiteY423" fmla="*/ 85090 h 795676"/>
                <a:gd name="connsiteX424" fmla="*/ 36241 w 1471018"/>
                <a:gd name="connsiteY424" fmla="*/ 60785 h 795676"/>
                <a:gd name="connsiteX425" fmla="*/ 47254 w 1471018"/>
                <a:gd name="connsiteY425" fmla="*/ 58127 h 795676"/>
                <a:gd name="connsiteX426" fmla="*/ 314611 w 1471018"/>
                <a:gd name="connsiteY426" fmla="*/ 55089 h 795676"/>
                <a:gd name="connsiteX427" fmla="*/ 327903 w 1471018"/>
                <a:gd name="connsiteY427" fmla="*/ 63823 h 795676"/>
                <a:gd name="connsiteX428" fmla="*/ 321827 w 1471018"/>
                <a:gd name="connsiteY428" fmla="*/ 88128 h 795676"/>
                <a:gd name="connsiteX429" fmla="*/ 297522 w 1471018"/>
                <a:gd name="connsiteY429" fmla="*/ 82052 h 795676"/>
                <a:gd name="connsiteX430" fmla="*/ 303598 w 1471018"/>
                <a:gd name="connsiteY430" fmla="*/ 57747 h 795676"/>
                <a:gd name="connsiteX431" fmla="*/ 314611 w 1471018"/>
                <a:gd name="connsiteY431" fmla="*/ 55089 h 795676"/>
                <a:gd name="connsiteX432" fmla="*/ 885754 w 1471018"/>
                <a:gd name="connsiteY432" fmla="*/ 52051 h 795676"/>
                <a:gd name="connsiteX433" fmla="*/ 899046 w 1471018"/>
                <a:gd name="connsiteY433" fmla="*/ 60785 h 795676"/>
                <a:gd name="connsiteX434" fmla="*/ 892970 w 1471018"/>
                <a:gd name="connsiteY434" fmla="*/ 85090 h 795676"/>
                <a:gd name="connsiteX435" fmla="*/ 868665 w 1471018"/>
                <a:gd name="connsiteY435" fmla="*/ 79014 h 795676"/>
                <a:gd name="connsiteX436" fmla="*/ 874741 w 1471018"/>
                <a:gd name="connsiteY436" fmla="*/ 54709 h 795676"/>
                <a:gd name="connsiteX437" fmla="*/ 885754 w 1471018"/>
                <a:gd name="connsiteY437" fmla="*/ 52051 h 795676"/>
                <a:gd name="connsiteX438" fmla="*/ 1341464 w 1471018"/>
                <a:gd name="connsiteY438" fmla="*/ 39899 h 795676"/>
                <a:gd name="connsiteX439" fmla="*/ 1354755 w 1471018"/>
                <a:gd name="connsiteY439" fmla="*/ 48633 h 795676"/>
                <a:gd name="connsiteX440" fmla="*/ 1348679 w 1471018"/>
                <a:gd name="connsiteY440" fmla="*/ 72938 h 795676"/>
                <a:gd name="connsiteX441" fmla="*/ 1324374 w 1471018"/>
                <a:gd name="connsiteY441" fmla="*/ 66862 h 795676"/>
                <a:gd name="connsiteX442" fmla="*/ 1330450 w 1471018"/>
                <a:gd name="connsiteY442" fmla="*/ 42557 h 795676"/>
                <a:gd name="connsiteX443" fmla="*/ 1341464 w 1471018"/>
                <a:gd name="connsiteY443" fmla="*/ 39899 h 795676"/>
                <a:gd name="connsiteX444" fmla="*/ 1204751 w 1471018"/>
                <a:gd name="connsiteY444" fmla="*/ 27747 h 795676"/>
                <a:gd name="connsiteX445" fmla="*/ 1218042 w 1471018"/>
                <a:gd name="connsiteY445" fmla="*/ 36481 h 795676"/>
                <a:gd name="connsiteX446" fmla="*/ 1211966 w 1471018"/>
                <a:gd name="connsiteY446" fmla="*/ 60786 h 795676"/>
                <a:gd name="connsiteX447" fmla="*/ 1187661 w 1471018"/>
                <a:gd name="connsiteY447" fmla="*/ 54710 h 795676"/>
                <a:gd name="connsiteX448" fmla="*/ 1193737 w 1471018"/>
                <a:gd name="connsiteY448" fmla="*/ 30405 h 795676"/>
                <a:gd name="connsiteX449" fmla="*/ 1204751 w 1471018"/>
                <a:gd name="connsiteY449" fmla="*/ 27747 h 795676"/>
                <a:gd name="connsiteX450" fmla="*/ 979933 w 1471018"/>
                <a:gd name="connsiteY450" fmla="*/ 21671 h 795676"/>
                <a:gd name="connsiteX451" fmla="*/ 993225 w 1471018"/>
                <a:gd name="connsiteY451" fmla="*/ 30405 h 795676"/>
                <a:gd name="connsiteX452" fmla="*/ 987149 w 1471018"/>
                <a:gd name="connsiteY452" fmla="*/ 54710 h 795676"/>
                <a:gd name="connsiteX453" fmla="*/ 962844 w 1471018"/>
                <a:gd name="connsiteY453" fmla="*/ 48634 h 795676"/>
                <a:gd name="connsiteX454" fmla="*/ 968920 w 1471018"/>
                <a:gd name="connsiteY454" fmla="*/ 24329 h 795676"/>
                <a:gd name="connsiteX455" fmla="*/ 979933 w 1471018"/>
                <a:gd name="connsiteY455" fmla="*/ 21671 h 795676"/>
                <a:gd name="connsiteX456" fmla="*/ 451312 w 1471018"/>
                <a:gd name="connsiteY456" fmla="*/ 8759 h 795676"/>
                <a:gd name="connsiteX457" fmla="*/ 464603 w 1471018"/>
                <a:gd name="connsiteY457" fmla="*/ 21291 h 795676"/>
                <a:gd name="connsiteX458" fmla="*/ 458526 w 1471018"/>
                <a:gd name="connsiteY458" fmla="*/ 45596 h 795676"/>
                <a:gd name="connsiteX459" fmla="*/ 434225 w 1471018"/>
                <a:gd name="connsiteY459" fmla="*/ 39520 h 795676"/>
                <a:gd name="connsiteX460" fmla="*/ 440301 w 1471018"/>
                <a:gd name="connsiteY460" fmla="*/ 12177 h 795676"/>
                <a:gd name="connsiteX461" fmla="*/ 451312 w 1471018"/>
                <a:gd name="connsiteY461" fmla="*/ 8759 h 795676"/>
                <a:gd name="connsiteX462" fmla="*/ 1049824 w 1471018"/>
                <a:gd name="connsiteY462" fmla="*/ 0 h 795676"/>
                <a:gd name="connsiteX463" fmla="*/ 1083563 w 1471018"/>
                <a:gd name="connsiteY463" fmla="*/ 0 h 795676"/>
                <a:gd name="connsiteX464" fmla="*/ 1083987 w 1471018"/>
                <a:gd name="connsiteY464" fmla="*/ 2304 h 795676"/>
                <a:gd name="connsiteX465" fmla="*/ 1075253 w 1471018"/>
                <a:gd name="connsiteY465" fmla="*/ 12178 h 795676"/>
                <a:gd name="connsiteX466" fmla="*/ 1050948 w 1471018"/>
                <a:gd name="connsiteY466" fmla="*/ 6102 h 795676"/>
                <a:gd name="connsiteX467" fmla="*/ 773962 w 1471018"/>
                <a:gd name="connsiteY467" fmla="*/ 0 h 795676"/>
                <a:gd name="connsiteX468" fmla="*/ 806875 w 1471018"/>
                <a:gd name="connsiteY468" fmla="*/ 0 h 795676"/>
                <a:gd name="connsiteX469" fmla="*/ 798790 w 1471018"/>
                <a:gd name="connsiteY469" fmla="*/ 9140 h 795676"/>
                <a:gd name="connsiteX470" fmla="*/ 774485 w 1471018"/>
                <a:gd name="connsiteY470" fmla="*/ 3064 h 795676"/>
                <a:gd name="connsiteX471" fmla="*/ 659033 w 1471018"/>
                <a:gd name="connsiteY471" fmla="*/ 0 h 795676"/>
                <a:gd name="connsiteX472" fmla="*/ 688741 w 1471018"/>
                <a:gd name="connsiteY472" fmla="*/ 0 h 795676"/>
                <a:gd name="connsiteX473" fmla="*/ 683343 w 1471018"/>
                <a:gd name="connsiteY473" fmla="*/ 6102 h 795676"/>
                <a:gd name="connsiteX474" fmla="*/ 659038 w 1471018"/>
                <a:gd name="connsiteY474" fmla="*/ 26 h 795676"/>
                <a:gd name="connsiteX475" fmla="*/ 558807 w 1471018"/>
                <a:gd name="connsiteY475" fmla="*/ 0 h 795676"/>
                <a:gd name="connsiteX476" fmla="*/ 589125 w 1471018"/>
                <a:gd name="connsiteY476" fmla="*/ 0 h 795676"/>
                <a:gd name="connsiteX477" fmla="*/ 589163 w 1471018"/>
                <a:gd name="connsiteY477" fmla="*/ 25 h 795676"/>
                <a:gd name="connsiteX478" fmla="*/ 583087 w 1471018"/>
                <a:gd name="connsiteY478" fmla="*/ 24330 h 795676"/>
                <a:gd name="connsiteX479" fmla="*/ 558782 w 1471018"/>
                <a:gd name="connsiteY479" fmla="*/ 18254 h 795676"/>
                <a:gd name="connsiteX480" fmla="*/ 556124 w 1471018"/>
                <a:gd name="connsiteY480" fmla="*/ 2683 h 795676"/>
                <a:gd name="connsiteX481" fmla="*/ 189731 w 1471018"/>
                <a:gd name="connsiteY481" fmla="*/ 0 h 795676"/>
                <a:gd name="connsiteX482" fmla="*/ 223240 w 1471018"/>
                <a:gd name="connsiteY482" fmla="*/ 0 h 795676"/>
                <a:gd name="connsiteX483" fmla="*/ 224224 w 1471018"/>
                <a:gd name="connsiteY483" fmla="*/ 5342 h 795676"/>
                <a:gd name="connsiteX484" fmla="*/ 215490 w 1471018"/>
                <a:gd name="connsiteY484" fmla="*/ 15216 h 795676"/>
                <a:gd name="connsiteX485" fmla="*/ 191185 w 1471018"/>
                <a:gd name="connsiteY485" fmla="*/ 9140 h 795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Lst>
              <a:rect l="l" t="t" r="r" b="b"/>
              <a:pathLst>
                <a:path w="1471018" h="795676">
                  <a:moveTo>
                    <a:pt x="117137" y="759920"/>
                  </a:moveTo>
                  <a:cubicBezTo>
                    <a:pt x="121315" y="761059"/>
                    <a:pt x="125872" y="764097"/>
                    <a:pt x="130429" y="768654"/>
                  </a:cubicBezTo>
                  <a:cubicBezTo>
                    <a:pt x="139543" y="777769"/>
                    <a:pt x="133467" y="786883"/>
                    <a:pt x="124353" y="792959"/>
                  </a:cubicBezTo>
                  <a:cubicBezTo>
                    <a:pt x="118277" y="795997"/>
                    <a:pt x="106124" y="799035"/>
                    <a:pt x="100048" y="786883"/>
                  </a:cubicBezTo>
                  <a:cubicBezTo>
                    <a:pt x="93972" y="771692"/>
                    <a:pt x="97010" y="765616"/>
                    <a:pt x="106124" y="762578"/>
                  </a:cubicBezTo>
                  <a:cubicBezTo>
                    <a:pt x="109162" y="759540"/>
                    <a:pt x="112960" y="758781"/>
                    <a:pt x="117137" y="759920"/>
                  </a:cubicBezTo>
                  <a:close/>
                  <a:moveTo>
                    <a:pt x="220419" y="753844"/>
                  </a:moveTo>
                  <a:cubicBezTo>
                    <a:pt x="224596" y="754983"/>
                    <a:pt x="229153" y="758021"/>
                    <a:pt x="233710" y="762578"/>
                  </a:cubicBezTo>
                  <a:cubicBezTo>
                    <a:pt x="242824" y="771692"/>
                    <a:pt x="236748" y="780807"/>
                    <a:pt x="227634" y="786883"/>
                  </a:cubicBezTo>
                  <a:cubicBezTo>
                    <a:pt x="221557" y="789921"/>
                    <a:pt x="209405" y="792959"/>
                    <a:pt x="203329" y="780807"/>
                  </a:cubicBezTo>
                  <a:cubicBezTo>
                    <a:pt x="197253" y="768654"/>
                    <a:pt x="197253" y="762578"/>
                    <a:pt x="209405" y="756502"/>
                  </a:cubicBezTo>
                  <a:cubicBezTo>
                    <a:pt x="212443" y="753464"/>
                    <a:pt x="216241" y="752705"/>
                    <a:pt x="220419" y="753844"/>
                  </a:cubicBezTo>
                  <a:close/>
                  <a:moveTo>
                    <a:pt x="25999" y="741691"/>
                  </a:moveTo>
                  <a:cubicBezTo>
                    <a:pt x="30176" y="742830"/>
                    <a:pt x="34733" y="745868"/>
                    <a:pt x="39290" y="750425"/>
                  </a:cubicBezTo>
                  <a:cubicBezTo>
                    <a:pt x="48404" y="759540"/>
                    <a:pt x="42328" y="768654"/>
                    <a:pt x="33214" y="774730"/>
                  </a:cubicBezTo>
                  <a:cubicBezTo>
                    <a:pt x="27138" y="777768"/>
                    <a:pt x="14985" y="780806"/>
                    <a:pt x="8909" y="768654"/>
                  </a:cubicBezTo>
                  <a:cubicBezTo>
                    <a:pt x="2834" y="756501"/>
                    <a:pt x="5872" y="750425"/>
                    <a:pt x="14985" y="744349"/>
                  </a:cubicBezTo>
                  <a:cubicBezTo>
                    <a:pt x="18023" y="741311"/>
                    <a:pt x="21821" y="740552"/>
                    <a:pt x="25999" y="741691"/>
                  </a:cubicBezTo>
                  <a:close/>
                  <a:moveTo>
                    <a:pt x="329796" y="735615"/>
                  </a:moveTo>
                  <a:cubicBezTo>
                    <a:pt x="333974" y="736754"/>
                    <a:pt x="338531" y="739792"/>
                    <a:pt x="343088" y="744349"/>
                  </a:cubicBezTo>
                  <a:cubicBezTo>
                    <a:pt x="352202" y="753463"/>
                    <a:pt x="346126" y="762578"/>
                    <a:pt x="337012" y="768654"/>
                  </a:cubicBezTo>
                  <a:cubicBezTo>
                    <a:pt x="330935" y="771692"/>
                    <a:pt x="318783" y="774730"/>
                    <a:pt x="312707" y="762578"/>
                  </a:cubicBezTo>
                  <a:cubicBezTo>
                    <a:pt x="306631" y="747387"/>
                    <a:pt x="306631" y="741311"/>
                    <a:pt x="318783" y="738273"/>
                  </a:cubicBezTo>
                  <a:cubicBezTo>
                    <a:pt x="321821" y="735235"/>
                    <a:pt x="325619" y="734476"/>
                    <a:pt x="329796" y="735615"/>
                  </a:cubicBezTo>
                  <a:close/>
                  <a:moveTo>
                    <a:pt x="442198" y="702197"/>
                  </a:moveTo>
                  <a:cubicBezTo>
                    <a:pt x="446375" y="703336"/>
                    <a:pt x="450932" y="706374"/>
                    <a:pt x="455488" y="710931"/>
                  </a:cubicBezTo>
                  <a:cubicBezTo>
                    <a:pt x="464602" y="720045"/>
                    <a:pt x="458526" y="729160"/>
                    <a:pt x="449413" y="735236"/>
                  </a:cubicBezTo>
                  <a:cubicBezTo>
                    <a:pt x="443338" y="738274"/>
                    <a:pt x="431186" y="741312"/>
                    <a:pt x="425110" y="729160"/>
                  </a:cubicBezTo>
                  <a:cubicBezTo>
                    <a:pt x="419035" y="717007"/>
                    <a:pt x="422073" y="710931"/>
                    <a:pt x="431186" y="704855"/>
                  </a:cubicBezTo>
                  <a:cubicBezTo>
                    <a:pt x="434224" y="701817"/>
                    <a:pt x="438021" y="701058"/>
                    <a:pt x="442198" y="702197"/>
                  </a:cubicBezTo>
                  <a:close/>
                  <a:moveTo>
                    <a:pt x="542453" y="668778"/>
                  </a:moveTo>
                  <a:cubicBezTo>
                    <a:pt x="546631" y="669917"/>
                    <a:pt x="551188" y="672955"/>
                    <a:pt x="555745" y="677512"/>
                  </a:cubicBezTo>
                  <a:cubicBezTo>
                    <a:pt x="564859" y="686627"/>
                    <a:pt x="558783" y="695741"/>
                    <a:pt x="549669" y="701817"/>
                  </a:cubicBezTo>
                  <a:cubicBezTo>
                    <a:pt x="543593" y="704855"/>
                    <a:pt x="531440" y="707893"/>
                    <a:pt x="525364" y="695741"/>
                  </a:cubicBezTo>
                  <a:cubicBezTo>
                    <a:pt x="519291" y="683589"/>
                    <a:pt x="522328" y="677512"/>
                    <a:pt x="531440" y="671436"/>
                  </a:cubicBezTo>
                  <a:cubicBezTo>
                    <a:pt x="534478" y="668398"/>
                    <a:pt x="538276" y="667639"/>
                    <a:pt x="542453" y="668778"/>
                  </a:cubicBezTo>
                  <a:close/>
                  <a:moveTo>
                    <a:pt x="132328" y="650549"/>
                  </a:moveTo>
                  <a:cubicBezTo>
                    <a:pt x="136506" y="651688"/>
                    <a:pt x="141063" y="654726"/>
                    <a:pt x="145620" y="659283"/>
                  </a:cubicBezTo>
                  <a:cubicBezTo>
                    <a:pt x="154734" y="668398"/>
                    <a:pt x="148658" y="677512"/>
                    <a:pt x="139544" y="683588"/>
                  </a:cubicBezTo>
                  <a:cubicBezTo>
                    <a:pt x="133468" y="686626"/>
                    <a:pt x="121315" y="689664"/>
                    <a:pt x="115239" y="677512"/>
                  </a:cubicBezTo>
                  <a:cubicBezTo>
                    <a:pt x="109163" y="662321"/>
                    <a:pt x="112201" y="656245"/>
                    <a:pt x="121315" y="653207"/>
                  </a:cubicBezTo>
                  <a:cubicBezTo>
                    <a:pt x="124353" y="650169"/>
                    <a:pt x="128151" y="649410"/>
                    <a:pt x="132328" y="650549"/>
                  </a:cubicBezTo>
                  <a:close/>
                  <a:moveTo>
                    <a:pt x="642709" y="641435"/>
                  </a:moveTo>
                  <a:cubicBezTo>
                    <a:pt x="646887" y="642574"/>
                    <a:pt x="651444" y="645612"/>
                    <a:pt x="656001" y="650169"/>
                  </a:cubicBezTo>
                  <a:cubicBezTo>
                    <a:pt x="665115" y="659283"/>
                    <a:pt x="659039" y="668398"/>
                    <a:pt x="649925" y="674474"/>
                  </a:cubicBezTo>
                  <a:cubicBezTo>
                    <a:pt x="643849" y="677512"/>
                    <a:pt x="631696" y="680550"/>
                    <a:pt x="625620" y="668398"/>
                  </a:cubicBezTo>
                  <a:cubicBezTo>
                    <a:pt x="619544" y="653207"/>
                    <a:pt x="622582" y="647131"/>
                    <a:pt x="631696" y="644093"/>
                  </a:cubicBezTo>
                  <a:cubicBezTo>
                    <a:pt x="634734" y="641055"/>
                    <a:pt x="638532" y="640296"/>
                    <a:pt x="642709" y="641435"/>
                  </a:cubicBezTo>
                  <a:close/>
                  <a:moveTo>
                    <a:pt x="235618" y="641435"/>
                  </a:moveTo>
                  <a:cubicBezTo>
                    <a:pt x="239795" y="642574"/>
                    <a:pt x="244352" y="645612"/>
                    <a:pt x="248910" y="650169"/>
                  </a:cubicBezTo>
                  <a:cubicBezTo>
                    <a:pt x="258024" y="659283"/>
                    <a:pt x="251948" y="668398"/>
                    <a:pt x="242833" y="674474"/>
                  </a:cubicBezTo>
                  <a:cubicBezTo>
                    <a:pt x="236757" y="677512"/>
                    <a:pt x="224605" y="680550"/>
                    <a:pt x="218529" y="668398"/>
                  </a:cubicBezTo>
                  <a:cubicBezTo>
                    <a:pt x="215491" y="656245"/>
                    <a:pt x="215491" y="647131"/>
                    <a:pt x="224605" y="644093"/>
                  </a:cubicBezTo>
                  <a:cubicBezTo>
                    <a:pt x="227643" y="641055"/>
                    <a:pt x="231440" y="640296"/>
                    <a:pt x="235618" y="641435"/>
                  </a:cubicBezTo>
                  <a:close/>
                  <a:moveTo>
                    <a:pt x="338904" y="629283"/>
                  </a:moveTo>
                  <a:cubicBezTo>
                    <a:pt x="343081" y="630422"/>
                    <a:pt x="347639" y="633460"/>
                    <a:pt x="352196" y="638017"/>
                  </a:cubicBezTo>
                  <a:cubicBezTo>
                    <a:pt x="361310" y="647131"/>
                    <a:pt x="355234" y="656246"/>
                    <a:pt x="346120" y="662322"/>
                  </a:cubicBezTo>
                  <a:cubicBezTo>
                    <a:pt x="340044" y="665360"/>
                    <a:pt x="327891" y="668398"/>
                    <a:pt x="321815" y="656246"/>
                  </a:cubicBezTo>
                  <a:cubicBezTo>
                    <a:pt x="315739" y="641055"/>
                    <a:pt x="318777" y="634979"/>
                    <a:pt x="327891" y="631941"/>
                  </a:cubicBezTo>
                  <a:cubicBezTo>
                    <a:pt x="330929" y="628903"/>
                    <a:pt x="334726" y="628144"/>
                    <a:pt x="338904" y="629283"/>
                  </a:cubicBezTo>
                  <a:close/>
                  <a:moveTo>
                    <a:pt x="32070" y="601940"/>
                  </a:moveTo>
                  <a:cubicBezTo>
                    <a:pt x="36247" y="603079"/>
                    <a:pt x="40804" y="606117"/>
                    <a:pt x="45361" y="610674"/>
                  </a:cubicBezTo>
                  <a:cubicBezTo>
                    <a:pt x="54475" y="619788"/>
                    <a:pt x="48399" y="628903"/>
                    <a:pt x="39285" y="634979"/>
                  </a:cubicBezTo>
                  <a:cubicBezTo>
                    <a:pt x="33209" y="638017"/>
                    <a:pt x="21056" y="641055"/>
                    <a:pt x="14981" y="628903"/>
                  </a:cubicBezTo>
                  <a:cubicBezTo>
                    <a:pt x="8905" y="616750"/>
                    <a:pt x="11943" y="607636"/>
                    <a:pt x="21056" y="604598"/>
                  </a:cubicBezTo>
                  <a:cubicBezTo>
                    <a:pt x="24094" y="601560"/>
                    <a:pt x="27892" y="600801"/>
                    <a:pt x="32070" y="601940"/>
                  </a:cubicBezTo>
                  <a:close/>
                  <a:moveTo>
                    <a:pt x="752079" y="586750"/>
                  </a:moveTo>
                  <a:cubicBezTo>
                    <a:pt x="756257" y="587889"/>
                    <a:pt x="760814" y="590927"/>
                    <a:pt x="765371" y="595484"/>
                  </a:cubicBezTo>
                  <a:cubicBezTo>
                    <a:pt x="774485" y="604598"/>
                    <a:pt x="768409" y="613713"/>
                    <a:pt x="759295" y="619789"/>
                  </a:cubicBezTo>
                  <a:cubicBezTo>
                    <a:pt x="753218" y="622827"/>
                    <a:pt x="741066" y="625865"/>
                    <a:pt x="734990" y="613713"/>
                  </a:cubicBezTo>
                  <a:cubicBezTo>
                    <a:pt x="728914" y="601560"/>
                    <a:pt x="731952" y="595484"/>
                    <a:pt x="741066" y="589408"/>
                  </a:cubicBezTo>
                  <a:cubicBezTo>
                    <a:pt x="744104" y="586370"/>
                    <a:pt x="747902" y="585611"/>
                    <a:pt x="752079" y="586750"/>
                  </a:cubicBezTo>
                  <a:close/>
                  <a:moveTo>
                    <a:pt x="436123" y="583712"/>
                  </a:moveTo>
                  <a:cubicBezTo>
                    <a:pt x="440300" y="584851"/>
                    <a:pt x="444857" y="587889"/>
                    <a:pt x="449413" y="592446"/>
                  </a:cubicBezTo>
                  <a:cubicBezTo>
                    <a:pt x="458525" y="601560"/>
                    <a:pt x="452450" y="610675"/>
                    <a:pt x="443339" y="616751"/>
                  </a:cubicBezTo>
                  <a:cubicBezTo>
                    <a:pt x="437263" y="619789"/>
                    <a:pt x="425114" y="622827"/>
                    <a:pt x="419039" y="610675"/>
                  </a:cubicBezTo>
                  <a:cubicBezTo>
                    <a:pt x="416003" y="598522"/>
                    <a:pt x="416003" y="592446"/>
                    <a:pt x="425114" y="586370"/>
                  </a:cubicBezTo>
                  <a:cubicBezTo>
                    <a:pt x="428151" y="583332"/>
                    <a:pt x="431946" y="582573"/>
                    <a:pt x="436123" y="583712"/>
                  </a:cubicBezTo>
                  <a:close/>
                  <a:moveTo>
                    <a:pt x="548529" y="556370"/>
                  </a:moveTo>
                  <a:cubicBezTo>
                    <a:pt x="552707" y="557509"/>
                    <a:pt x="557264" y="560547"/>
                    <a:pt x="561821" y="565104"/>
                  </a:cubicBezTo>
                  <a:cubicBezTo>
                    <a:pt x="570935" y="574218"/>
                    <a:pt x="564859" y="583333"/>
                    <a:pt x="555745" y="589409"/>
                  </a:cubicBezTo>
                  <a:cubicBezTo>
                    <a:pt x="549669" y="592447"/>
                    <a:pt x="537516" y="595485"/>
                    <a:pt x="531440" y="583333"/>
                  </a:cubicBezTo>
                  <a:cubicBezTo>
                    <a:pt x="525364" y="571180"/>
                    <a:pt x="528402" y="565104"/>
                    <a:pt x="537516" y="559028"/>
                  </a:cubicBezTo>
                  <a:cubicBezTo>
                    <a:pt x="540554" y="555990"/>
                    <a:pt x="544352" y="555231"/>
                    <a:pt x="548529" y="556370"/>
                  </a:cubicBezTo>
                  <a:close/>
                  <a:moveTo>
                    <a:pt x="852335" y="550293"/>
                  </a:moveTo>
                  <a:cubicBezTo>
                    <a:pt x="856513" y="551432"/>
                    <a:pt x="861070" y="554470"/>
                    <a:pt x="865627" y="559027"/>
                  </a:cubicBezTo>
                  <a:cubicBezTo>
                    <a:pt x="874741" y="568141"/>
                    <a:pt x="868665" y="577256"/>
                    <a:pt x="859551" y="583332"/>
                  </a:cubicBezTo>
                  <a:cubicBezTo>
                    <a:pt x="853475" y="586370"/>
                    <a:pt x="841322" y="589408"/>
                    <a:pt x="835246" y="577256"/>
                  </a:cubicBezTo>
                  <a:cubicBezTo>
                    <a:pt x="829170" y="565103"/>
                    <a:pt x="832208" y="559027"/>
                    <a:pt x="841322" y="552951"/>
                  </a:cubicBezTo>
                  <a:cubicBezTo>
                    <a:pt x="844360" y="549913"/>
                    <a:pt x="848158" y="549154"/>
                    <a:pt x="852335" y="550293"/>
                  </a:cubicBezTo>
                  <a:close/>
                  <a:moveTo>
                    <a:pt x="667013" y="532065"/>
                  </a:moveTo>
                  <a:cubicBezTo>
                    <a:pt x="671191" y="533204"/>
                    <a:pt x="675748" y="536242"/>
                    <a:pt x="680305" y="540799"/>
                  </a:cubicBezTo>
                  <a:cubicBezTo>
                    <a:pt x="689419" y="549914"/>
                    <a:pt x="683343" y="559028"/>
                    <a:pt x="674229" y="565104"/>
                  </a:cubicBezTo>
                  <a:cubicBezTo>
                    <a:pt x="668153" y="568142"/>
                    <a:pt x="656000" y="571180"/>
                    <a:pt x="649924" y="559028"/>
                  </a:cubicBezTo>
                  <a:cubicBezTo>
                    <a:pt x="643848" y="546876"/>
                    <a:pt x="646886" y="540799"/>
                    <a:pt x="656000" y="534723"/>
                  </a:cubicBezTo>
                  <a:cubicBezTo>
                    <a:pt x="659038" y="531685"/>
                    <a:pt x="662836" y="530926"/>
                    <a:pt x="667013" y="532065"/>
                  </a:cubicBezTo>
                  <a:close/>
                  <a:moveTo>
                    <a:pt x="126251" y="532065"/>
                  </a:moveTo>
                  <a:cubicBezTo>
                    <a:pt x="130428" y="533204"/>
                    <a:pt x="134985" y="536242"/>
                    <a:pt x="139543" y="540799"/>
                  </a:cubicBezTo>
                  <a:cubicBezTo>
                    <a:pt x="148657" y="549914"/>
                    <a:pt x="142581" y="559028"/>
                    <a:pt x="133467" y="565104"/>
                  </a:cubicBezTo>
                  <a:cubicBezTo>
                    <a:pt x="127390" y="568142"/>
                    <a:pt x="115238" y="571180"/>
                    <a:pt x="109162" y="559028"/>
                  </a:cubicBezTo>
                  <a:cubicBezTo>
                    <a:pt x="103086" y="546876"/>
                    <a:pt x="103086" y="540799"/>
                    <a:pt x="115238" y="534723"/>
                  </a:cubicBezTo>
                  <a:cubicBezTo>
                    <a:pt x="118276" y="531685"/>
                    <a:pt x="122073" y="530926"/>
                    <a:pt x="126251" y="532065"/>
                  </a:cubicBezTo>
                  <a:close/>
                  <a:moveTo>
                    <a:pt x="226503" y="529027"/>
                  </a:moveTo>
                  <a:cubicBezTo>
                    <a:pt x="230680" y="530166"/>
                    <a:pt x="235237" y="533204"/>
                    <a:pt x="239794" y="537761"/>
                  </a:cubicBezTo>
                  <a:cubicBezTo>
                    <a:pt x="248908" y="546876"/>
                    <a:pt x="242832" y="555990"/>
                    <a:pt x="233718" y="562066"/>
                  </a:cubicBezTo>
                  <a:cubicBezTo>
                    <a:pt x="227641" y="565104"/>
                    <a:pt x="215490" y="568142"/>
                    <a:pt x="209414" y="555990"/>
                  </a:cubicBezTo>
                  <a:cubicBezTo>
                    <a:pt x="203338" y="540799"/>
                    <a:pt x="203338" y="534723"/>
                    <a:pt x="215490" y="531685"/>
                  </a:cubicBezTo>
                  <a:cubicBezTo>
                    <a:pt x="218528" y="528647"/>
                    <a:pt x="222325" y="527888"/>
                    <a:pt x="226503" y="529027"/>
                  </a:cubicBezTo>
                  <a:close/>
                  <a:moveTo>
                    <a:pt x="332836" y="519913"/>
                  </a:moveTo>
                  <a:cubicBezTo>
                    <a:pt x="337014" y="521052"/>
                    <a:pt x="341571" y="524090"/>
                    <a:pt x="346128" y="528647"/>
                  </a:cubicBezTo>
                  <a:cubicBezTo>
                    <a:pt x="355242" y="537761"/>
                    <a:pt x="349166" y="546876"/>
                    <a:pt x="340052" y="552952"/>
                  </a:cubicBezTo>
                  <a:cubicBezTo>
                    <a:pt x="333976" y="555990"/>
                    <a:pt x="321823" y="559028"/>
                    <a:pt x="315748" y="546876"/>
                  </a:cubicBezTo>
                  <a:cubicBezTo>
                    <a:pt x="309671" y="531685"/>
                    <a:pt x="312709" y="525609"/>
                    <a:pt x="321823" y="522571"/>
                  </a:cubicBezTo>
                  <a:cubicBezTo>
                    <a:pt x="324861" y="519533"/>
                    <a:pt x="328659" y="518774"/>
                    <a:pt x="332836" y="519913"/>
                  </a:cubicBezTo>
                  <a:close/>
                  <a:moveTo>
                    <a:pt x="7768" y="507761"/>
                  </a:moveTo>
                  <a:cubicBezTo>
                    <a:pt x="11946" y="508900"/>
                    <a:pt x="16503" y="511938"/>
                    <a:pt x="21060" y="516495"/>
                  </a:cubicBezTo>
                  <a:cubicBezTo>
                    <a:pt x="30174" y="525609"/>
                    <a:pt x="24098" y="534724"/>
                    <a:pt x="14984" y="540800"/>
                  </a:cubicBezTo>
                  <a:cubicBezTo>
                    <a:pt x="11946" y="542319"/>
                    <a:pt x="7388" y="543838"/>
                    <a:pt x="2831" y="543458"/>
                  </a:cubicBezTo>
                  <a:lnTo>
                    <a:pt x="0" y="541423"/>
                  </a:lnTo>
                  <a:lnTo>
                    <a:pt x="0" y="509636"/>
                  </a:lnTo>
                  <a:close/>
                  <a:moveTo>
                    <a:pt x="946515" y="486494"/>
                  </a:moveTo>
                  <a:cubicBezTo>
                    <a:pt x="950693" y="487633"/>
                    <a:pt x="955250" y="490671"/>
                    <a:pt x="959807" y="495228"/>
                  </a:cubicBezTo>
                  <a:cubicBezTo>
                    <a:pt x="968921" y="504343"/>
                    <a:pt x="962845" y="513457"/>
                    <a:pt x="953731" y="519533"/>
                  </a:cubicBezTo>
                  <a:cubicBezTo>
                    <a:pt x="947655" y="522571"/>
                    <a:pt x="935502" y="525609"/>
                    <a:pt x="929426" y="513457"/>
                  </a:cubicBezTo>
                  <a:cubicBezTo>
                    <a:pt x="923350" y="501305"/>
                    <a:pt x="926388" y="492190"/>
                    <a:pt x="935502" y="489152"/>
                  </a:cubicBezTo>
                  <a:cubicBezTo>
                    <a:pt x="938540" y="486114"/>
                    <a:pt x="942338" y="485355"/>
                    <a:pt x="946515" y="486494"/>
                  </a:cubicBezTo>
                  <a:close/>
                  <a:moveTo>
                    <a:pt x="457386" y="483456"/>
                  </a:moveTo>
                  <a:cubicBezTo>
                    <a:pt x="461563" y="484595"/>
                    <a:pt x="466121" y="487633"/>
                    <a:pt x="470679" y="492190"/>
                  </a:cubicBezTo>
                  <a:cubicBezTo>
                    <a:pt x="479793" y="501305"/>
                    <a:pt x="473717" y="510419"/>
                    <a:pt x="464601" y="516495"/>
                  </a:cubicBezTo>
                  <a:cubicBezTo>
                    <a:pt x="458525" y="519533"/>
                    <a:pt x="446374" y="522571"/>
                    <a:pt x="440300" y="510419"/>
                  </a:cubicBezTo>
                  <a:cubicBezTo>
                    <a:pt x="437261" y="495228"/>
                    <a:pt x="437261" y="489152"/>
                    <a:pt x="446374" y="486114"/>
                  </a:cubicBezTo>
                  <a:cubicBezTo>
                    <a:pt x="449412" y="483076"/>
                    <a:pt x="453209" y="482317"/>
                    <a:pt x="457386" y="483456"/>
                  </a:cubicBezTo>
                  <a:close/>
                  <a:moveTo>
                    <a:pt x="821954" y="456114"/>
                  </a:moveTo>
                  <a:cubicBezTo>
                    <a:pt x="826132" y="457253"/>
                    <a:pt x="830689" y="460291"/>
                    <a:pt x="835246" y="464848"/>
                  </a:cubicBezTo>
                  <a:cubicBezTo>
                    <a:pt x="844360" y="473963"/>
                    <a:pt x="838284" y="483077"/>
                    <a:pt x="829170" y="489153"/>
                  </a:cubicBezTo>
                  <a:cubicBezTo>
                    <a:pt x="823094" y="492191"/>
                    <a:pt x="810941" y="495229"/>
                    <a:pt x="804865" y="483077"/>
                  </a:cubicBezTo>
                  <a:cubicBezTo>
                    <a:pt x="798789" y="470925"/>
                    <a:pt x="801827" y="464848"/>
                    <a:pt x="810941" y="458772"/>
                  </a:cubicBezTo>
                  <a:cubicBezTo>
                    <a:pt x="813979" y="455734"/>
                    <a:pt x="817777" y="454975"/>
                    <a:pt x="821954" y="456114"/>
                  </a:cubicBezTo>
                  <a:close/>
                  <a:moveTo>
                    <a:pt x="584986" y="456114"/>
                  </a:moveTo>
                  <a:cubicBezTo>
                    <a:pt x="589164" y="457253"/>
                    <a:pt x="593721" y="460291"/>
                    <a:pt x="598278" y="464848"/>
                  </a:cubicBezTo>
                  <a:cubicBezTo>
                    <a:pt x="607392" y="473963"/>
                    <a:pt x="601316" y="483077"/>
                    <a:pt x="592202" y="489153"/>
                  </a:cubicBezTo>
                  <a:cubicBezTo>
                    <a:pt x="586125" y="492191"/>
                    <a:pt x="573973" y="495229"/>
                    <a:pt x="567897" y="483077"/>
                  </a:cubicBezTo>
                  <a:cubicBezTo>
                    <a:pt x="561821" y="467886"/>
                    <a:pt x="564859" y="461810"/>
                    <a:pt x="573973" y="458772"/>
                  </a:cubicBezTo>
                  <a:cubicBezTo>
                    <a:pt x="577011" y="455734"/>
                    <a:pt x="580809" y="454975"/>
                    <a:pt x="584986" y="456114"/>
                  </a:cubicBezTo>
                  <a:close/>
                  <a:moveTo>
                    <a:pt x="718660" y="443961"/>
                  </a:moveTo>
                  <a:cubicBezTo>
                    <a:pt x="722838" y="445100"/>
                    <a:pt x="727395" y="448138"/>
                    <a:pt x="731952" y="452695"/>
                  </a:cubicBezTo>
                  <a:cubicBezTo>
                    <a:pt x="741066" y="461809"/>
                    <a:pt x="734990" y="470924"/>
                    <a:pt x="725876" y="477000"/>
                  </a:cubicBezTo>
                  <a:cubicBezTo>
                    <a:pt x="719800" y="480038"/>
                    <a:pt x="707647" y="483076"/>
                    <a:pt x="701571" y="470924"/>
                  </a:cubicBezTo>
                  <a:cubicBezTo>
                    <a:pt x="695495" y="458771"/>
                    <a:pt x="698533" y="449657"/>
                    <a:pt x="707647" y="446619"/>
                  </a:cubicBezTo>
                  <a:cubicBezTo>
                    <a:pt x="710685" y="443581"/>
                    <a:pt x="714483" y="442822"/>
                    <a:pt x="718660" y="443961"/>
                  </a:cubicBezTo>
                  <a:close/>
                  <a:moveTo>
                    <a:pt x="1016390" y="425733"/>
                  </a:moveTo>
                  <a:cubicBezTo>
                    <a:pt x="1020567" y="426872"/>
                    <a:pt x="1025124" y="429910"/>
                    <a:pt x="1029681" y="434467"/>
                  </a:cubicBezTo>
                  <a:cubicBezTo>
                    <a:pt x="1038796" y="443582"/>
                    <a:pt x="1032720" y="452696"/>
                    <a:pt x="1023605" y="458772"/>
                  </a:cubicBezTo>
                  <a:cubicBezTo>
                    <a:pt x="1017529" y="461810"/>
                    <a:pt x="1005377" y="464848"/>
                    <a:pt x="999301" y="452696"/>
                  </a:cubicBezTo>
                  <a:cubicBezTo>
                    <a:pt x="993225" y="437505"/>
                    <a:pt x="999301" y="434467"/>
                    <a:pt x="1005377" y="428391"/>
                  </a:cubicBezTo>
                  <a:cubicBezTo>
                    <a:pt x="1008415" y="425353"/>
                    <a:pt x="1012213" y="424594"/>
                    <a:pt x="1016390" y="425733"/>
                  </a:cubicBezTo>
                  <a:close/>
                  <a:moveTo>
                    <a:pt x="250806" y="416619"/>
                  </a:moveTo>
                  <a:cubicBezTo>
                    <a:pt x="254983" y="417758"/>
                    <a:pt x="259540" y="420796"/>
                    <a:pt x="264098" y="425353"/>
                  </a:cubicBezTo>
                  <a:cubicBezTo>
                    <a:pt x="273212" y="434467"/>
                    <a:pt x="267136" y="443582"/>
                    <a:pt x="258022" y="449658"/>
                  </a:cubicBezTo>
                  <a:cubicBezTo>
                    <a:pt x="251944" y="452696"/>
                    <a:pt x="239793" y="455734"/>
                    <a:pt x="233717" y="443582"/>
                  </a:cubicBezTo>
                  <a:cubicBezTo>
                    <a:pt x="227641" y="431429"/>
                    <a:pt x="230679" y="425353"/>
                    <a:pt x="239793" y="419277"/>
                  </a:cubicBezTo>
                  <a:cubicBezTo>
                    <a:pt x="242831" y="416239"/>
                    <a:pt x="246628" y="415480"/>
                    <a:pt x="250806" y="416619"/>
                  </a:cubicBezTo>
                  <a:close/>
                  <a:moveTo>
                    <a:pt x="144467" y="416619"/>
                  </a:moveTo>
                  <a:cubicBezTo>
                    <a:pt x="148645" y="417758"/>
                    <a:pt x="153202" y="420796"/>
                    <a:pt x="157759" y="425353"/>
                  </a:cubicBezTo>
                  <a:cubicBezTo>
                    <a:pt x="166873" y="434467"/>
                    <a:pt x="160797" y="443582"/>
                    <a:pt x="151683" y="449658"/>
                  </a:cubicBezTo>
                  <a:cubicBezTo>
                    <a:pt x="145606" y="452696"/>
                    <a:pt x="133454" y="455734"/>
                    <a:pt x="127378" y="443582"/>
                  </a:cubicBezTo>
                  <a:cubicBezTo>
                    <a:pt x="121302" y="431429"/>
                    <a:pt x="124340" y="425353"/>
                    <a:pt x="133454" y="419277"/>
                  </a:cubicBezTo>
                  <a:cubicBezTo>
                    <a:pt x="136492" y="416239"/>
                    <a:pt x="140290" y="415480"/>
                    <a:pt x="144467" y="416619"/>
                  </a:cubicBezTo>
                  <a:close/>
                  <a:moveTo>
                    <a:pt x="29033" y="416619"/>
                  </a:moveTo>
                  <a:cubicBezTo>
                    <a:pt x="33210" y="417758"/>
                    <a:pt x="37767" y="420796"/>
                    <a:pt x="42324" y="425353"/>
                  </a:cubicBezTo>
                  <a:cubicBezTo>
                    <a:pt x="51438" y="434467"/>
                    <a:pt x="45362" y="443582"/>
                    <a:pt x="36248" y="449658"/>
                  </a:cubicBezTo>
                  <a:cubicBezTo>
                    <a:pt x="30173" y="452696"/>
                    <a:pt x="18020" y="455734"/>
                    <a:pt x="11944" y="443582"/>
                  </a:cubicBezTo>
                  <a:cubicBezTo>
                    <a:pt x="5868" y="431429"/>
                    <a:pt x="8906" y="425353"/>
                    <a:pt x="18020" y="419277"/>
                  </a:cubicBezTo>
                  <a:cubicBezTo>
                    <a:pt x="21058" y="416239"/>
                    <a:pt x="24855" y="415480"/>
                    <a:pt x="29033" y="416619"/>
                  </a:cubicBezTo>
                  <a:close/>
                  <a:moveTo>
                    <a:pt x="360172" y="410543"/>
                  </a:moveTo>
                  <a:cubicBezTo>
                    <a:pt x="364349" y="411682"/>
                    <a:pt x="368907" y="414720"/>
                    <a:pt x="373464" y="419277"/>
                  </a:cubicBezTo>
                  <a:cubicBezTo>
                    <a:pt x="382577" y="428392"/>
                    <a:pt x="376502" y="437506"/>
                    <a:pt x="367388" y="443582"/>
                  </a:cubicBezTo>
                  <a:cubicBezTo>
                    <a:pt x="361312" y="446620"/>
                    <a:pt x="349159" y="449658"/>
                    <a:pt x="343083" y="437506"/>
                  </a:cubicBezTo>
                  <a:cubicBezTo>
                    <a:pt x="337007" y="425354"/>
                    <a:pt x="340045" y="419277"/>
                    <a:pt x="349159" y="413201"/>
                  </a:cubicBezTo>
                  <a:cubicBezTo>
                    <a:pt x="352197" y="410163"/>
                    <a:pt x="355995" y="409404"/>
                    <a:pt x="360172" y="410543"/>
                  </a:cubicBezTo>
                  <a:close/>
                  <a:moveTo>
                    <a:pt x="1110570" y="389276"/>
                  </a:moveTo>
                  <a:cubicBezTo>
                    <a:pt x="1114748" y="390415"/>
                    <a:pt x="1119305" y="393453"/>
                    <a:pt x="1123862" y="398010"/>
                  </a:cubicBezTo>
                  <a:cubicBezTo>
                    <a:pt x="1132976" y="407124"/>
                    <a:pt x="1126900" y="416239"/>
                    <a:pt x="1117786" y="422315"/>
                  </a:cubicBezTo>
                  <a:cubicBezTo>
                    <a:pt x="1111710" y="425353"/>
                    <a:pt x="1099557" y="428391"/>
                    <a:pt x="1093481" y="416239"/>
                  </a:cubicBezTo>
                  <a:cubicBezTo>
                    <a:pt x="1087405" y="401048"/>
                    <a:pt x="1090443" y="394972"/>
                    <a:pt x="1099557" y="391934"/>
                  </a:cubicBezTo>
                  <a:cubicBezTo>
                    <a:pt x="1102595" y="388896"/>
                    <a:pt x="1106393" y="388137"/>
                    <a:pt x="1110570" y="389276"/>
                  </a:cubicBezTo>
                  <a:close/>
                  <a:moveTo>
                    <a:pt x="490806" y="383200"/>
                  </a:moveTo>
                  <a:cubicBezTo>
                    <a:pt x="494984" y="384339"/>
                    <a:pt x="499541" y="387377"/>
                    <a:pt x="504098" y="391934"/>
                  </a:cubicBezTo>
                  <a:cubicBezTo>
                    <a:pt x="513212" y="401048"/>
                    <a:pt x="507136" y="410163"/>
                    <a:pt x="498022" y="416239"/>
                  </a:cubicBezTo>
                  <a:cubicBezTo>
                    <a:pt x="491946" y="419277"/>
                    <a:pt x="479793" y="422315"/>
                    <a:pt x="473717" y="410163"/>
                  </a:cubicBezTo>
                  <a:cubicBezTo>
                    <a:pt x="467641" y="394972"/>
                    <a:pt x="470679" y="388896"/>
                    <a:pt x="479793" y="385858"/>
                  </a:cubicBezTo>
                  <a:cubicBezTo>
                    <a:pt x="482831" y="382820"/>
                    <a:pt x="486629" y="382061"/>
                    <a:pt x="490806" y="383200"/>
                  </a:cubicBezTo>
                  <a:close/>
                  <a:moveTo>
                    <a:pt x="900944" y="380162"/>
                  </a:moveTo>
                  <a:cubicBezTo>
                    <a:pt x="905122" y="381301"/>
                    <a:pt x="909679" y="384339"/>
                    <a:pt x="914236" y="388896"/>
                  </a:cubicBezTo>
                  <a:cubicBezTo>
                    <a:pt x="923350" y="398011"/>
                    <a:pt x="917274" y="407125"/>
                    <a:pt x="908160" y="413201"/>
                  </a:cubicBezTo>
                  <a:cubicBezTo>
                    <a:pt x="902084" y="416239"/>
                    <a:pt x="889931" y="419277"/>
                    <a:pt x="883855" y="407125"/>
                  </a:cubicBezTo>
                  <a:cubicBezTo>
                    <a:pt x="877779" y="394973"/>
                    <a:pt x="880817" y="388896"/>
                    <a:pt x="889931" y="382820"/>
                  </a:cubicBezTo>
                  <a:cubicBezTo>
                    <a:pt x="892969" y="379782"/>
                    <a:pt x="896767" y="379023"/>
                    <a:pt x="900944" y="380162"/>
                  </a:cubicBezTo>
                  <a:close/>
                  <a:moveTo>
                    <a:pt x="618404" y="361934"/>
                  </a:moveTo>
                  <a:cubicBezTo>
                    <a:pt x="622582" y="363073"/>
                    <a:pt x="627139" y="366111"/>
                    <a:pt x="631696" y="370668"/>
                  </a:cubicBezTo>
                  <a:cubicBezTo>
                    <a:pt x="640810" y="379783"/>
                    <a:pt x="634734" y="388897"/>
                    <a:pt x="625620" y="394973"/>
                  </a:cubicBezTo>
                  <a:cubicBezTo>
                    <a:pt x="619544" y="398011"/>
                    <a:pt x="607391" y="401049"/>
                    <a:pt x="601315" y="388897"/>
                  </a:cubicBezTo>
                  <a:cubicBezTo>
                    <a:pt x="595239" y="376744"/>
                    <a:pt x="598277" y="370668"/>
                    <a:pt x="607391" y="364592"/>
                  </a:cubicBezTo>
                  <a:cubicBezTo>
                    <a:pt x="610429" y="361554"/>
                    <a:pt x="614227" y="360795"/>
                    <a:pt x="618404" y="361934"/>
                  </a:cubicBezTo>
                  <a:close/>
                  <a:moveTo>
                    <a:pt x="749041" y="355858"/>
                  </a:moveTo>
                  <a:cubicBezTo>
                    <a:pt x="753219" y="356997"/>
                    <a:pt x="757776" y="360035"/>
                    <a:pt x="762333" y="364592"/>
                  </a:cubicBezTo>
                  <a:cubicBezTo>
                    <a:pt x="771447" y="373706"/>
                    <a:pt x="765371" y="382821"/>
                    <a:pt x="756257" y="388897"/>
                  </a:cubicBezTo>
                  <a:cubicBezTo>
                    <a:pt x="750181" y="391935"/>
                    <a:pt x="738028" y="394973"/>
                    <a:pt x="731952" y="382821"/>
                  </a:cubicBezTo>
                  <a:cubicBezTo>
                    <a:pt x="725876" y="367630"/>
                    <a:pt x="728914" y="361554"/>
                    <a:pt x="738028" y="358516"/>
                  </a:cubicBezTo>
                  <a:cubicBezTo>
                    <a:pt x="741066" y="355478"/>
                    <a:pt x="744864" y="354719"/>
                    <a:pt x="749041" y="355858"/>
                  </a:cubicBezTo>
                  <a:close/>
                  <a:moveTo>
                    <a:pt x="10801" y="334591"/>
                  </a:moveTo>
                  <a:cubicBezTo>
                    <a:pt x="14978" y="335730"/>
                    <a:pt x="19536" y="338768"/>
                    <a:pt x="24093" y="343325"/>
                  </a:cubicBezTo>
                  <a:cubicBezTo>
                    <a:pt x="33207" y="352440"/>
                    <a:pt x="24093" y="364592"/>
                    <a:pt x="18017" y="367630"/>
                  </a:cubicBezTo>
                  <a:cubicBezTo>
                    <a:pt x="14979" y="369149"/>
                    <a:pt x="10422" y="370668"/>
                    <a:pt x="5865" y="370288"/>
                  </a:cubicBezTo>
                  <a:lnTo>
                    <a:pt x="0" y="366073"/>
                  </a:lnTo>
                  <a:lnTo>
                    <a:pt x="0" y="337198"/>
                  </a:lnTo>
                  <a:close/>
                  <a:moveTo>
                    <a:pt x="1213864" y="313325"/>
                  </a:moveTo>
                  <a:cubicBezTo>
                    <a:pt x="1218042" y="314464"/>
                    <a:pt x="1222599" y="317502"/>
                    <a:pt x="1227156" y="322059"/>
                  </a:cubicBezTo>
                  <a:cubicBezTo>
                    <a:pt x="1236270" y="331173"/>
                    <a:pt x="1230194" y="340288"/>
                    <a:pt x="1221080" y="346364"/>
                  </a:cubicBezTo>
                  <a:cubicBezTo>
                    <a:pt x="1215004" y="349402"/>
                    <a:pt x="1202851" y="352440"/>
                    <a:pt x="1196775" y="340288"/>
                  </a:cubicBezTo>
                  <a:cubicBezTo>
                    <a:pt x="1190699" y="325097"/>
                    <a:pt x="1193737" y="319021"/>
                    <a:pt x="1202851" y="315983"/>
                  </a:cubicBezTo>
                  <a:cubicBezTo>
                    <a:pt x="1205889" y="312945"/>
                    <a:pt x="1209687" y="312186"/>
                    <a:pt x="1213864" y="313325"/>
                  </a:cubicBezTo>
                  <a:close/>
                  <a:moveTo>
                    <a:pt x="211313" y="313325"/>
                  </a:moveTo>
                  <a:cubicBezTo>
                    <a:pt x="215491" y="314464"/>
                    <a:pt x="220048" y="317502"/>
                    <a:pt x="224605" y="322059"/>
                  </a:cubicBezTo>
                  <a:cubicBezTo>
                    <a:pt x="233719" y="331173"/>
                    <a:pt x="227643" y="340288"/>
                    <a:pt x="218529" y="346364"/>
                  </a:cubicBezTo>
                  <a:cubicBezTo>
                    <a:pt x="212453" y="349402"/>
                    <a:pt x="200300" y="352440"/>
                    <a:pt x="194224" y="340288"/>
                  </a:cubicBezTo>
                  <a:cubicBezTo>
                    <a:pt x="188148" y="328135"/>
                    <a:pt x="191186" y="322059"/>
                    <a:pt x="200300" y="315983"/>
                  </a:cubicBezTo>
                  <a:cubicBezTo>
                    <a:pt x="203338" y="312945"/>
                    <a:pt x="207136" y="312186"/>
                    <a:pt x="211313" y="313325"/>
                  </a:cubicBezTo>
                  <a:close/>
                  <a:moveTo>
                    <a:pt x="314600" y="301172"/>
                  </a:moveTo>
                  <a:cubicBezTo>
                    <a:pt x="318778" y="302311"/>
                    <a:pt x="323335" y="305349"/>
                    <a:pt x="327892" y="309906"/>
                  </a:cubicBezTo>
                  <a:cubicBezTo>
                    <a:pt x="337006" y="319021"/>
                    <a:pt x="330930" y="328135"/>
                    <a:pt x="321816" y="334211"/>
                  </a:cubicBezTo>
                  <a:cubicBezTo>
                    <a:pt x="315740" y="337249"/>
                    <a:pt x="303587" y="340287"/>
                    <a:pt x="297511" y="328135"/>
                  </a:cubicBezTo>
                  <a:cubicBezTo>
                    <a:pt x="291435" y="315982"/>
                    <a:pt x="294473" y="309906"/>
                    <a:pt x="303587" y="303830"/>
                  </a:cubicBezTo>
                  <a:cubicBezTo>
                    <a:pt x="306625" y="300792"/>
                    <a:pt x="310423" y="300033"/>
                    <a:pt x="314600" y="301172"/>
                  </a:cubicBezTo>
                  <a:close/>
                  <a:moveTo>
                    <a:pt x="982972" y="298134"/>
                  </a:moveTo>
                  <a:cubicBezTo>
                    <a:pt x="987150" y="299273"/>
                    <a:pt x="991707" y="302311"/>
                    <a:pt x="996264" y="306868"/>
                  </a:cubicBezTo>
                  <a:cubicBezTo>
                    <a:pt x="1005378" y="315982"/>
                    <a:pt x="999302" y="325097"/>
                    <a:pt x="990188" y="331173"/>
                  </a:cubicBezTo>
                  <a:cubicBezTo>
                    <a:pt x="984111" y="334211"/>
                    <a:pt x="971959" y="337249"/>
                    <a:pt x="965883" y="325097"/>
                  </a:cubicBezTo>
                  <a:cubicBezTo>
                    <a:pt x="959807" y="312944"/>
                    <a:pt x="962845" y="306868"/>
                    <a:pt x="971959" y="300792"/>
                  </a:cubicBezTo>
                  <a:cubicBezTo>
                    <a:pt x="974997" y="297754"/>
                    <a:pt x="978795" y="296995"/>
                    <a:pt x="982972" y="298134"/>
                  </a:cubicBezTo>
                  <a:close/>
                  <a:moveTo>
                    <a:pt x="417898" y="298134"/>
                  </a:moveTo>
                  <a:cubicBezTo>
                    <a:pt x="422075" y="299273"/>
                    <a:pt x="426630" y="302311"/>
                    <a:pt x="431187" y="306868"/>
                  </a:cubicBezTo>
                  <a:cubicBezTo>
                    <a:pt x="440300" y="315982"/>
                    <a:pt x="434224" y="325097"/>
                    <a:pt x="425112" y="331173"/>
                  </a:cubicBezTo>
                  <a:cubicBezTo>
                    <a:pt x="419036" y="334211"/>
                    <a:pt x="406884" y="337249"/>
                    <a:pt x="400806" y="325097"/>
                  </a:cubicBezTo>
                  <a:cubicBezTo>
                    <a:pt x="394729" y="312944"/>
                    <a:pt x="394729" y="306868"/>
                    <a:pt x="406884" y="300792"/>
                  </a:cubicBezTo>
                  <a:cubicBezTo>
                    <a:pt x="409923" y="297754"/>
                    <a:pt x="413721" y="296995"/>
                    <a:pt x="417898" y="298134"/>
                  </a:cubicBezTo>
                  <a:close/>
                  <a:moveTo>
                    <a:pt x="858411" y="295096"/>
                  </a:moveTo>
                  <a:cubicBezTo>
                    <a:pt x="862589" y="296235"/>
                    <a:pt x="867146" y="299273"/>
                    <a:pt x="871703" y="303830"/>
                  </a:cubicBezTo>
                  <a:cubicBezTo>
                    <a:pt x="880817" y="312944"/>
                    <a:pt x="874741" y="322059"/>
                    <a:pt x="865627" y="328135"/>
                  </a:cubicBezTo>
                  <a:cubicBezTo>
                    <a:pt x="859550" y="331173"/>
                    <a:pt x="847398" y="334211"/>
                    <a:pt x="841322" y="322059"/>
                  </a:cubicBezTo>
                  <a:cubicBezTo>
                    <a:pt x="835246" y="309906"/>
                    <a:pt x="838284" y="303830"/>
                    <a:pt x="847398" y="297754"/>
                  </a:cubicBezTo>
                  <a:cubicBezTo>
                    <a:pt x="850436" y="294716"/>
                    <a:pt x="854234" y="293957"/>
                    <a:pt x="858411" y="295096"/>
                  </a:cubicBezTo>
                  <a:close/>
                  <a:moveTo>
                    <a:pt x="1095380" y="292058"/>
                  </a:moveTo>
                  <a:cubicBezTo>
                    <a:pt x="1099558" y="293197"/>
                    <a:pt x="1104115" y="296235"/>
                    <a:pt x="1108672" y="300792"/>
                  </a:cubicBezTo>
                  <a:cubicBezTo>
                    <a:pt x="1117786" y="309906"/>
                    <a:pt x="1111710" y="319021"/>
                    <a:pt x="1102596" y="325097"/>
                  </a:cubicBezTo>
                  <a:cubicBezTo>
                    <a:pt x="1096520" y="328135"/>
                    <a:pt x="1084367" y="331173"/>
                    <a:pt x="1078291" y="319021"/>
                  </a:cubicBezTo>
                  <a:cubicBezTo>
                    <a:pt x="1072215" y="303830"/>
                    <a:pt x="1075253" y="297754"/>
                    <a:pt x="1084367" y="294716"/>
                  </a:cubicBezTo>
                  <a:cubicBezTo>
                    <a:pt x="1087405" y="291678"/>
                    <a:pt x="1091203" y="290919"/>
                    <a:pt x="1095380" y="292058"/>
                  </a:cubicBezTo>
                  <a:close/>
                  <a:moveTo>
                    <a:pt x="108024" y="289020"/>
                  </a:moveTo>
                  <a:cubicBezTo>
                    <a:pt x="112201" y="290159"/>
                    <a:pt x="116759" y="293197"/>
                    <a:pt x="121316" y="297754"/>
                  </a:cubicBezTo>
                  <a:cubicBezTo>
                    <a:pt x="130429" y="306868"/>
                    <a:pt x="124354" y="315983"/>
                    <a:pt x="115240" y="322059"/>
                  </a:cubicBezTo>
                  <a:cubicBezTo>
                    <a:pt x="109164" y="325097"/>
                    <a:pt x="97011" y="328135"/>
                    <a:pt x="90935" y="315983"/>
                  </a:cubicBezTo>
                  <a:cubicBezTo>
                    <a:pt x="84859" y="300792"/>
                    <a:pt x="87897" y="294716"/>
                    <a:pt x="97011" y="291678"/>
                  </a:cubicBezTo>
                  <a:cubicBezTo>
                    <a:pt x="100049" y="288640"/>
                    <a:pt x="103846" y="287881"/>
                    <a:pt x="108024" y="289020"/>
                  </a:cubicBezTo>
                  <a:close/>
                  <a:moveTo>
                    <a:pt x="533338" y="270792"/>
                  </a:moveTo>
                  <a:cubicBezTo>
                    <a:pt x="537516" y="271931"/>
                    <a:pt x="542073" y="274969"/>
                    <a:pt x="546630" y="279526"/>
                  </a:cubicBezTo>
                  <a:cubicBezTo>
                    <a:pt x="555744" y="288640"/>
                    <a:pt x="549668" y="297755"/>
                    <a:pt x="540554" y="303831"/>
                  </a:cubicBezTo>
                  <a:cubicBezTo>
                    <a:pt x="534478" y="306869"/>
                    <a:pt x="522328" y="309907"/>
                    <a:pt x="516251" y="297755"/>
                  </a:cubicBezTo>
                  <a:cubicBezTo>
                    <a:pt x="510175" y="285602"/>
                    <a:pt x="513213" y="276488"/>
                    <a:pt x="522328" y="273450"/>
                  </a:cubicBezTo>
                  <a:cubicBezTo>
                    <a:pt x="525363" y="270412"/>
                    <a:pt x="529161" y="269653"/>
                    <a:pt x="533338" y="270792"/>
                  </a:cubicBezTo>
                  <a:close/>
                  <a:moveTo>
                    <a:pt x="633594" y="261678"/>
                  </a:moveTo>
                  <a:cubicBezTo>
                    <a:pt x="637772" y="262817"/>
                    <a:pt x="642329" y="265855"/>
                    <a:pt x="646886" y="270412"/>
                  </a:cubicBezTo>
                  <a:cubicBezTo>
                    <a:pt x="656000" y="279526"/>
                    <a:pt x="646886" y="291679"/>
                    <a:pt x="640810" y="294717"/>
                  </a:cubicBezTo>
                  <a:cubicBezTo>
                    <a:pt x="634734" y="297755"/>
                    <a:pt x="622581" y="300793"/>
                    <a:pt x="616505" y="288641"/>
                  </a:cubicBezTo>
                  <a:cubicBezTo>
                    <a:pt x="610429" y="276488"/>
                    <a:pt x="613467" y="267374"/>
                    <a:pt x="622581" y="264336"/>
                  </a:cubicBezTo>
                  <a:cubicBezTo>
                    <a:pt x="625619" y="261298"/>
                    <a:pt x="629417" y="260539"/>
                    <a:pt x="633594" y="261678"/>
                  </a:cubicBezTo>
                  <a:close/>
                  <a:moveTo>
                    <a:pt x="746003" y="258640"/>
                  </a:moveTo>
                  <a:cubicBezTo>
                    <a:pt x="750181" y="259779"/>
                    <a:pt x="754738" y="262817"/>
                    <a:pt x="759295" y="267374"/>
                  </a:cubicBezTo>
                  <a:cubicBezTo>
                    <a:pt x="768409" y="276488"/>
                    <a:pt x="759295" y="288641"/>
                    <a:pt x="753219" y="291679"/>
                  </a:cubicBezTo>
                  <a:cubicBezTo>
                    <a:pt x="747143" y="294717"/>
                    <a:pt x="734990" y="297755"/>
                    <a:pt x="728914" y="285603"/>
                  </a:cubicBezTo>
                  <a:cubicBezTo>
                    <a:pt x="722838" y="270412"/>
                    <a:pt x="725876" y="264336"/>
                    <a:pt x="734990" y="261298"/>
                  </a:cubicBezTo>
                  <a:cubicBezTo>
                    <a:pt x="738028" y="258260"/>
                    <a:pt x="741826" y="257500"/>
                    <a:pt x="746003" y="258640"/>
                  </a:cubicBezTo>
                  <a:close/>
                  <a:moveTo>
                    <a:pt x="1301968" y="225221"/>
                  </a:moveTo>
                  <a:cubicBezTo>
                    <a:pt x="1306146" y="226360"/>
                    <a:pt x="1310703" y="229398"/>
                    <a:pt x="1315260" y="233955"/>
                  </a:cubicBezTo>
                  <a:cubicBezTo>
                    <a:pt x="1324374" y="243069"/>
                    <a:pt x="1315260" y="255222"/>
                    <a:pt x="1309184" y="258260"/>
                  </a:cubicBezTo>
                  <a:cubicBezTo>
                    <a:pt x="1303107" y="261298"/>
                    <a:pt x="1290955" y="264336"/>
                    <a:pt x="1284879" y="252184"/>
                  </a:cubicBezTo>
                  <a:cubicBezTo>
                    <a:pt x="1278803" y="240031"/>
                    <a:pt x="1281841" y="233955"/>
                    <a:pt x="1290955" y="227879"/>
                  </a:cubicBezTo>
                  <a:cubicBezTo>
                    <a:pt x="1293993" y="224841"/>
                    <a:pt x="1297791" y="224081"/>
                    <a:pt x="1301968" y="225221"/>
                  </a:cubicBezTo>
                  <a:close/>
                  <a:moveTo>
                    <a:pt x="7756" y="225221"/>
                  </a:moveTo>
                  <a:cubicBezTo>
                    <a:pt x="11933" y="226360"/>
                    <a:pt x="16491" y="229398"/>
                    <a:pt x="21048" y="233955"/>
                  </a:cubicBezTo>
                  <a:cubicBezTo>
                    <a:pt x="30162" y="243069"/>
                    <a:pt x="21048" y="255222"/>
                    <a:pt x="14972" y="258260"/>
                  </a:cubicBezTo>
                  <a:cubicBezTo>
                    <a:pt x="11934" y="259779"/>
                    <a:pt x="7376" y="261298"/>
                    <a:pt x="2819" y="260918"/>
                  </a:cubicBezTo>
                  <a:lnTo>
                    <a:pt x="0" y="258892"/>
                  </a:lnTo>
                  <a:lnTo>
                    <a:pt x="0" y="227093"/>
                  </a:lnTo>
                  <a:close/>
                  <a:moveTo>
                    <a:pt x="180938" y="210031"/>
                  </a:moveTo>
                  <a:cubicBezTo>
                    <a:pt x="185115" y="211170"/>
                    <a:pt x="189672" y="214208"/>
                    <a:pt x="194229" y="218765"/>
                  </a:cubicBezTo>
                  <a:cubicBezTo>
                    <a:pt x="203343" y="227879"/>
                    <a:pt x="194229" y="240032"/>
                    <a:pt x="188153" y="243070"/>
                  </a:cubicBezTo>
                  <a:cubicBezTo>
                    <a:pt x="182077" y="246108"/>
                    <a:pt x="169925" y="249146"/>
                    <a:pt x="163849" y="236994"/>
                  </a:cubicBezTo>
                  <a:cubicBezTo>
                    <a:pt x="157773" y="224841"/>
                    <a:pt x="160811" y="215727"/>
                    <a:pt x="169925" y="212689"/>
                  </a:cubicBezTo>
                  <a:cubicBezTo>
                    <a:pt x="172962" y="209651"/>
                    <a:pt x="176760" y="208891"/>
                    <a:pt x="180938" y="210031"/>
                  </a:cubicBezTo>
                  <a:close/>
                  <a:moveTo>
                    <a:pt x="1183484" y="203954"/>
                  </a:moveTo>
                  <a:cubicBezTo>
                    <a:pt x="1187662" y="205093"/>
                    <a:pt x="1192219" y="208131"/>
                    <a:pt x="1196776" y="212688"/>
                  </a:cubicBezTo>
                  <a:cubicBezTo>
                    <a:pt x="1205890" y="221802"/>
                    <a:pt x="1199814" y="230917"/>
                    <a:pt x="1190700" y="236993"/>
                  </a:cubicBezTo>
                  <a:cubicBezTo>
                    <a:pt x="1184624" y="240031"/>
                    <a:pt x="1172471" y="243069"/>
                    <a:pt x="1166395" y="230917"/>
                  </a:cubicBezTo>
                  <a:cubicBezTo>
                    <a:pt x="1160319" y="218764"/>
                    <a:pt x="1160319" y="212688"/>
                    <a:pt x="1172471" y="206612"/>
                  </a:cubicBezTo>
                  <a:cubicBezTo>
                    <a:pt x="1175509" y="203574"/>
                    <a:pt x="1179307" y="202814"/>
                    <a:pt x="1183484" y="203954"/>
                  </a:cubicBezTo>
                  <a:close/>
                  <a:moveTo>
                    <a:pt x="946515" y="197878"/>
                  </a:moveTo>
                  <a:cubicBezTo>
                    <a:pt x="950693" y="199017"/>
                    <a:pt x="955250" y="202055"/>
                    <a:pt x="959807" y="206612"/>
                  </a:cubicBezTo>
                  <a:cubicBezTo>
                    <a:pt x="968921" y="215726"/>
                    <a:pt x="962845" y="224841"/>
                    <a:pt x="953731" y="230917"/>
                  </a:cubicBezTo>
                  <a:cubicBezTo>
                    <a:pt x="947655" y="233955"/>
                    <a:pt x="935502" y="236993"/>
                    <a:pt x="929426" y="224841"/>
                  </a:cubicBezTo>
                  <a:cubicBezTo>
                    <a:pt x="923350" y="209650"/>
                    <a:pt x="926388" y="203574"/>
                    <a:pt x="935502" y="200536"/>
                  </a:cubicBezTo>
                  <a:cubicBezTo>
                    <a:pt x="938540" y="197498"/>
                    <a:pt x="942338" y="196739"/>
                    <a:pt x="946515" y="197878"/>
                  </a:cubicBezTo>
                  <a:close/>
                  <a:moveTo>
                    <a:pt x="466501" y="197878"/>
                  </a:moveTo>
                  <a:cubicBezTo>
                    <a:pt x="470678" y="199017"/>
                    <a:pt x="475236" y="202055"/>
                    <a:pt x="479793" y="206612"/>
                  </a:cubicBezTo>
                  <a:cubicBezTo>
                    <a:pt x="488908" y="215726"/>
                    <a:pt x="479793" y="227879"/>
                    <a:pt x="473717" y="230917"/>
                  </a:cubicBezTo>
                  <a:cubicBezTo>
                    <a:pt x="467641" y="233955"/>
                    <a:pt x="455486" y="236993"/>
                    <a:pt x="449412" y="224841"/>
                  </a:cubicBezTo>
                  <a:cubicBezTo>
                    <a:pt x="443337" y="212688"/>
                    <a:pt x="446374" y="206612"/>
                    <a:pt x="455486" y="200536"/>
                  </a:cubicBezTo>
                  <a:cubicBezTo>
                    <a:pt x="458524" y="197498"/>
                    <a:pt x="462322" y="196739"/>
                    <a:pt x="466501" y="197878"/>
                  </a:cubicBezTo>
                  <a:close/>
                  <a:moveTo>
                    <a:pt x="323717" y="197878"/>
                  </a:moveTo>
                  <a:cubicBezTo>
                    <a:pt x="327895" y="199017"/>
                    <a:pt x="332452" y="202055"/>
                    <a:pt x="337009" y="206612"/>
                  </a:cubicBezTo>
                  <a:cubicBezTo>
                    <a:pt x="346123" y="215726"/>
                    <a:pt x="337009" y="227879"/>
                    <a:pt x="330933" y="230917"/>
                  </a:cubicBezTo>
                  <a:cubicBezTo>
                    <a:pt x="324857" y="233955"/>
                    <a:pt x="312704" y="236993"/>
                    <a:pt x="306628" y="224841"/>
                  </a:cubicBezTo>
                  <a:cubicBezTo>
                    <a:pt x="300552" y="209650"/>
                    <a:pt x="303590" y="203574"/>
                    <a:pt x="312704" y="200536"/>
                  </a:cubicBezTo>
                  <a:cubicBezTo>
                    <a:pt x="315742" y="197498"/>
                    <a:pt x="319540" y="196739"/>
                    <a:pt x="323717" y="197878"/>
                  </a:cubicBezTo>
                  <a:close/>
                  <a:moveTo>
                    <a:pt x="1074113" y="188764"/>
                  </a:moveTo>
                  <a:cubicBezTo>
                    <a:pt x="1078291" y="189903"/>
                    <a:pt x="1082848" y="192941"/>
                    <a:pt x="1087405" y="197498"/>
                  </a:cubicBezTo>
                  <a:cubicBezTo>
                    <a:pt x="1096519" y="206612"/>
                    <a:pt x="1087405" y="218765"/>
                    <a:pt x="1081329" y="221803"/>
                  </a:cubicBezTo>
                  <a:cubicBezTo>
                    <a:pt x="1075252" y="224841"/>
                    <a:pt x="1063100" y="227879"/>
                    <a:pt x="1057024" y="215727"/>
                  </a:cubicBezTo>
                  <a:cubicBezTo>
                    <a:pt x="1050948" y="200536"/>
                    <a:pt x="1053986" y="194460"/>
                    <a:pt x="1063100" y="191422"/>
                  </a:cubicBezTo>
                  <a:cubicBezTo>
                    <a:pt x="1066138" y="188384"/>
                    <a:pt x="1069936" y="187625"/>
                    <a:pt x="1074113" y="188764"/>
                  </a:cubicBezTo>
                  <a:close/>
                  <a:moveTo>
                    <a:pt x="846259" y="188764"/>
                  </a:moveTo>
                  <a:cubicBezTo>
                    <a:pt x="850437" y="189903"/>
                    <a:pt x="854994" y="192941"/>
                    <a:pt x="859551" y="197498"/>
                  </a:cubicBezTo>
                  <a:cubicBezTo>
                    <a:pt x="868665" y="206612"/>
                    <a:pt x="862589" y="215727"/>
                    <a:pt x="853475" y="221803"/>
                  </a:cubicBezTo>
                  <a:cubicBezTo>
                    <a:pt x="847399" y="224841"/>
                    <a:pt x="835246" y="227879"/>
                    <a:pt x="829170" y="215727"/>
                  </a:cubicBezTo>
                  <a:cubicBezTo>
                    <a:pt x="823094" y="203574"/>
                    <a:pt x="826132" y="194460"/>
                    <a:pt x="835246" y="191422"/>
                  </a:cubicBezTo>
                  <a:cubicBezTo>
                    <a:pt x="838284" y="188384"/>
                    <a:pt x="842082" y="187624"/>
                    <a:pt x="846259" y="188764"/>
                  </a:cubicBezTo>
                  <a:close/>
                  <a:moveTo>
                    <a:pt x="694356" y="164460"/>
                  </a:moveTo>
                  <a:cubicBezTo>
                    <a:pt x="698534" y="165599"/>
                    <a:pt x="703091" y="168637"/>
                    <a:pt x="707648" y="173194"/>
                  </a:cubicBezTo>
                  <a:cubicBezTo>
                    <a:pt x="716762" y="182308"/>
                    <a:pt x="710686" y="191423"/>
                    <a:pt x="701572" y="197499"/>
                  </a:cubicBezTo>
                  <a:cubicBezTo>
                    <a:pt x="695496" y="200537"/>
                    <a:pt x="683343" y="203575"/>
                    <a:pt x="677267" y="191423"/>
                  </a:cubicBezTo>
                  <a:cubicBezTo>
                    <a:pt x="671191" y="179270"/>
                    <a:pt x="674229" y="173194"/>
                    <a:pt x="683343" y="167118"/>
                  </a:cubicBezTo>
                  <a:cubicBezTo>
                    <a:pt x="686381" y="164080"/>
                    <a:pt x="690179" y="163321"/>
                    <a:pt x="694356" y="164460"/>
                  </a:cubicBezTo>
                  <a:close/>
                  <a:moveTo>
                    <a:pt x="77635" y="152307"/>
                  </a:moveTo>
                  <a:cubicBezTo>
                    <a:pt x="81812" y="153446"/>
                    <a:pt x="86370" y="156484"/>
                    <a:pt x="90926" y="161041"/>
                  </a:cubicBezTo>
                  <a:cubicBezTo>
                    <a:pt x="100040" y="170155"/>
                    <a:pt x="93964" y="179270"/>
                    <a:pt x="84851" y="185346"/>
                  </a:cubicBezTo>
                  <a:cubicBezTo>
                    <a:pt x="78775" y="188384"/>
                    <a:pt x="66622" y="191422"/>
                    <a:pt x="60546" y="179270"/>
                  </a:cubicBezTo>
                  <a:cubicBezTo>
                    <a:pt x="54470" y="167117"/>
                    <a:pt x="57508" y="158003"/>
                    <a:pt x="66622" y="154965"/>
                  </a:cubicBezTo>
                  <a:cubicBezTo>
                    <a:pt x="69660" y="151927"/>
                    <a:pt x="73457" y="151167"/>
                    <a:pt x="77635" y="152307"/>
                  </a:cubicBezTo>
                  <a:close/>
                  <a:moveTo>
                    <a:pt x="1377919" y="146231"/>
                  </a:moveTo>
                  <a:cubicBezTo>
                    <a:pt x="1382097" y="147370"/>
                    <a:pt x="1386654" y="150408"/>
                    <a:pt x="1391211" y="154965"/>
                  </a:cubicBezTo>
                  <a:cubicBezTo>
                    <a:pt x="1400325" y="164079"/>
                    <a:pt x="1394249" y="173194"/>
                    <a:pt x="1385135" y="179270"/>
                  </a:cubicBezTo>
                  <a:cubicBezTo>
                    <a:pt x="1379058" y="182308"/>
                    <a:pt x="1366906" y="185346"/>
                    <a:pt x="1360830" y="173194"/>
                  </a:cubicBezTo>
                  <a:cubicBezTo>
                    <a:pt x="1354754" y="161041"/>
                    <a:pt x="1357792" y="154965"/>
                    <a:pt x="1366906" y="148889"/>
                  </a:cubicBezTo>
                  <a:cubicBezTo>
                    <a:pt x="1369944" y="145851"/>
                    <a:pt x="1373742" y="145092"/>
                    <a:pt x="1377919" y="146231"/>
                  </a:cubicBezTo>
                  <a:close/>
                  <a:moveTo>
                    <a:pt x="588024" y="143193"/>
                  </a:moveTo>
                  <a:cubicBezTo>
                    <a:pt x="592202" y="144332"/>
                    <a:pt x="596759" y="147370"/>
                    <a:pt x="601316" y="151927"/>
                  </a:cubicBezTo>
                  <a:cubicBezTo>
                    <a:pt x="610430" y="161041"/>
                    <a:pt x="604354" y="170156"/>
                    <a:pt x="595240" y="176232"/>
                  </a:cubicBezTo>
                  <a:cubicBezTo>
                    <a:pt x="589164" y="179270"/>
                    <a:pt x="577011" y="182308"/>
                    <a:pt x="570935" y="170156"/>
                  </a:cubicBezTo>
                  <a:cubicBezTo>
                    <a:pt x="564859" y="154965"/>
                    <a:pt x="567897" y="148889"/>
                    <a:pt x="577011" y="145851"/>
                  </a:cubicBezTo>
                  <a:cubicBezTo>
                    <a:pt x="580049" y="142813"/>
                    <a:pt x="583847" y="142053"/>
                    <a:pt x="588024" y="143193"/>
                  </a:cubicBezTo>
                  <a:close/>
                  <a:moveTo>
                    <a:pt x="241687" y="128003"/>
                  </a:moveTo>
                  <a:cubicBezTo>
                    <a:pt x="245865" y="129142"/>
                    <a:pt x="250422" y="132180"/>
                    <a:pt x="254979" y="136737"/>
                  </a:cubicBezTo>
                  <a:cubicBezTo>
                    <a:pt x="264093" y="145851"/>
                    <a:pt x="258017" y="154966"/>
                    <a:pt x="248903" y="161042"/>
                  </a:cubicBezTo>
                  <a:cubicBezTo>
                    <a:pt x="242827" y="164080"/>
                    <a:pt x="230674" y="167118"/>
                    <a:pt x="224598" y="154966"/>
                  </a:cubicBezTo>
                  <a:cubicBezTo>
                    <a:pt x="218522" y="139775"/>
                    <a:pt x="221560" y="133699"/>
                    <a:pt x="230674" y="130661"/>
                  </a:cubicBezTo>
                  <a:cubicBezTo>
                    <a:pt x="233712" y="127623"/>
                    <a:pt x="237510" y="126864"/>
                    <a:pt x="241687" y="128003"/>
                  </a:cubicBezTo>
                  <a:close/>
                  <a:moveTo>
                    <a:pt x="1259435" y="124965"/>
                  </a:moveTo>
                  <a:cubicBezTo>
                    <a:pt x="1263613" y="126104"/>
                    <a:pt x="1268170" y="129142"/>
                    <a:pt x="1272727" y="133699"/>
                  </a:cubicBezTo>
                  <a:cubicBezTo>
                    <a:pt x="1281841" y="142813"/>
                    <a:pt x="1272727" y="154966"/>
                    <a:pt x="1266651" y="158004"/>
                  </a:cubicBezTo>
                  <a:cubicBezTo>
                    <a:pt x="1260575" y="161042"/>
                    <a:pt x="1248422" y="164080"/>
                    <a:pt x="1242346" y="151928"/>
                  </a:cubicBezTo>
                  <a:cubicBezTo>
                    <a:pt x="1236270" y="136737"/>
                    <a:pt x="1239308" y="130661"/>
                    <a:pt x="1248422" y="127623"/>
                  </a:cubicBezTo>
                  <a:cubicBezTo>
                    <a:pt x="1251460" y="124585"/>
                    <a:pt x="1255258" y="123825"/>
                    <a:pt x="1259435" y="124965"/>
                  </a:cubicBezTo>
                  <a:close/>
                  <a:moveTo>
                    <a:pt x="399672" y="118889"/>
                  </a:moveTo>
                  <a:cubicBezTo>
                    <a:pt x="403852" y="120028"/>
                    <a:pt x="408409" y="123066"/>
                    <a:pt x="412966" y="127623"/>
                  </a:cubicBezTo>
                  <a:cubicBezTo>
                    <a:pt x="422078" y="136737"/>
                    <a:pt x="416004" y="145852"/>
                    <a:pt x="406890" y="151928"/>
                  </a:cubicBezTo>
                  <a:cubicBezTo>
                    <a:pt x="400812" y="154966"/>
                    <a:pt x="388658" y="158004"/>
                    <a:pt x="382584" y="145852"/>
                  </a:cubicBezTo>
                  <a:cubicBezTo>
                    <a:pt x="376513" y="133699"/>
                    <a:pt x="379551" y="127623"/>
                    <a:pt x="388658" y="121547"/>
                  </a:cubicBezTo>
                  <a:cubicBezTo>
                    <a:pt x="391694" y="118509"/>
                    <a:pt x="395492" y="117750"/>
                    <a:pt x="399672" y="118889"/>
                  </a:cubicBezTo>
                  <a:close/>
                  <a:moveTo>
                    <a:pt x="1004238" y="112813"/>
                  </a:moveTo>
                  <a:cubicBezTo>
                    <a:pt x="1008416" y="113952"/>
                    <a:pt x="1012973" y="116990"/>
                    <a:pt x="1017530" y="121547"/>
                  </a:cubicBezTo>
                  <a:cubicBezTo>
                    <a:pt x="1026644" y="130661"/>
                    <a:pt x="1020568" y="139776"/>
                    <a:pt x="1011454" y="145852"/>
                  </a:cubicBezTo>
                  <a:cubicBezTo>
                    <a:pt x="1005378" y="148890"/>
                    <a:pt x="993225" y="151928"/>
                    <a:pt x="987149" y="139776"/>
                  </a:cubicBezTo>
                  <a:cubicBezTo>
                    <a:pt x="981073" y="127623"/>
                    <a:pt x="984111" y="121547"/>
                    <a:pt x="993225" y="115471"/>
                  </a:cubicBezTo>
                  <a:cubicBezTo>
                    <a:pt x="996263" y="112433"/>
                    <a:pt x="1000061" y="111674"/>
                    <a:pt x="1004238" y="112813"/>
                  </a:cubicBezTo>
                  <a:close/>
                  <a:moveTo>
                    <a:pt x="800688" y="97622"/>
                  </a:moveTo>
                  <a:cubicBezTo>
                    <a:pt x="804866" y="98761"/>
                    <a:pt x="809423" y="101799"/>
                    <a:pt x="813980" y="106356"/>
                  </a:cubicBezTo>
                  <a:cubicBezTo>
                    <a:pt x="823094" y="115470"/>
                    <a:pt x="817018" y="124585"/>
                    <a:pt x="807904" y="130661"/>
                  </a:cubicBezTo>
                  <a:cubicBezTo>
                    <a:pt x="801828" y="133699"/>
                    <a:pt x="789675" y="136737"/>
                    <a:pt x="783599" y="124585"/>
                  </a:cubicBezTo>
                  <a:cubicBezTo>
                    <a:pt x="777523" y="112432"/>
                    <a:pt x="780561" y="106356"/>
                    <a:pt x="789675" y="100280"/>
                  </a:cubicBezTo>
                  <a:cubicBezTo>
                    <a:pt x="792713" y="97242"/>
                    <a:pt x="796511" y="96482"/>
                    <a:pt x="800688" y="97622"/>
                  </a:cubicBezTo>
                  <a:close/>
                  <a:moveTo>
                    <a:pt x="1128799" y="85470"/>
                  </a:moveTo>
                  <a:cubicBezTo>
                    <a:pt x="1132976" y="86609"/>
                    <a:pt x="1137533" y="89647"/>
                    <a:pt x="1142090" y="94204"/>
                  </a:cubicBezTo>
                  <a:cubicBezTo>
                    <a:pt x="1151204" y="103318"/>
                    <a:pt x="1142090" y="115471"/>
                    <a:pt x="1136014" y="118509"/>
                  </a:cubicBezTo>
                  <a:cubicBezTo>
                    <a:pt x="1129938" y="121547"/>
                    <a:pt x="1117785" y="124585"/>
                    <a:pt x="1111709" y="112433"/>
                  </a:cubicBezTo>
                  <a:cubicBezTo>
                    <a:pt x="1105633" y="97242"/>
                    <a:pt x="1108671" y="91166"/>
                    <a:pt x="1117785" y="88128"/>
                  </a:cubicBezTo>
                  <a:cubicBezTo>
                    <a:pt x="1120824" y="85090"/>
                    <a:pt x="1124621" y="84331"/>
                    <a:pt x="1128799" y="85470"/>
                  </a:cubicBezTo>
                  <a:close/>
                  <a:moveTo>
                    <a:pt x="515112" y="85470"/>
                  </a:moveTo>
                  <a:cubicBezTo>
                    <a:pt x="519291" y="86609"/>
                    <a:pt x="523848" y="89647"/>
                    <a:pt x="528402" y="94204"/>
                  </a:cubicBezTo>
                  <a:cubicBezTo>
                    <a:pt x="537516" y="103318"/>
                    <a:pt x="531440" y="112433"/>
                    <a:pt x="522328" y="118509"/>
                  </a:cubicBezTo>
                  <a:cubicBezTo>
                    <a:pt x="516251" y="121547"/>
                    <a:pt x="504099" y="124585"/>
                    <a:pt x="498023" y="112433"/>
                  </a:cubicBezTo>
                  <a:cubicBezTo>
                    <a:pt x="491947" y="100280"/>
                    <a:pt x="491947" y="94204"/>
                    <a:pt x="504099" y="88128"/>
                  </a:cubicBezTo>
                  <a:cubicBezTo>
                    <a:pt x="507138" y="85090"/>
                    <a:pt x="510935" y="84331"/>
                    <a:pt x="515112" y="85470"/>
                  </a:cubicBezTo>
                  <a:close/>
                  <a:moveTo>
                    <a:pt x="682203" y="73318"/>
                  </a:moveTo>
                  <a:cubicBezTo>
                    <a:pt x="686381" y="74457"/>
                    <a:pt x="690938" y="77495"/>
                    <a:pt x="695495" y="82052"/>
                  </a:cubicBezTo>
                  <a:cubicBezTo>
                    <a:pt x="704609" y="91166"/>
                    <a:pt x="698533" y="100281"/>
                    <a:pt x="689419" y="106357"/>
                  </a:cubicBezTo>
                  <a:cubicBezTo>
                    <a:pt x="683343" y="109395"/>
                    <a:pt x="671190" y="112433"/>
                    <a:pt x="665114" y="100281"/>
                  </a:cubicBezTo>
                  <a:cubicBezTo>
                    <a:pt x="659038" y="88128"/>
                    <a:pt x="662076" y="79014"/>
                    <a:pt x="671190" y="75976"/>
                  </a:cubicBezTo>
                  <a:cubicBezTo>
                    <a:pt x="674228" y="72938"/>
                    <a:pt x="678026" y="72178"/>
                    <a:pt x="682203" y="73318"/>
                  </a:cubicBezTo>
                  <a:close/>
                  <a:moveTo>
                    <a:pt x="159669" y="67242"/>
                  </a:moveTo>
                  <a:cubicBezTo>
                    <a:pt x="163846" y="68381"/>
                    <a:pt x="168403" y="71419"/>
                    <a:pt x="172960" y="75976"/>
                  </a:cubicBezTo>
                  <a:cubicBezTo>
                    <a:pt x="182074" y="85090"/>
                    <a:pt x="175998" y="94205"/>
                    <a:pt x="166884" y="100281"/>
                  </a:cubicBezTo>
                  <a:cubicBezTo>
                    <a:pt x="160807" y="103319"/>
                    <a:pt x="148655" y="106357"/>
                    <a:pt x="142579" y="94205"/>
                  </a:cubicBezTo>
                  <a:cubicBezTo>
                    <a:pt x="136504" y="82052"/>
                    <a:pt x="139542" y="75976"/>
                    <a:pt x="148655" y="69900"/>
                  </a:cubicBezTo>
                  <a:cubicBezTo>
                    <a:pt x="151694" y="66862"/>
                    <a:pt x="155491" y="66102"/>
                    <a:pt x="159669" y="67242"/>
                  </a:cubicBezTo>
                  <a:close/>
                  <a:moveTo>
                    <a:pt x="1453871" y="58127"/>
                  </a:moveTo>
                  <a:cubicBezTo>
                    <a:pt x="1458049" y="59266"/>
                    <a:pt x="1462606" y="62304"/>
                    <a:pt x="1467163" y="66861"/>
                  </a:cubicBezTo>
                  <a:cubicBezTo>
                    <a:pt x="1476277" y="75975"/>
                    <a:pt x="1467163" y="88128"/>
                    <a:pt x="1461087" y="91166"/>
                  </a:cubicBezTo>
                  <a:cubicBezTo>
                    <a:pt x="1455010" y="94204"/>
                    <a:pt x="1442858" y="97242"/>
                    <a:pt x="1436782" y="85090"/>
                  </a:cubicBezTo>
                  <a:cubicBezTo>
                    <a:pt x="1430706" y="72937"/>
                    <a:pt x="1430706" y="66861"/>
                    <a:pt x="1442858" y="60785"/>
                  </a:cubicBezTo>
                  <a:cubicBezTo>
                    <a:pt x="1445896" y="57747"/>
                    <a:pt x="1449694" y="56987"/>
                    <a:pt x="1453871" y="58127"/>
                  </a:cubicBezTo>
                  <a:close/>
                  <a:moveTo>
                    <a:pt x="47254" y="58127"/>
                  </a:moveTo>
                  <a:cubicBezTo>
                    <a:pt x="51432" y="59266"/>
                    <a:pt x="55989" y="62304"/>
                    <a:pt x="60546" y="66861"/>
                  </a:cubicBezTo>
                  <a:cubicBezTo>
                    <a:pt x="69660" y="75975"/>
                    <a:pt x="63584" y="85090"/>
                    <a:pt x="54470" y="91166"/>
                  </a:cubicBezTo>
                  <a:cubicBezTo>
                    <a:pt x="48394" y="94204"/>
                    <a:pt x="36241" y="97242"/>
                    <a:pt x="30165" y="85090"/>
                  </a:cubicBezTo>
                  <a:cubicBezTo>
                    <a:pt x="24089" y="72937"/>
                    <a:pt x="24089" y="66861"/>
                    <a:pt x="36241" y="60785"/>
                  </a:cubicBezTo>
                  <a:cubicBezTo>
                    <a:pt x="39279" y="57747"/>
                    <a:pt x="43077" y="56987"/>
                    <a:pt x="47254" y="58127"/>
                  </a:cubicBezTo>
                  <a:close/>
                  <a:moveTo>
                    <a:pt x="314611" y="55089"/>
                  </a:moveTo>
                  <a:cubicBezTo>
                    <a:pt x="318789" y="56228"/>
                    <a:pt x="323346" y="59266"/>
                    <a:pt x="327903" y="63823"/>
                  </a:cubicBezTo>
                  <a:cubicBezTo>
                    <a:pt x="337017" y="72937"/>
                    <a:pt x="327903" y="85090"/>
                    <a:pt x="321827" y="88128"/>
                  </a:cubicBezTo>
                  <a:cubicBezTo>
                    <a:pt x="315751" y="91166"/>
                    <a:pt x="303598" y="94204"/>
                    <a:pt x="297522" y="82052"/>
                  </a:cubicBezTo>
                  <a:cubicBezTo>
                    <a:pt x="291446" y="69899"/>
                    <a:pt x="294484" y="60785"/>
                    <a:pt x="303598" y="57747"/>
                  </a:cubicBezTo>
                  <a:cubicBezTo>
                    <a:pt x="306636" y="54709"/>
                    <a:pt x="310434" y="53949"/>
                    <a:pt x="314611" y="55089"/>
                  </a:cubicBezTo>
                  <a:close/>
                  <a:moveTo>
                    <a:pt x="885754" y="52051"/>
                  </a:moveTo>
                  <a:cubicBezTo>
                    <a:pt x="889932" y="53190"/>
                    <a:pt x="894489" y="56228"/>
                    <a:pt x="899046" y="60785"/>
                  </a:cubicBezTo>
                  <a:cubicBezTo>
                    <a:pt x="908160" y="69899"/>
                    <a:pt x="902084" y="79014"/>
                    <a:pt x="892970" y="85090"/>
                  </a:cubicBezTo>
                  <a:cubicBezTo>
                    <a:pt x="886894" y="88128"/>
                    <a:pt x="874741" y="91166"/>
                    <a:pt x="868665" y="79014"/>
                  </a:cubicBezTo>
                  <a:cubicBezTo>
                    <a:pt x="862589" y="63823"/>
                    <a:pt x="865627" y="57747"/>
                    <a:pt x="874741" y="54709"/>
                  </a:cubicBezTo>
                  <a:cubicBezTo>
                    <a:pt x="877779" y="51671"/>
                    <a:pt x="881577" y="50912"/>
                    <a:pt x="885754" y="52051"/>
                  </a:cubicBezTo>
                  <a:close/>
                  <a:moveTo>
                    <a:pt x="1341464" y="39899"/>
                  </a:moveTo>
                  <a:cubicBezTo>
                    <a:pt x="1345641" y="41038"/>
                    <a:pt x="1350198" y="44076"/>
                    <a:pt x="1354755" y="48633"/>
                  </a:cubicBezTo>
                  <a:cubicBezTo>
                    <a:pt x="1363869" y="57747"/>
                    <a:pt x="1357793" y="66862"/>
                    <a:pt x="1348679" y="72938"/>
                  </a:cubicBezTo>
                  <a:cubicBezTo>
                    <a:pt x="1342603" y="75976"/>
                    <a:pt x="1330450" y="79014"/>
                    <a:pt x="1324374" y="66862"/>
                  </a:cubicBezTo>
                  <a:cubicBezTo>
                    <a:pt x="1318298" y="51671"/>
                    <a:pt x="1321336" y="45595"/>
                    <a:pt x="1330450" y="42557"/>
                  </a:cubicBezTo>
                  <a:cubicBezTo>
                    <a:pt x="1333489" y="39519"/>
                    <a:pt x="1337286" y="38760"/>
                    <a:pt x="1341464" y="39899"/>
                  </a:cubicBezTo>
                  <a:close/>
                  <a:moveTo>
                    <a:pt x="1204751" y="27747"/>
                  </a:moveTo>
                  <a:cubicBezTo>
                    <a:pt x="1208928" y="28886"/>
                    <a:pt x="1213485" y="31924"/>
                    <a:pt x="1218042" y="36481"/>
                  </a:cubicBezTo>
                  <a:cubicBezTo>
                    <a:pt x="1227156" y="45595"/>
                    <a:pt x="1218042" y="57748"/>
                    <a:pt x="1211966" y="60786"/>
                  </a:cubicBezTo>
                  <a:cubicBezTo>
                    <a:pt x="1205890" y="63824"/>
                    <a:pt x="1193737" y="66862"/>
                    <a:pt x="1187661" y="54710"/>
                  </a:cubicBezTo>
                  <a:cubicBezTo>
                    <a:pt x="1181585" y="42557"/>
                    <a:pt x="1184623" y="33443"/>
                    <a:pt x="1193737" y="30405"/>
                  </a:cubicBezTo>
                  <a:cubicBezTo>
                    <a:pt x="1196776" y="27367"/>
                    <a:pt x="1200573" y="26608"/>
                    <a:pt x="1204751" y="27747"/>
                  </a:cubicBezTo>
                  <a:close/>
                  <a:moveTo>
                    <a:pt x="979933" y="21671"/>
                  </a:moveTo>
                  <a:cubicBezTo>
                    <a:pt x="984110" y="22810"/>
                    <a:pt x="988668" y="25848"/>
                    <a:pt x="993225" y="30405"/>
                  </a:cubicBezTo>
                  <a:cubicBezTo>
                    <a:pt x="1002339" y="39519"/>
                    <a:pt x="993225" y="51672"/>
                    <a:pt x="987149" y="54710"/>
                  </a:cubicBezTo>
                  <a:cubicBezTo>
                    <a:pt x="981072" y="57748"/>
                    <a:pt x="968920" y="60786"/>
                    <a:pt x="962844" y="48634"/>
                  </a:cubicBezTo>
                  <a:cubicBezTo>
                    <a:pt x="956768" y="36481"/>
                    <a:pt x="956768" y="27367"/>
                    <a:pt x="968920" y="24329"/>
                  </a:cubicBezTo>
                  <a:cubicBezTo>
                    <a:pt x="971958" y="21291"/>
                    <a:pt x="975756" y="20531"/>
                    <a:pt x="979933" y="21671"/>
                  </a:cubicBezTo>
                  <a:close/>
                  <a:moveTo>
                    <a:pt x="451312" y="8759"/>
                  </a:moveTo>
                  <a:cubicBezTo>
                    <a:pt x="455488" y="9899"/>
                    <a:pt x="460045" y="13696"/>
                    <a:pt x="464603" y="21291"/>
                  </a:cubicBezTo>
                  <a:cubicBezTo>
                    <a:pt x="473718" y="30405"/>
                    <a:pt x="464603" y="42558"/>
                    <a:pt x="458526" y="45596"/>
                  </a:cubicBezTo>
                  <a:cubicBezTo>
                    <a:pt x="452451" y="48634"/>
                    <a:pt x="440301" y="51672"/>
                    <a:pt x="434225" y="39520"/>
                  </a:cubicBezTo>
                  <a:cubicBezTo>
                    <a:pt x="428151" y="24329"/>
                    <a:pt x="431188" y="18253"/>
                    <a:pt x="440301" y="12177"/>
                  </a:cubicBezTo>
                  <a:cubicBezTo>
                    <a:pt x="443339" y="9139"/>
                    <a:pt x="447135" y="7620"/>
                    <a:pt x="451312" y="8759"/>
                  </a:cubicBezTo>
                  <a:close/>
                  <a:moveTo>
                    <a:pt x="1049824" y="0"/>
                  </a:moveTo>
                  <a:lnTo>
                    <a:pt x="1083563" y="0"/>
                  </a:lnTo>
                  <a:lnTo>
                    <a:pt x="1083987" y="2304"/>
                  </a:lnTo>
                  <a:cubicBezTo>
                    <a:pt x="1082089" y="6861"/>
                    <a:pt x="1078291" y="10659"/>
                    <a:pt x="1075253" y="12178"/>
                  </a:cubicBezTo>
                  <a:cubicBezTo>
                    <a:pt x="1069177" y="15216"/>
                    <a:pt x="1057024" y="18254"/>
                    <a:pt x="1050948" y="6102"/>
                  </a:cubicBezTo>
                  <a:close/>
                  <a:moveTo>
                    <a:pt x="773962" y="0"/>
                  </a:moveTo>
                  <a:lnTo>
                    <a:pt x="806875" y="0"/>
                  </a:lnTo>
                  <a:lnTo>
                    <a:pt x="798790" y="9140"/>
                  </a:lnTo>
                  <a:cubicBezTo>
                    <a:pt x="792714" y="12178"/>
                    <a:pt x="780561" y="15216"/>
                    <a:pt x="774485" y="3064"/>
                  </a:cubicBezTo>
                  <a:close/>
                  <a:moveTo>
                    <a:pt x="659033" y="0"/>
                  </a:moveTo>
                  <a:lnTo>
                    <a:pt x="688741" y="0"/>
                  </a:lnTo>
                  <a:lnTo>
                    <a:pt x="683343" y="6102"/>
                  </a:lnTo>
                  <a:cubicBezTo>
                    <a:pt x="677266" y="9140"/>
                    <a:pt x="665114" y="12178"/>
                    <a:pt x="659038" y="26"/>
                  </a:cubicBezTo>
                  <a:close/>
                  <a:moveTo>
                    <a:pt x="558807" y="0"/>
                  </a:moveTo>
                  <a:lnTo>
                    <a:pt x="589125" y="0"/>
                  </a:lnTo>
                  <a:lnTo>
                    <a:pt x="589163" y="25"/>
                  </a:lnTo>
                  <a:cubicBezTo>
                    <a:pt x="598277" y="9139"/>
                    <a:pt x="592201" y="18254"/>
                    <a:pt x="583087" y="24330"/>
                  </a:cubicBezTo>
                  <a:cubicBezTo>
                    <a:pt x="577011" y="27368"/>
                    <a:pt x="564858" y="30406"/>
                    <a:pt x="558782" y="18254"/>
                  </a:cubicBezTo>
                  <a:cubicBezTo>
                    <a:pt x="555744" y="12177"/>
                    <a:pt x="554985" y="6861"/>
                    <a:pt x="556124" y="2683"/>
                  </a:cubicBezTo>
                  <a:close/>
                  <a:moveTo>
                    <a:pt x="189731" y="0"/>
                  </a:moveTo>
                  <a:lnTo>
                    <a:pt x="223240" y="0"/>
                  </a:lnTo>
                  <a:lnTo>
                    <a:pt x="224224" y="5342"/>
                  </a:lnTo>
                  <a:cubicBezTo>
                    <a:pt x="222326" y="9899"/>
                    <a:pt x="218528" y="13697"/>
                    <a:pt x="215490" y="15216"/>
                  </a:cubicBezTo>
                  <a:cubicBezTo>
                    <a:pt x="209414" y="18254"/>
                    <a:pt x="197261" y="21292"/>
                    <a:pt x="191185" y="9140"/>
                  </a:cubicBez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 name="Tittel 1">
            <a:extLst>
              <a:ext uri="{FF2B5EF4-FFF2-40B4-BE49-F238E27FC236}">
                <a16:creationId xmlns:a16="http://schemas.microsoft.com/office/drawing/2014/main" id="{7D4F6119-7A47-4EB2-BC34-A80F8E27CDC7}"/>
              </a:ext>
            </a:extLst>
          </p:cNvPr>
          <p:cNvSpPr>
            <a:spLocks noGrp="1"/>
          </p:cNvSpPr>
          <p:nvPr>
            <p:ph type="title"/>
          </p:nvPr>
        </p:nvSpPr>
        <p:spPr>
          <a:xfrm>
            <a:off x="358929" y="676493"/>
            <a:ext cx="5363662" cy="5340097"/>
          </a:xfrm>
        </p:spPr>
        <p:txBody>
          <a:bodyPr vert="horz" anchor="ctr">
            <a:normAutofit/>
          </a:bodyPr>
          <a:lstStyle/>
          <a:p>
            <a:r>
              <a:rPr lang="nb-NO" sz="4800">
                <a:solidFill>
                  <a:schemeClr val="bg1"/>
                </a:solidFill>
              </a:rPr>
              <a:t>Superbrukerkurs datainnsamlingsark BFV</a:t>
            </a:r>
            <a:br>
              <a:rPr lang="nb-NO" sz="4800">
                <a:solidFill>
                  <a:schemeClr val="bg1"/>
                </a:solidFill>
              </a:rPr>
            </a:br>
            <a:endParaRPr lang="nb-NO" sz="4800">
              <a:solidFill>
                <a:schemeClr val="bg1"/>
              </a:solidFill>
            </a:endParaRPr>
          </a:p>
        </p:txBody>
      </p:sp>
      <p:cxnSp>
        <p:nvCxnSpPr>
          <p:cNvPr id="26" name="Connector: Elbow 110">
            <a:extLst>
              <a:ext uri="{FF2B5EF4-FFF2-40B4-BE49-F238E27FC236}">
                <a16:creationId xmlns:a16="http://schemas.microsoft.com/office/drawing/2014/main" id="{7ADD2836-CA2B-4A26-8044-1A7FB6C8964F}"/>
              </a:ext>
            </a:extLst>
          </p:cNvPr>
          <p:cNvCxnSpPr>
            <a:cxnSpLocks/>
            <a:stCxn id="28" idx="1"/>
            <a:endCxn id="42" idx="1"/>
          </p:cNvCxnSpPr>
          <p:nvPr/>
        </p:nvCxnSpPr>
        <p:spPr>
          <a:xfrm rot="10800000">
            <a:off x="9145130" y="1499751"/>
            <a:ext cx="7326" cy="2884173"/>
          </a:xfrm>
          <a:prstGeom prst="bentConnector3">
            <a:avLst>
              <a:gd name="adj1" fmla="val 322039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106">
            <a:extLst>
              <a:ext uri="{FF2B5EF4-FFF2-40B4-BE49-F238E27FC236}">
                <a16:creationId xmlns:a16="http://schemas.microsoft.com/office/drawing/2014/main" id="{4AB3E24F-9248-4A93-855C-E10AF703DBDF}"/>
              </a:ext>
            </a:extLst>
          </p:cNvPr>
          <p:cNvCxnSpPr>
            <a:cxnSpLocks/>
          </p:cNvCxnSpPr>
          <p:nvPr/>
        </p:nvCxnSpPr>
        <p:spPr>
          <a:xfrm rot="16200000" flipV="1">
            <a:off x="6217877" y="3260036"/>
            <a:ext cx="2279284" cy="216979"/>
          </a:xfrm>
          <a:prstGeom prst="bentConnector4">
            <a:avLst>
              <a:gd name="adj1" fmla="val 5099"/>
              <a:gd name="adj2" fmla="val 205356"/>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Rektangel 27">
            <a:extLst>
              <a:ext uri="{FF2B5EF4-FFF2-40B4-BE49-F238E27FC236}">
                <a16:creationId xmlns:a16="http://schemas.microsoft.com/office/drawing/2014/main" id="{751C291E-5E33-484E-A938-E284B8A5CB7C}"/>
              </a:ext>
            </a:extLst>
          </p:cNvPr>
          <p:cNvSpPr/>
          <p:nvPr/>
        </p:nvSpPr>
        <p:spPr>
          <a:xfrm>
            <a:off x="9152456" y="4104923"/>
            <a:ext cx="1461600" cy="558000"/>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white"/>
                </a:solidFill>
                <a:effectLst/>
                <a:uLnTx/>
                <a:uFillTx/>
                <a:latin typeface="Calibri"/>
                <a:ea typeface="+mn-ea"/>
                <a:cs typeface="+mn-cs"/>
              </a:rPr>
              <a:t>Delprosjekt</a:t>
            </a:r>
          </a:p>
        </p:txBody>
      </p:sp>
      <p:sp>
        <p:nvSpPr>
          <p:cNvPr id="29" name="Rektangel 28">
            <a:extLst>
              <a:ext uri="{FF2B5EF4-FFF2-40B4-BE49-F238E27FC236}">
                <a16:creationId xmlns:a16="http://schemas.microsoft.com/office/drawing/2014/main" id="{F37C6B0C-AD30-4B3D-9126-644F0BD8B9C1}"/>
              </a:ext>
            </a:extLst>
          </p:cNvPr>
          <p:cNvSpPr/>
          <p:nvPr/>
        </p:nvSpPr>
        <p:spPr>
          <a:xfrm>
            <a:off x="7241408" y="4113801"/>
            <a:ext cx="1461600" cy="558000"/>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white"/>
                </a:solidFill>
                <a:effectLst/>
                <a:uLnTx/>
                <a:uFillTx/>
                <a:latin typeface="Calibri"/>
                <a:ea typeface="+mn-ea"/>
                <a:cs typeface="+mn-cs"/>
              </a:rPr>
              <a:t>Prosjekt</a:t>
            </a:r>
          </a:p>
        </p:txBody>
      </p:sp>
      <p:sp>
        <p:nvSpPr>
          <p:cNvPr id="30" name="Rektangel 29">
            <a:extLst>
              <a:ext uri="{FF2B5EF4-FFF2-40B4-BE49-F238E27FC236}">
                <a16:creationId xmlns:a16="http://schemas.microsoft.com/office/drawing/2014/main" id="{275A051B-6A59-4D0F-95C4-2D58882716CD}"/>
              </a:ext>
            </a:extLst>
          </p:cNvPr>
          <p:cNvSpPr/>
          <p:nvPr/>
        </p:nvSpPr>
        <p:spPr>
          <a:xfrm>
            <a:off x="7241408" y="3402539"/>
            <a:ext cx="1461600" cy="558000"/>
          </a:xfrm>
          <a:prstGeom prst="rect">
            <a:avLst/>
          </a:prstGeom>
          <a:ln>
            <a:solidFill>
              <a:schemeClr val="accent1"/>
            </a:solidFill>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Hovedprosjekt</a:t>
            </a:r>
          </a:p>
        </p:txBody>
      </p:sp>
      <p:sp>
        <p:nvSpPr>
          <p:cNvPr id="31" name="Rektangel 30">
            <a:extLst>
              <a:ext uri="{FF2B5EF4-FFF2-40B4-BE49-F238E27FC236}">
                <a16:creationId xmlns:a16="http://schemas.microsoft.com/office/drawing/2014/main" id="{1BDDBC38-9557-4BDF-A0A1-E197F57A3F0F}"/>
              </a:ext>
            </a:extLst>
          </p:cNvPr>
          <p:cNvSpPr/>
          <p:nvPr/>
        </p:nvSpPr>
        <p:spPr>
          <a:xfrm>
            <a:off x="7234749" y="2683600"/>
            <a:ext cx="1461600" cy="558000"/>
          </a:xfrm>
          <a:prstGeom prst="rect">
            <a:avLst/>
          </a:prstGeom>
          <a:ln>
            <a:solidFill>
              <a:schemeClr val="accent1"/>
            </a:solidFill>
          </a:ln>
        </p:spPr>
        <p:style>
          <a:lnRef idx="2">
            <a:schemeClr val="accent3"/>
          </a:lnRef>
          <a:fillRef idx="1">
            <a:schemeClr val="lt1"/>
          </a:fillRef>
          <a:effectRef idx="0">
            <a:schemeClr val="accent3"/>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Strategisk satsning</a:t>
            </a:r>
          </a:p>
        </p:txBody>
      </p:sp>
      <p:sp>
        <p:nvSpPr>
          <p:cNvPr id="34" name="TekstSylinder 33">
            <a:extLst>
              <a:ext uri="{FF2B5EF4-FFF2-40B4-BE49-F238E27FC236}">
                <a16:creationId xmlns:a16="http://schemas.microsoft.com/office/drawing/2014/main" id="{3569512F-69DF-4231-835D-D86CDC37DD5B}"/>
              </a:ext>
            </a:extLst>
          </p:cNvPr>
          <p:cNvSpPr txBox="1"/>
          <p:nvPr/>
        </p:nvSpPr>
        <p:spPr>
          <a:xfrm>
            <a:off x="8467426" y="4053305"/>
            <a:ext cx="256769" cy="261608"/>
          </a:xfrm>
          <a:prstGeom prst="rect">
            <a:avLst/>
          </a:prstGeom>
          <a:noFill/>
        </p:spPr>
        <p:txBody>
          <a:bodyPr wrap="non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2</a:t>
            </a:r>
          </a:p>
        </p:txBody>
      </p:sp>
      <p:sp>
        <p:nvSpPr>
          <p:cNvPr id="35" name="TekstSylinder 34">
            <a:extLst>
              <a:ext uri="{FF2B5EF4-FFF2-40B4-BE49-F238E27FC236}">
                <a16:creationId xmlns:a16="http://schemas.microsoft.com/office/drawing/2014/main" id="{B3FD5261-1B8A-4401-8AEE-956F455AC7D6}"/>
              </a:ext>
            </a:extLst>
          </p:cNvPr>
          <p:cNvSpPr txBox="1"/>
          <p:nvPr/>
        </p:nvSpPr>
        <p:spPr>
          <a:xfrm>
            <a:off x="10389329" y="4053305"/>
            <a:ext cx="256769" cy="261608"/>
          </a:xfrm>
          <a:prstGeom prst="rect">
            <a:avLst/>
          </a:prstGeom>
          <a:noFill/>
        </p:spPr>
        <p:txBody>
          <a:bodyPr wrap="non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5</a:t>
            </a:r>
          </a:p>
        </p:txBody>
      </p:sp>
      <p:cxnSp>
        <p:nvCxnSpPr>
          <p:cNvPr id="37" name="Straight Arrow Connector 99">
            <a:extLst>
              <a:ext uri="{FF2B5EF4-FFF2-40B4-BE49-F238E27FC236}">
                <a16:creationId xmlns:a16="http://schemas.microsoft.com/office/drawing/2014/main" id="{A11345F6-2082-4675-B93E-3AA2F8883031}"/>
              </a:ext>
            </a:extLst>
          </p:cNvPr>
          <p:cNvCxnSpPr>
            <a:cxnSpLocks/>
          </p:cNvCxnSpPr>
          <p:nvPr/>
        </p:nvCxnSpPr>
        <p:spPr>
          <a:xfrm flipV="1">
            <a:off x="7972208" y="3952919"/>
            <a:ext cx="0" cy="14438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8" name="Rektangel 30">
            <a:extLst>
              <a:ext uri="{FF2B5EF4-FFF2-40B4-BE49-F238E27FC236}">
                <a16:creationId xmlns:a16="http://schemas.microsoft.com/office/drawing/2014/main" id="{F950EC1A-BA16-449C-A459-FD1154F8FB08}"/>
              </a:ext>
            </a:extLst>
          </p:cNvPr>
          <p:cNvSpPr/>
          <p:nvPr/>
        </p:nvSpPr>
        <p:spPr>
          <a:xfrm>
            <a:off x="9152456" y="3402539"/>
            <a:ext cx="1461600" cy="558000"/>
          </a:xfrm>
          <a:prstGeom prst="rect">
            <a:avLst/>
          </a:prstGeom>
          <a:ln>
            <a:solidFill>
              <a:schemeClr val="accent1"/>
            </a:solidFill>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Spesifisering av finansieringskilde</a:t>
            </a:r>
          </a:p>
        </p:txBody>
      </p:sp>
      <p:sp>
        <p:nvSpPr>
          <p:cNvPr id="39" name="Rektangel 32">
            <a:extLst>
              <a:ext uri="{FF2B5EF4-FFF2-40B4-BE49-F238E27FC236}">
                <a16:creationId xmlns:a16="http://schemas.microsoft.com/office/drawing/2014/main" id="{457C1BA7-B7BE-464A-8310-807B7AC9479C}"/>
              </a:ext>
            </a:extLst>
          </p:cNvPr>
          <p:cNvSpPr/>
          <p:nvPr/>
        </p:nvSpPr>
        <p:spPr>
          <a:xfrm>
            <a:off x="9145129" y="1917681"/>
            <a:ext cx="1461600" cy="558000"/>
          </a:xfrm>
          <a:prstGeom prst="rect">
            <a:avLst/>
          </a:prstGeom>
          <a:ln>
            <a:solidFill>
              <a:schemeClr val="accent1"/>
            </a:solidFill>
          </a:ln>
        </p:spPr>
        <p:style>
          <a:lnRef idx="2">
            <a:schemeClr val="accent3"/>
          </a:lnRef>
          <a:fillRef idx="1">
            <a:schemeClr val="lt1"/>
          </a:fillRef>
          <a:effectRef idx="0">
            <a:schemeClr val="accent3"/>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Aktivitet</a:t>
            </a:r>
          </a:p>
        </p:txBody>
      </p:sp>
      <p:cxnSp>
        <p:nvCxnSpPr>
          <p:cNvPr id="40" name="Connector: Elbow 119">
            <a:extLst>
              <a:ext uri="{FF2B5EF4-FFF2-40B4-BE49-F238E27FC236}">
                <a16:creationId xmlns:a16="http://schemas.microsoft.com/office/drawing/2014/main" id="{FB248A06-BC49-47DF-9A73-C4E2B1067869}"/>
              </a:ext>
            </a:extLst>
          </p:cNvPr>
          <p:cNvCxnSpPr>
            <a:cxnSpLocks/>
            <a:stCxn id="29" idx="1"/>
            <a:endCxn id="30" idx="1"/>
          </p:cNvCxnSpPr>
          <p:nvPr/>
        </p:nvCxnSpPr>
        <p:spPr>
          <a:xfrm rot="10800000">
            <a:off x="7241408" y="3681539"/>
            <a:ext cx="12700" cy="711262"/>
          </a:xfrm>
          <a:prstGeom prst="bentConnector3">
            <a:avLst>
              <a:gd name="adj1" fmla="val 18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135">
            <a:extLst>
              <a:ext uri="{FF2B5EF4-FFF2-40B4-BE49-F238E27FC236}">
                <a16:creationId xmlns:a16="http://schemas.microsoft.com/office/drawing/2014/main" id="{EE117D40-D33F-49F0-B56A-99517CC9AB23}"/>
              </a:ext>
            </a:extLst>
          </p:cNvPr>
          <p:cNvCxnSpPr>
            <a:cxnSpLocks/>
          </p:cNvCxnSpPr>
          <p:nvPr/>
        </p:nvCxnSpPr>
        <p:spPr>
          <a:xfrm flipV="1">
            <a:off x="7023764" y="2952759"/>
            <a:ext cx="217647" cy="1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2" name="Rektangel 32">
            <a:extLst>
              <a:ext uri="{FF2B5EF4-FFF2-40B4-BE49-F238E27FC236}">
                <a16:creationId xmlns:a16="http://schemas.microsoft.com/office/drawing/2014/main" id="{18E3317C-908E-48E7-8715-80D14380FDB6}"/>
              </a:ext>
            </a:extLst>
          </p:cNvPr>
          <p:cNvSpPr/>
          <p:nvPr/>
        </p:nvSpPr>
        <p:spPr>
          <a:xfrm>
            <a:off x="9145130" y="1220750"/>
            <a:ext cx="1461600" cy="558000"/>
          </a:xfrm>
          <a:prstGeom prst="rect">
            <a:avLst/>
          </a:prstGeom>
          <a:ln>
            <a:solidFill>
              <a:schemeClr val="accent1"/>
            </a:solidFill>
          </a:ln>
        </p:spPr>
        <p:style>
          <a:lnRef idx="2">
            <a:schemeClr val="accent3"/>
          </a:lnRef>
          <a:fillRef idx="1">
            <a:schemeClr val="lt1"/>
          </a:fillRef>
          <a:effectRef idx="0">
            <a:schemeClr val="accent3"/>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Aktivitetstype</a:t>
            </a:r>
          </a:p>
        </p:txBody>
      </p:sp>
      <p:cxnSp>
        <p:nvCxnSpPr>
          <p:cNvPr id="43" name="Straight Arrow Connector 117">
            <a:extLst>
              <a:ext uri="{FF2B5EF4-FFF2-40B4-BE49-F238E27FC236}">
                <a16:creationId xmlns:a16="http://schemas.microsoft.com/office/drawing/2014/main" id="{6D743CD7-91F2-4C1B-8E6B-7175A1F41855}"/>
              </a:ext>
            </a:extLst>
          </p:cNvPr>
          <p:cNvCxnSpPr>
            <a:cxnSpLocks/>
          </p:cNvCxnSpPr>
          <p:nvPr/>
        </p:nvCxnSpPr>
        <p:spPr>
          <a:xfrm flipV="1">
            <a:off x="8927856" y="1499750"/>
            <a:ext cx="217647" cy="1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123">
            <a:extLst>
              <a:ext uri="{FF2B5EF4-FFF2-40B4-BE49-F238E27FC236}">
                <a16:creationId xmlns:a16="http://schemas.microsoft.com/office/drawing/2014/main" id="{1C68C272-4395-4719-AEBA-724784F7DDBF}"/>
              </a:ext>
            </a:extLst>
          </p:cNvPr>
          <p:cNvCxnSpPr>
            <a:cxnSpLocks/>
          </p:cNvCxnSpPr>
          <p:nvPr/>
        </p:nvCxnSpPr>
        <p:spPr>
          <a:xfrm flipV="1">
            <a:off x="8920157" y="2229298"/>
            <a:ext cx="217647" cy="1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124">
            <a:extLst>
              <a:ext uri="{FF2B5EF4-FFF2-40B4-BE49-F238E27FC236}">
                <a16:creationId xmlns:a16="http://schemas.microsoft.com/office/drawing/2014/main" id="{8B4D47D1-D698-4140-8F3C-9BF674C786EE}"/>
              </a:ext>
            </a:extLst>
          </p:cNvPr>
          <p:cNvCxnSpPr>
            <a:cxnSpLocks/>
          </p:cNvCxnSpPr>
          <p:nvPr/>
        </p:nvCxnSpPr>
        <p:spPr>
          <a:xfrm flipV="1">
            <a:off x="8927484" y="3002530"/>
            <a:ext cx="217647" cy="1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126">
            <a:extLst>
              <a:ext uri="{FF2B5EF4-FFF2-40B4-BE49-F238E27FC236}">
                <a16:creationId xmlns:a16="http://schemas.microsoft.com/office/drawing/2014/main" id="{2936F1A7-47B0-4DBD-B8C9-5743E6A12F46}"/>
              </a:ext>
            </a:extLst>
          </p:cNvPr>
          <p:cNvCxnSpPr>
            <a:cxnSpLocks/>
          </p:cNvCxnSpPr>
          <p:nvPr/>
        </p:nvCxnSpPr>
        <p:spPr>
          <a:xfrm flipV="1">
            <a:off x="8927484" y="3690496"/>
            <a:ext cx="217647" cy="1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8" name="Rektangel 30">
            <a:extLst>
              <a:ext uri="{FF2B5EF4-FFF2-40B4-BE49-F238E27FC236}">
                <a16:creationId xmlns:a16="http://schemas.microsoft.com/office/drawing/2014/main" id="{F61107A1-D0C5-4FD3-AB6E-99EE5F7EE0A2}"/>
              </a:ext>
            </a:extLst>
          </p:cNvPr>
          <p:cNvSpPr/>
          <p:nvPr/>
        </p:nvSpPr>
        <p:spPr>
          <a:xfrm>
            <a:off x="9145129" y="4901167"/>
            <a:ext cx="1461600" cy="553427"/>
          </a:xfrm>
          <a:prstGeom prst="rect">
            <a:avLst/>
          </a:prstGeom>
          <a:ln>
            <a:solidFill>
              <a:schemeClr val="accent1"/>
            </a:solidFill>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Prosjektleder</a:t>
            </a:r>
          </a:p>
        </p:txBody>
      </p:sp>
      <p:cxnSp>
        <p:nvCxnSpPr>
          <p:cNvPr id="49" name="Kobling: vinkel 48">
            <a:extLst>
              <a:ext uri="{FF2B5EF4-FFF2-40B4-BE49-F238E27FC236}">
                <a16:creationId xmlns:a16="http://schemas.microsoft.com/office/drawing/2014/main" id="{5A509867-01AA-4FB8-AFD6-3CF609A54FE2}"/>
              </a:ext>
            </a:extLst>
          </p:cNvPr>
          <p:cNvCxnSpPr>
            <a:cxnSpLocks/>
            <a:stCxn id="28" idx="1"/>
            <a:endCxn id="48" idx="1"/>
          </p:cNvCxnSpPr>
          <p:nvPr/>
        </p:nvCxnSpPr>
        <p:spPr>
          <a:xfrm rot="10800000" flipV="1">
            <a:off x="9145130" y="4383923"/>
            <a:ext cx="7327" cy="793958"/>
          </a:xfrm>
          <a:prstGeom prst="bentConnector3">
            <a:avLst>
              <a:gd name="adj1" fmla="val 3219967"/>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1" name="Rektangel 50">
            <a:extLst>
              <a:ext uri="{FF2B5EF4-FFF2-40B4-BE49-F238E27FC236}">
                <a16:creationId xmlns:a16="http://schemas.microsoft.com/office/drawing/2014/main" id="{B1ED89BC-2227-49FA-9470-AA808AE144EA}"/>
              </a:ext>
            </a:extLst>
          </p:cNvPr>
          <p:cNvSpPr/>
          <p:nvPr/>
        </p:nvSpPr>
        <p:spPr>
          <a:xfrm>
            <a:off x="7241408" y="1957250"/>
            <a:ext cx="1461600" cy="558000"/>
          </a:xfrm>
          <a:prstGeom prst="rect">
            <a:avLst/>
          </a:prstGeom>
          <a:ln>
            <a:solidFill>
              <a:schemeClr val="accent1"/>
            </a:solidFill>
          </a:ln>
        </p:spPr>
        <p:style>
          <a:lnRef idx="2">
            <a:schemeClr val="accent3"/>
          </a:lnRef>
          <a:fillRef idx="1">
            <a:schemeClr val="lt1"/>
          </a:fillRef>
          <a:effectRef idx="0">
            <a:schemeClr val="accent3"/>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Sentertype</a:t>
            </a:r>
          </a:p>
        </p:txBody>
      </p:sp>
      <p:sp>
        <p:nvSpPr>
          <p:cNvPr id="52" name="Rektangel 51">
            <a:extLst>
              <a:ext uri="{FF2B5EF4-FFF2-40B4-BE49-F238E27FC236}">
                <a16:creationId xmlns:a16="http://schemas.microsoft.com/office/drawing/2014/main" id="{955FED9D-2464-463D-B16D-B720671CAA74}"/>
              </a:ext>
            </a:extLst>
          </p:cNvPr>
          <p:cNvSpPr/>
          <p:nvPr/>
        </p:nvSpPr>
        <p:spPr>
          <a:xfrm>
            <a:off x="9152456" y="2672650"/>
            <a:ext cx="1461600" cy="558000"/>
          </a:xfrm>
          <a:prstGeom prst="rect">
            <a:avLst/>
          </a:prstGeom>
          <a:ln>
            <a:solidFill>
              <a:schemeClr val="accent1"/>
            </a:solidFill>
          </a:ln>
        </p:spPr>
        <p:style>
          <a:lnRef idx="2">
            <a:schemeClr val="accent3"/>
          </a:lnRef>
          <a:fillRef idx="1">
            <a:schemeClr val="lt1"/>
          </a:fillRef>
          <a:effectRef idx="0">
            <a:schemeClr val="accent3"/>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Finansieringskilde</a:t>
            </a:r>
          </a:p>
        </p:txBody>
      </p:sp>
      <p:sp>
        <p:nvSpPr>
          <p:cNvPr id="53" name="Rektangel 52">
            <a:extLst>
              <a:ext uri="{FF2B5EF4-FFF2-40B4-BE49-F238E27FC236}">
                <a16:creationId xmlns:a16="http://schemas.microsoft.com/office/drawing/2014/main" id="{D4E7F8F2-13A9-4EF6-9379-B7474A80B296}"/>
              </a:ext>
            </a:extLst>
          </p:cNvPr>
          <p:cNvSpPr/>
          <p:nvPr/>
        </p:nvSpPr>
        <p:spPr>
          <a:xfrm>
            <a:off x="7234749" y="4909515"/>
            <a:ext cx="1461600" cy="553426"/>
          </a:xfrm>
          <a:prstGeom prst="rect">
            <a:avLst/>
          </a:prstGeom>
          <a:ln>
            <a:solidFill>
              <a:schemeClr val="accent1"/>
            </a:solidFill>
          </a:ln>
        </p:spPr>
        <p:style>
          <a:lnRef idx="2">
            <a:schemeClr val="accent3"/>
          </a:lnRef>
          <a:fillRef idx="1">
            <a:schemeClr val="lt1"/>
          </a:fillRef>
          <a:effectRef idx="0">
            <a:schemeClr val="accent3"/>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Protype</a:t>
            </a:r>
          </a:p>
        </p:txBody>
      </p:sp>
      <p:cxnSp>
        <p:nvCxnSpPr>
          <p:cNvPr id="50" name="Kobling: vinkel 49">
            <a:extLst>
              <a:ext uri="{FF2B5EF4-FFF2-40B4-BE49-F238E27FC236}">
                <a16:creationId xmlns:a16="http://schemas.microsoft.com/office/drawing/2014/main" id="{3B3CA304-2C40-44FF-81FD-A3E531EC4E8C}"/>
              </a:ext>
            </a:extLst>
          </p:cNvPr>
          <p:cNvCxnSpPr>
            <a:cxnSpLocks/>
          </p:cNvCxnSpPr>
          <p:nvPr/>
        </p:nvCxnSpPr>
        <p:spPr>
          <a:xfrm rot="10800000" flipV="1">
            <a:off x="7254372" y="4392800"/>
            <a:ext cx="18841" cy="793427"/>
          </a:xfrm>
          <a:prstGeom prst="bentConnector3">
            <a:avLst>
              <a:gd name="adj1" fmla="val 131331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09497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D24D33C-CBD7-4E10-AE75-16FDC6951B9E}"/>
              </a:ext>
            </a:extLst>
          </p:cNvPr>
          <p:cNvGraphicFramePr>
            <a:graphicFrameLocks noChangeAspect="1"/>
          </p:cNvGraphicFramePr>
          <p:nvPr>
            <p:custDataLst>
              <p:tags r:id="rId2"/>
            </p:custDataLst>
            <p:extLst>
              <p:ext uri="{D42A27DB-BD31-4B8C-83A1-F6EECF244321}">
                <p14:modId xmlns:p14="http://schemas.microsoft.com/office/powerpoint/2010/main" val="185217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FD24D33C-CBD7-4E10-AE75-16FDC6951B9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8" name="Color Cover">
            <a:extLst>
              <a:ext uri="{FF2B5EF4-FFF2-40B4-BE49-F238E27FC236}">
                <a16:creationId xmlns:a16="http://schemas.microsoft.com/office/drawing/2014/main" id="{815925C2-A704-4D47-B1C1-3FCA52512EC1}"/>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4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Color Cover">
            <a:extLst>
              <a:ext uri="{FF2B5EF4-FFF2-40B4-BE49-F238E27FC236}">
                <a16:creationId xmlns:a16="http://schemas.microsoft.com/office/drawing/2014/main" id="{01D4315C-C23C-4FD3-98DF-08C29E2292A8}"/>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49"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2" name="Group 11">
            <a:extLst>
              <a:ext uri="{FF2B5EF4-FFF2-40B4-BE49-F238E27FC236}">
                <a16:creationId xmlns:a16="http://schemas.microsoft.com/office/drawing/2014/main" id="{5E6B47BC-43FD-4C91-8BFF-B41B99A8A39E}"/>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0"/>
            <a:ext cx="6064235" cy="6858000"/>
            <a:chOff x="651279" y="598259"/>
            <a:chExt cx="10889442" cy="5680742"/>
          </a:xfrm>
        </p:grpSpPr>
        <p:sp>
          <p:nvSpPr>
            <p:cNvPr id="13" name="Color">
              <a:extLst>
                <a:ext uri="{FF2B5EF4-FFF2-40B4-BE49-F238E27FC236}">
                  <a16:creationId xmlns:a16="http://schemas.microsoft.com/office/drawing/2014/main" id="{13038185-AC3C-4595-945F-25311424C583}"/>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Color">
              <a:extLst>
                <a:ext uri="{FF2B5EF4-FFF2-40B4-BE49-F238E27FC236}">
                  <a16:creationId xmlns:a16="http://schemas.microsoft.com/office/drawing/2014/main" id="{75D51AA0-C095-4650-A361-B294320BFE42}"/>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accent6">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6" name="Group 15">
            <a:extLst>
              <a:ext uri="{FF2B5EF4-FFF2-40B4-BE49-F238E27FC236}">
                <a16:creationId xmlns:a16="http://schemas.microsoft.com/office/drawing/2014/main" id="{43F5E015-E085-4624-B431-B42414448684}"/>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524" y="0"/>
            <a:ext cx="12188952" cy="6858000"/>
            <a:chOff x="0" y="0"/>
            <a:chExt cx="12188952" cy="6858000"/>
          </a:xfrm>
        </p:grpSpPr>
        <p:sp>
          <p:nvSpPr>
            <p:cNvPr id="17" name="Freeform: Shape 16">
              <a:extLst>
                <a:ext uri="{FF2B5EF4-FFF2-40B4-BE49-F238E27FC236}">
                  <a16:creationId xmlns:a16="http://schemas.microsoft.com/office/drawing/2014/main" id="{4DDB60AE-8B9C-4BA0-93DC-F8C9EBF6D8BD}"/>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26122" y="6015669"/>
              <a:ext cx="2605762" cy="842331"/>
            </a:xfrm>
            <a:custGeom>
              <a:avLst/>
              <a:gdLst>
                <a:gd name="connsiteX0" fmla="*/ 1151220 w 3180577"/>
                <a:gd name="connsiteY0" fmla="*/ 1105 h 1033951"/>
                <a:gd name="connsiteX1" fmla="*/ 1735251 w 3180577"/>
                <a:gd name="connsiteY1" fmla="*/ 77956 h 1033951"/>
                <a:gd name="connsiteX2" fmla="*/ 2001894 w 3180577"/>
                <a:gd name="connsiteY2" fmla="*/ 123235 h 1033951"/>
                <a:gd name="connsiteX3" fmla="*/ 2321364 w 3180577"/>
                <a:gd name="connsiteY3" fmla="*/ 128266 h 1033951"/>
                <a:gd name="connsiteX4" fmla="*/ 2671019 w 3180577"/>
                <a:gd name="connsiteY4" fmla="*/ 55316 h 1033951"/>
                <a:gd name="connsiteX5" fmla="*/ 2982942 w 3180577"/>
                <a:gd name="connsiteY5" fmla="*/ 326991 h 1033951"/>
                <a:gd name="connsiteX6" fmla="*/ 3176430 w 3180577"/>
                <a:gd name="connsiteY6" fmla="*/ 1024557 h 1033951"/>
                <a:gd name="connsiteX7" fmla="*/ 3174833 w 3180577"/>
                <a:gd name="connsiteY7" fmla="*/ 1033951 h 1033951"/>
                <a:gd name="connsiteX8" fmla="*/ 23630 w 3180577"/>
                <a:gd name="connsiteY8" fmla="*/ 1033951 h 1033951"/>
                <a:gd name="connsiteX9" fmla="*/ 11184 w 3180577"/>
                <a:gd name="connsiteY9" fmla="*/ 984167 h 1033951"/>
                <a:gd name="connsiteX10" fmla="*/ 236008 w 3180577"/>
                <a:gd name="connsiteY10" fmla="*/ 289258 h 1033951"/>
                <a:gd name="connsiteX11" fmla="*/ 1151220 w 3180577"/>
                <a:gd name="connsiteY11" fmla="*/ 1105 h 103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80577" h="1033951">
                  <a:moveTo>
                    <a:pt x="1151220" y="1105"/>
                  </a:moveTo>
                  <a:cubicBezTo>
                    <a:pt x="1349788" y="7443"/>
                    <a:pt x="1549417" y="40223"/>
                    <a:pt x="1735251" y="77956"/>
                  </a:cubicBezTo>
                  <a:cubicBezTo>
                    <a:pt x="1823293" y="95564"/>
                    <a:pt x="1913852" y="110657"/>
                    <a:pt x="2001894" y="123235"/>
                  </a:cubicBezTo>
                  <a:cubicBezTo>
                    <a:pt x="2102515" y="135812"/>
                    <a:pt x="2228290" y="153421"/>
                    <a:pt x="2321364" y="128266"/>
                  </a:cubicBezTo>
                  <a:cubicBezTo>
                    <a:pt x="2447139" y="93049"/>
                    <a:pt x="2525120" y="12552"/>
                    <a:pt x="2671019" y="55316"/>
                  </a:cubicBezTo>
                  <a:cubicBezTo>
                    <a:pt x="2806857" y="90533"/>
                    <a:pt x="2909992" y="213793"/>
                    <a:pt x="2982942" y="326991"/>
                  </a:cubicBezTo>
                  <a:cubicBezTo>
                    <a:pt x="3115006" y="525086"/>
                    <a:pt x="3200848" y="782887"/>
                    <a:pt x="3176430" y="1024557"/>
                  </a:cubicBezTo>
                  <a:lnTo>
                    <a:pt x="3174833" y="1033951"/>
                  </a:lnTo>
                  <a:lnTo>
                    <a:pt x="23630" y="1033951"/>
                  </a:lnTo>
                  <a:lnTo>
                    <a:pt x="11184" y="984167"/>
                  </a:lnTo>
                  <a:cubicBezTo>
                    <a:pt x="-27491" y="733874"/>
                    <a:pt x="30994" y="479179"/>
                    <a:pt x="236008" y="289258"/>
                  </a:cubicBezTo>
                  <a:cubicBezTo>
                    <a:pt x="492275" y="53429"/>
                    <a:pt x="820274" y="-9459"/>
                    <a:pt x="1151220" y="110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9F247760-BE07-41A2-969E-570081E65529}"/>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655184" y="5798001"/>
              <a:ext cx="2485581" cy="1059999"/>
            </a:xfrm>
            <a:custGeom>
              <a:avLst/>
              <a:gdLst>
                <a:gd name="connsiteX0" fmla="*/ 1553968 w 2449768"/>
                <a:gd name="connsiteY0" fmla="*/ 1045598 h 1050628"/>
                <a:gd name="connsiteX1" fmla="*/ 1561623 w 2449768"/>
                <a:gd name="connsiteY1" fmla="*/ 1050628 h 1050628"/>
                <a:gd name="connsiteX2" fmla="*/ 1540857 w 2449768"/>
                <a:gd name="connsiteY2" fmla="*/ 1050628 h 1050628"/>
                <a:gd name="connsiteX3" fmla="*/ 1542955 w 2449768"/>
                <a:gd name="connsiteY3" fmla="*/ 1048256 h 1050628"/>
                <a:gd name="connsiteX4" fmla="*/ 1553968 w 2449768"/>
                <a:gd name="connsiteY4" fmla="*/ 1045598 h 1050628"/>
                <a:gd name="connsiteX5" fmla="*/ 490647 w 2449768"/>
                <a:gd name="connsiteY5" fmla="*/ 1036483 h 1050628"/>
                <a:gd name="connsiteX6" fmla="*/ 503939 w 2449768"/>
                <a:gd name="connsiteY6" fmla="*/ 1045217 h 1050628"/>
                <a:gd name="connsiteX7" fmla="*/ 505485 w 2449768"/>
                <a:gd name="connsiteY7" fmla="*/ 1050628 h 1050628"/>
                <a:gd name="connsiteX8" fmla="*/ 470645 w 2449768"/>
                <a:gd name="connsiteY8" fmla="*/ 1050628 h 1050628"/>
                <a:gd name="connsiteX9" fmla="*/ 469761 w 2449768"/>
                <a:gd name="connsiteY9" fmla="*/ 1046736 h 1050628"/>
                <a:gd name="connsiteX10" fmla="*/ 479634 w 2449768"/>
                <a:gd name="connsiteY10" fmla="*/ 1039141 h 1050628"/>
                <a:gd name="connsiteX11" fmla="*/ 490647 w 2449768"/>
                <a:gd name="connsiteY11" fmla="*/ 1036483 h 1050628"/>
                <a:gd name="connsiteX12" fmla="*/ 326591 w 2449768"/>
                <a:gd name="connsiteY12" fmla="*/ 1030407 h 1050628"/>
                <a:gd name="connsiteX13" fmla="*/ 339883 w 2449768"/>
                <a:gd name="connsiteY13" fmla="*/ 1039141 h 1050628"/>
                <a:gd name="connsiteX14" fmla="*/ 341999 w 2449768"/>
                <a:gd name="connsiteY14" fmla="*/ 1050628 h 1050628"/>
                <a:gd name="connsiteX15" fmla="*/ 308260 w 2449768"/>
                <a:gd name="connsiteY15" fmla="*/ 1050628 h 1050628"/>
                <a:gd name="connsiteX16" fmla="*/ 306844 w 2449768"/>
                <a:gd name="connsiteY16" fmla="*/ 1042939 h 1050628"/>
                <a:gd name="connsiteX17" fmla="*/ 315578 w 2449768"/>
                <a:gd name="connsiteY17" fmla="*/ 1033065 h 1050628"/>
                <a:gd name="connsiteX18" fmla="*/ 326591 w 2449768"/>
                <a:gd name="connsiteY18" fmla="*/ 1030407 h 1050628"/>
                <a:gd name="connsiteX19" fmla="*/ 20886 w 2449768"/>
                <a:gd name="connsiteY19" fmla="*/ 1026229 h 1050628"/>
                <a:gd name="connsiteX20" fmla="*/ 33039 w 2449768"/>
                <a:gd name="connsiteY20" fmla="*/ 1036103 h 1050628"/>
                <a:gd name="connsiteX21" fmla="*/ 36837 w 2449768"/>
                <a:gd name="connsiteY21" fmla="*/ 1049395 h 1050628"/>
                <a:gd name="connsiteX22" fmla="*/ 35731 w 2449768"/>
                <a:gd name="connsiteY22" fmla="*/ 1050628 h 1050628"/>
                <a:gd name="connsiteX23" fmla="*/ 1976 w 2449768"/>
                <a:gd name="connsiteY23" fmla="*/ 1050628 h 1050628"/>
                <a:gd name="connsiteX24" fmla="*/ 0 w 2449768"/>
                <a:gd name="connsiteY24" fmla="*/ 1039901 h 1050628"/>
                <a:gd name="connsiteX25" fmla="*/ 8734 w 2449768"/>
                <a:gd name="connsiteY25" fmla="*/ 1030027 h 1050628"/>
                <a:gd name="connsiteX26" fmla="*/ 20886 w 2449768"/>
                <a:gd name="connsiteY26" fmla="*/ 1026229 h 1050628"/>
                <a:gd name="connsiteX27" fmla="*/ 2100819 w 2449768"/>
                <a:gd name="connsiteY27" fmla="*/ 1024331 h 1050628"/>
                <a:gd name="connsiteX28" fmla="*/ 2114111 w 2449768"/>
                <a:gd name="connsiteY28" fmla="*/ 1033065 h 1050628"/>
                <a:gd name="connsiteX29" fmla="*/ 2117909 w 2449768"/>
                <a:gd name="connsiteY29" fmla="*/ 1046357 h 1050628"/>
                <a:gd name="connsiteX30" fmla="*/ 2114079 w 2449768"/>
                <a:gd name="connsiteY30" fmla="*/ 1050628 h 1050628"/>
                <a:gd name="connsiteX31" fmla="*/ 2083616 w 2449768"/>
                <a:gd name="connsiteY31" fmla="*/ 1050628 h 1050628"/>
                <a:gd name="connsiteX32" fmla="*/ 2081072 w 2449768"/>
                <a:gd name="connsiteY32" fmla="*/ 1035724 h 1050628"/>
                <a:gd name="connsiteX33" fmla="*/ 2089806 w 2449768"/>
                <a:gd name="connsiteY33" fmla="*/ 1026989 h 1050628"/>
                <a:gd name="connsiteX34" fmla="*/ 2100819 w 2449768"/>
                <a:gd name="connsiteY34" fmla="*/ 1024331 h 1050628"/>
                <a:gd name="connsiteX35" fmla="*/ 1192439 w 2449768"/>
                <a:gd name="connsiteY35" fmla="*/ 1024331 h 1050628"/>
                <a:gd name="connsiteX36" fmla="*/ 1205731 w 2449768"/>
                <a:gd name="connsiteY36" fmla="*/ 1033065 h 1050628"/>
                <a:gd name="connsiteX37" fmla="*/ 1209529 w 2449768"/>
                <a:gd name="connsiteY37" fmla="*/ 1046357 h 1050628"/>
                <a:gd name="connsiteX38" fmla="*/ 1205699 w 2449768"/>
                <a:gd name="connsiteY38" fmla="*/ 1050628 h 1050628"/>
                <a:gd name="connsiteX39" fmla="*/ 1175227 w 2449768"/>
                <a:gd name="connsiteY39" fmla="*/ 1050628 h 1050628"/>
                <a:gd name="connsiteX40" fmla="*/ 1172692 w 2449768"/>
                <a:gd name="connsiteY40" fmla="*/ 1036863 h 1050628"/>
                <a:gd name="connsiteX41" fmla="*/ 1181426 w 2449768"/>
                <a:gd name="connsiteY41" fmla="*/ 1026989 h 1050628"/>
                <a:gd name="connsiteX42" fmla="*/ 1192439 w 2449768"/>
                <a:gd name="connsiteY42" fmla="*/ 1024331 h 1050628"/>
                <a:gd name="connsiteX43" fmla="*/ 788376 w 2449768"/>
                <a:gd name="connsiteY43" fmla="*/ 1024331 h 1050628"/>
                <a:gd name="connsiteX44" fmla="*/ 801668 w 2449768"/>
                <a:gd name="connsiteY44" fmla="*/ 1033065 h 1050628"/>
                <a:gd name="connsiteX45" fmla="*/ 805466 w 2449768"/>
                <a:gd name="connsiteY45" fmla="*/ 1046357 h 1050628"/>
                <a:gd name="connsiteX46" fmla="*/ 801636 w 2449768"/>
                <a:gd name="connsiteY46" fmla="*/ 1050628 h 1050628"/>
                <a:gd name="connsiteX47" fmla="*/ 771181 w 2449768"/>
                <a:gd name="connsiteY47" fmla="*/ 1050628 h 1050628"/>
                <a:gd name="connsiteX48" fmla="*/ 768629 w 2449768"/>
                <a:gd name="connsiteY48" fmla="*/ 1034584 h 1050628"/>
                <a:gd name="connsiteX49" fmla="*/ 777363 w 2449768"/>
                <a:gd name="connsiteY49" fmla="*/ 1026989 h 1050628"/>
                <a:gd name="connsiteX50" fmla="*/ 788376 w 2449768"/>
                <a:gd name="connsiteY50" fmla="*/ 1024331 h 1050628"/>
                <a:gd name="connsiteX51" fmla="*/ 138231 w 2449768"/>
                <a:gd name="connsiteY51" fmla="*/ 1024331 h 1050628"/>
                <a:gd name="connsiteX52" fmla="*/ 151523 w 2449768"/>
                <a:gd name="connsiteY52" fmla="*/ 1033065 h 1050628"/>
                <a:gd name="connsiteX53" fmla="*/ 154181 w 2449768"/>
                <a:gd name="connsiteY53" fmla="*/ 1047496 h 1050628"/>
                <a:gd name="connsiteX54" fmla="*/ 151411 w 2449768"/>
                <a:gd name="connsiteY54" fmla="*/ 1050628 h 1050628"/>
                <a:gd name="connsiteX55" fmla="*/ 121019 w 2449768"/>
                <a:gd name="connsiteY55" fmla="*/ 1050628 h 1050628"/>
                <a:gd name="connsiteX56" fmla="*/ 118484 w 2449768"/>
                <a:gd name="connsiteY56" fmla="*/ 1036863 h 1050628"/>
                <a:gd name="connsiteX57" fmla="*/ 127218 w 2449768"/>
                <a:gd name="connsiteY57" fmla="*/ 1026989 h 1050628"/>
                <a:gd name="connsiteX58" fmla="*/ 138231 w 2449768"/>
                <a:gd name="connsiteY58" fmla="*/ 1024331 h 1050628"/>
                <a:gd name="connsiteX59" fmla="*/ 894709 w 2449768"/>
                <a:gd name="connsiteY59" fmla="*/ 1021293 h 1050628"/>
                <a:gd name="connsiteX60" fmla="*/ 908001 w 2449768"/>
                <a:gd name="connsiteY60" fmla="*/ 1030027 h 1050628"/>
                <a:gd name="connsiteX61" fmla="*/ 911799 w 2449768"/>
                <a:gd name="connsiteY61" fmla="*/ 1043319 h 1050628"/>
                <a:gd name="connsiteX62" fmla="*/ 905246 w 2449768"/>
                <a:gd name="connsiteY62" fmla="*/ 1050628 h 1050628"/>
                <a:gd name="connsiteX63" fmla="*/ 880920 w 2449768"/>
                <a:gd name="connsiteY63" fmla="*/ 1050628 h 1050628"/>
                <a:gd name="connsiteX64" fmla="*/ 877620 w 2449768"/>
                <a:gd name="connsiteY64" fmla="*/ 1048256 h 1050628"/>
                <a:gd name="connsiteX65" fmla="*/ 883696 w 2449768"/>
                <a:gd name="connsiteY65" fmla="*/ 1023951 h 1050628"/>
                <a:gd name="connsiteX66" fmla="*/ 894709 w 2449768"/>
                <a:gd name="connsiteY66" fmla="*/ 1021293 h 1050628"/>
                <a:gd name="connsiteX67" fmla="*/ 694197 w 2449768"/>
                <a:gd name="connsiteY67" fmla="*/ 1021293 h 1050628"/>
                <a:gd name="connsiteX68" fmla="*/ 707488 w 2449768"/>
                <a:gd name="connsiteY68" fmla="*/ 1030027 h 1050628"/>
                <a:gd name="connsiteX69" fmla="*/ 711286 w 2449768"/>
                <a:gd name="connsiteY69" fmla="*/ 1043319 h 1050628"/>
                <a:gd name="connsiteX70" fmla="*/ 704733 w 2449768"/>
                <a:gd name="connsiteY70" fmla="*/ 1050628 h 1050628"/>
                <a:gd name="connsiteX71" fmla="*/ 680408 w 2449768"/>
                <a:gd name="connsiteY71" fmla="*/ 1050628 h 1050628"/>
                <a:gd name="connsiteX72" fmla="*/ 677108 w 2449768"/>
                <a:gd name="connsiteY72" fmla="*/ 1048256 h 1050628"/>
                <a:gd name="connsiteX73" fmla="*/ 683184 w 2449768"/>
                <a:gd name="connsiteY73" fmla="*/ 1023951 h 1050628"/>
                <a:gd name="connsiteX74" fmla="*/ 694197 w 2449768"/>
                <a:gd name="connsiteY74" fmla="*/ 1021293 h 1050628"/>
                <a:gd name="connsiteX75" fmla="*/ 596979 w 2449768"/>
                <a:gd name="connsiteY75" fmla="*/ 1021293 h 1050628"/>
                <a:gd name="connsiteX76" fmla="*/ 610271 w 2449768"/>
                <a:gd name="connsiteY76" fmla="*/ 1030027 h 1050628"/>
                <a:gd name="connsiteX77" fmla="*/ 614069 w 2449768"/>
                <a:gd name="connsiteY77" fmla="*/ 1043319 h 1050628"/>
                <a:gd name="connsiteX78" fmla="*/ 607516 w 2449768"/>
                <a:gd name="connsiteY78" fmla="*/ 1050628 h 1050628"/>
                <a:gd name="connsiteX79" fmla="*/ 583190 w 2449768"/>
                <a:gd name="connsiteY79" fmla="*/ 1050628 h 1050628"/>
                <a:gd name="connsiteX80" fmla="*/ 579890 w 2449768"/>
                <a:gd name="connsiteY80" fmla="*/ 1048256 h 1050628"/>
                <a:gd name="connsiteX81" fmla="*/ 585966 w 2449768"/>
                <a:gd name="connsiteY81" fmla="*/ 1023951 h 1050628"/>
                <a:gd name="connsiteX82" fmla="*/ 596979 w 2449768"/>
                <a:gd name="connsiteY82" fmla="*/ 1021293 h 1050628"/>
                <a:gd name="connsiteX83" fmla="*/ 1086106 w 2449768"/>
                <a:gd name="connsiteY83" fmla="*/ 1015217 h 1050628"/>
                <a:gd name="connsiteX84" fmla="*/ 1099398 w 2449768"/>
                <a:gd name="connsiteY84" fmla="*/ 1023951 h 1050628"/>
                <a:gd name="connsiteX85" fmla="*/ 1093322 w 2449768"/>
                <a:gd name="connsiteY85" fmla="*/ 1048256 h 1050628"/>
                <a:gd name="connsiteX86" fmla="*/ 1082478 w 2449768"/>
                <a:gd name="connsiteY86" fmla="*/ 1050628 h 1050628"/>
                <a:gd name="connsiteX87" fmla="*/ 1080771 w 2449768"/>
                <a:gd name="connsiteY87" fmla="*/ 1050628 h 1050628"/>
                <a:gd name="connsiteX88" fmla="*/ 1069017 w 2449768"/>
                <a:gd name="connsiteY88" fmla="*/ 1042180 h 1050628"/>
                <a:gd name="connsiteX89" fmla="*/ 1075093 w 2449768"/>
                <a:gd name="connsiteY89" fmla="*/ 1017875 h 1050628"/>
                <a:gd name="connsiteX90" fmla="*/ 1086106 w 2449768"/>
                <a:gd name="connsiteY90" fmla="*/ 1015217 h 1050628"/>
                <a:gd name="connsiteX91" fmla="*/ 1313961 w 2449768"/>
                <a:gd name="connsiteY91" fmla="*/ 1009141 h 1050628"/>
                <a:gd name="connsiteX92" fmla="*/ 1327253 w 2449768"/>
                <a:gd name="connsiteY92" fmla="*/ 1017875 h 1050628"/>
                <a:gd name="connsiteX93" fmla="*/ 1321177 w 2449768"/>
                <a:gd name="connsiteY93" fmla="*/ 1042180 h 1050628"/>
                <a:gd name="connsiteX94" fmla="*/ 1296872 w 2449768"/>
                <a:gd name="connsiteY94" fmla="*/ 1036104 h 1050628"/>
                <a:gd name="connsiteX95" fmla="*/ 1302948 w 2449768"/>
                <a:gd name="connsiteY95" fmla="*/ 1011799 h 1050628"/>
                <a:gd name="connsiteX96" fmla="*/ 1313961 w 2449768"/>
                <a:gd name="connsiteY96" fmla="*/ 1009141 h 1050628"/>
                <a:gd name="connsiteX97" fmla="*/ 2337788 w 2449768"/>
                <a:gd name="connsiteY97" fmla="*/ 996989 h 1050628"/>
                <a:gd name="connsiteX98" fmla="*/ 2351080 w 2449768"/>
                <a:gd name="connsiteY98" fmla="*/ 1005723 h 1050628"/>
                <a:gd name="connsiteX99" fmla="*/ 2345004 w 2449768"/>
                <a:gd name="connsiteY99" fmla="*/ 1030028 h 1050628"/>
                <a:gd name="connsiteX100" fmla="*/ 2320699 w 2449768"/>
                <a:gd name="connsiteY100" fmla="*/ 1023952 h 1050628"/>
                <a:gd name="connsiteX101" fmla="*/ 2326775 w 2449768"/>
                <a:gd name="connsiteY101" fmla="*/ 999647 h 1050628"/>
                <a:gd name="connsiteX102" fmla="*/ 2337788 w 2449768"/>
                <a:gd name="connsiteY102" fmla="*/ 996989 h 1050628"/>
                <a:gd name="connsiteX103" fmla="*/ 1429407 w 2449768"/>
                <a:gd name="connsiteY103" fmla="*/ 990912 h 1050628"/>
                <a:gd name="connsiteX104" fmla="*/ 1442699 w 2449768"/>
                <a:gd name="connsiteY104" fmla="*/ 999646 h 1050628"/>
                <a:gd name="connsiteX105" fmla="*/ 1436623 w 2449768"/>
                <a:gd name="connsiteY105" fmla="*/ 1023951 h 1050628"/>
                <a:gd name="connsiteX106" fmla="*/ 1412318 w 2449768"/>
                <a:gd name="connsiteY106" fmla="*/ 1017875 h 1050628"/>
                <a:gd name="connsiteX107" fmla="*/ 1418394 w 2449768"/>
                <a:gd name="connsiteY107" fmla="*/ 993570 h 1050628"/>
                <a:gd name="connsiteX108" fmla="*/ 1429407 w 2449768"/>
                <a:gd name="connsiteY108" fmla="*/ 990912 h 1050628"/>
                <a:gd name="connsiteX109" fmla="*/ 1672452 w 2449768"/>
                <a:gd name="connsiteY109" fmla="*/ 987874 h 1050628"/>
                <a:gd name="connsiteX110" fmla="*/ 1685744 w 2449768"/>
                <a:gd name="connsiteY110" fmla="*/ 996608 h 1050628"/>
                <a:gd name="connsiteX111" fmla="*/ 1679668 w 2449768"/>
                <a:gd name="connsiteY111" fmla="*/ 1020913 h 1050628"/>
                <a:gd name="connsiteX112" fmla="*/ 1655363 w 2449768"/>
                <a:gd name="connsiteY112" fmla="*/ 1014837 h 1050628"/>
                <a:gd name="connsiteX113" fmla="*/ 1661439 w 2449768"/>
                <a:gd name="connsiteY113" fmla="*/ 990532 h 1050628"/>
                <a:gd name="connsiteX114" fmla="*/ 1672452 w 2449768"/>
                <a:gd name="connsiteY114" fmla="*/ 987874 h 1050628"/>
                <a:gd name="connsiteX115" fmla="*/ 1803089 w 2449768"/>
                <a:gd name="connsiteY115" fmla="*/ 975722 h 1050628"/>
                <a:gd name="connsiteX116" fmla="*/ 1816381 w 2449768"/>
                <a:gd name="connsiteY116" fmla="*/ 984456 h 1050628"/>
                <a:gd name="connsiteX117" fmla="*/ 1810305 w 2449768"/>
                <a:gd name="connsiteY117" fmla="*/ 1008761 h 1050628"/>
                <a:gd name="connsiteX118" fmla="*/ 1786000 w 2449768"/>
                <a:gd name="connsiteY118" fmla="*/ 1002685 h 1050628"/>
                <a:gd name="connsiteX119" fmla="*/ 1792076 w 2449768"/>
                <a:gd name="connsiteY119" fmla="*/ 978380 h 1050628"/>
                <a:gd name="connsiteX120" fmla="*/ 1803089 w 2449768"/>
                <a:gd name="connsiteY120" fmla="*/ 975722 h 1050628"/>
                <a:gd name="connsiteX121" fmla="*/ 2030944 w 2449768"/>
                <a:gd name="connsiteY121" fmla="*/ 969646 h 1050628"/>
                <a:gd name="connsiteX122" fmla="*/ 2044236 w 2449768"/>
                <a:gd name="connsiteY122" fmla="*/ 978380 h 1050628"/>
                <a:gd name="connsiteX123" fmla="*/ 2038160 w 2449768"/>
                <a:gd name="connsiteY123" fmla="*/ 1002685 h 1050628"/>
                <a:gd name="connsiteX124" fmla="*/ 2013855 w 2449768"/>
                <a:gd name="connsiteY124" fmla="*/ 996609 h 1050628"/>
                <a:gd name="connsiteX125" fmla="*/ 2019931 w 2449768"/>
                <a:gd name="connsiteY125" fmla="*/ 972304 h 1050628"/>
                <a:gd name="connsiteX126" fmla="*/ 2030944 w 2449768"/>
                <a:gd name="connsiteY126" fmla="*/ 969646 h 1050628"/>
                <a:gd name="connsiteX127" fmla="*/ 405581 w 2449768"/>
                <a:gd name="connsiteY127" fmla="*/ 966608 h 1050628"/>
                <a:gd name="connsiteX128" fmla="*/ 418873 w 2449768"/>
                <a:gd name="connsiteY128" fmla="*/ 975342 h 1050628"/>
                <a:gd name="connsiteX129" fmla="*/ 412797 w 2449768"/>
                <a:gd name="connsiteY129" fmla="*/ 999647 h 1050628"/>
                <a:gd name="connsiteX130" fmla="*/ 388492 w 2449768"/>
                <a:gd name="connsiteY130" fmla="*/ 993571 h 1050628"/>
                <a:gd name="connsiteX131" fmla="*/ 394568 w 2449768"/>
                <a:gd name="connsiteY131" fmla="*/ 969266 h 1050628"/>
                <a:gd name="connsiteX132" fmla="*/ 405581 w 2449768"/>
                <a:gd name="connsiteY132" fmla="*/ 966608 h 1050628"/>
                <a:gd name="connsiteX133" fmla="*/ 2225380 w 2449768"/>
                <a:gd name="connsiteY133" fmla="*/ 957494 h 1050628"/>
                <a:gd name="connsiteX134" fmla="*/ 2238671 w 2449768"/>
                <a:gd name="connsiteY134" fmla="*/ 966228 h 1050628"/>
                <a:gd name="connsiteX135" fmla="*/ 2232595 w 2449768"/>
                <a:gd name="connsiteY135" fmla="*/ 990533 h 1050628"/>
                <a:gd name="connsiteX136" fmla="*/ 2208290 w 2449768"/>
                <a:gd name="connsiteY136" fmla="*/ 984457 h 1050628"/>
                <a:gd name="connsiteX137" fmla="*/ 2214366 w 2449768"/>
                <a:gd name="connsiteY137" fmla="*/ 960152 h 1050628"/>
                <a:gd name="connsiteX138" fmla="*/ 2225380 w 2449768"/>
                <a:gd name="connsiteY138" fmla="*/ 957494 h 1050628"/>
                <a:gd name="connsiteX139" fmla="*/ 1927649 w 2449768"/>
                <a:gd name="connsiteY139" fmla="*/ 954456 h 1050628"/>
                <a:gd name="connsiteX140" fmla="*/ 1940941 w 2449768"/>
                <a:gd name="connsiteY140" fmla="*/ 963190 h 1050628"/>
                <a:gd name="connsiteX141" fmla="*/ 1934865 w 2449768"/>
                <a:gd name="connsiteY141" fmla="*/ 987495 h 1050628"/>
                <a:gd name="connsiteX142" fmla="*/ 1910560 w 2449768"/>
                <a:gd name="connsiteY142" fmla="*/ 981419 h 1050628"/>
                <a:gd name="connsiteX143" fmla="*/ 1916636 w 2449768"/>
                <a:gd name="connsiteY143" fmla="*/ 957114 h 1050628"/>
                <a:gd name="connsiteX144" fmla="*/ 1927649 w 2449768"/>
                <a:gd name="connsiteY144" fmla="*/ 954456 h 1050628"/>
                <a:gd name="connsiteX145" fmla="*/ 244564 w 2449768"/>
                <a:gd name="connsiteY145" fmla="*/ 954456 h 1050628"/>
                <a:gd name="connsiteX146" fmla="*/ 257856 w 2449768"/>
                <a:gd name="connsiteY146" fmla="*/ 963190 h 1050628"/>
                <a:gd name="connsiteX147" fmla="*/ 251780 w 2449768"/>
                <a:gd name="connsiteY147" fmla="*/ 987495 h 1050628"/>
                <a:gd name="connsiteX148" fmla="*/ 227475 w 2449768"/>
                <a:gd name="connsiteY148" fmla="*/ 981419 h 1050628"/>
                <a:gd name="connsiteX149" fmla="*/ 233551 w 2449768"/>
                <a:gd name="connsiteY149" fmla="*/ 957114 h 1050628"/>
                <a:gd name="connsiteX150" fmla="*/ 244564 w 2449768"/>
                <a:gd name="connsiteY150" fmla="*/ 954456 h 1050628"/>
                <a:gd name="connsiteX151" fmla="*/ 2431968 w 2449768"/>
                <a:gd name="connsiteY151" fmla="*/ 951418 h 1050628"/>
                <a:gd name="connsiteX152" fmla="*/ 2445260 w 2449768"/>
                <a:gd name="connsiteY152" fmla="*/ 960152 h 1050628"/>
                <a:gd name="connsiteX153" fmla="*/ 2439184 w 2449768"/>
                <a:gd name="connsiteY153" fmla="*/ 984457 h 1050628"/>
                <a:gd name="connsiteX154" fmla="*/ 2414879 w 2449768"/>
                <a:gd name="connsiteY154" fmla="*/ 978381 h 1050628"/>
                <a:gd name="connsiteX155" fmla="*/ 2420955 w 2449768"/>
                <a:gd name="connsiteY155" fmla="*/ 954076 h 1050628"/>
                <a:gd name="connsiteX156" fmla="*/ 2431968 w 2449768"/>
                <a:gd name="connsiteY156" fmla="*/ 951418 h 1050628"/>
                <a:gd name="connsiteX157" fmla="*/ 1553968 w 2449768"/>
                <a:gd name="connsiteY157" fmla="*/ 948380 h 1050628"/>
                <a:gd name="connsiteX158" fmla="*/ 1567259 w 2449768"/>
                <a:gd name="connsiteY158" fmla="*/ 957114 h 1050628"/>
                <a:gd name="connsiteX159" fmla="*/ 1561183 w 2449768"/>
                <a:gd name="connsiteY159" fmla="*/ 981419 h 1050628"/>
                <a:gd name="connsiteX160" fmla="*/ 1536879 w 2449768"/>
                <a:gd name="connsiteY160" fmla="*/ 975343 h 1050628"/>
                <a:gd name="connsiteX161" fmla="*/ 1542955 w 2449768"/>
                <a:gd name="connsiteY161" fmla="*/ 951038 h 1050628"/>
                <a:gd name="connsiteX162" fmla="*/ 1553968 w 2449768"/>
                <a:gd name="connsiteY162" fmla="*/ 948380 h 1050628"/>
                <a:gd name="connsiteX163" fmla="*/ 1222819 w 2449768"/>
                <a:gd name="connsiteY163" fmla="*/ 933189 h 1050628"/>
                <a:gd name="connsiteX164" fmla="*/ 1236111 w 2449768"/>
                <a:gd name="connsiteY164" fmla="*/ 941923 h 1050628"/>
                <a:gd name="connsiteX165" fmla="*/ 1230035 w 2449768"/>
                <a:gd name="connsiteY165" fmla="*/ 966228 h 1050628"/>
                <a:gd name="connsiteX166" fmla="*/ 1205730 w 2449768"/>
                <a:gd name="connsiteY166" fmla="*/ 960152 h 1050628"/>
                <a:gd name="connsiteX167" fmla="*/ 1211806 w 2449768"/>
                <a:gd name="connsiteY167" fmla="*/ 935847 h 1050628"/>
                <a:gd name="connsiteX168" fmla="*/ 1222819 w 2449768"/>
                <a:gd name="connsiteY168" fmla="*/ 933189 h 1050628"/>
                <a:gd name="connsiteX169" fmla="*/ 1031421 w 2449768"/>
                <a:gd name="connsiteY169" fmla="*/ 930151 h 1050628"/>
                <a:gd name="connsiteX170" fmla="*/ 1044713 w 2449768"/>
                <a:gd name="connsiteY170" fmla="*/ 938885 h 1050628"/>
                <a:gd name="connsiteX171" fmla="*/ 1038637 w 2449768"/>
                <a:gd name="connsiteY171" fmla="*/ 963190 h 1050628"/>
                <a:gd name="connsiteX172" fmla="*/ 1014332 w 2449768"/>
                <a:gd name="connsiteY172" fmla="*/ 957114 h 1050628"/>
                <a:gd name="connsiteX173" fmla="*/ 1020408 w 2449768"/>
                <a:gd name="connsiteY173" fmla="*/ 932809 h 1050628"/>
                <a:gd name="connsiteX174" fmla="*/ 1031421 w 2449768"/>
                <a:gd name="connsiteY174" fmla="*/ 930151 h 1050628"/>
                <a:gd name="connsiteX175" fmla="*/ 931165 w 2449768"/>
                <a:gd name="connsiteY175" fmla="*/ 930151 h 1050628"/>
                <a:gd name="connsiteX176" fmla="*/ 944457 w 2449768"/>
                <a:gd name="connsiteY176" fmla="*/ 938885 h 1050628"/>
                <a:gd name="connsiteX177" fmla="*/ 938381 w 2449768"/>
                <a:gd name="connsiteY177" fmla="*/ 963190 h 1050628"/>
                <a:gd name="connsiteX178" fmla="*/ 914076 w 2449768"/>
                <a:gd name="connsiteY178" fmla="*/ 957114 h 1050628"/>
                <a:gd name="connsiteX179" fmla="*/ 920152 w 2449768"/>
                <a:gd name="connsiteY179" fmla="*/ 932809 h 1050628"/>
                <a:gd name="connsiteX180" fmla="*/ 931165 w 2449768"/>
                <a:gd name="connsiteY180" fmla="*/ 930151 h 1050628"/>
                <a:gd name="connsiteX181" fmla="*/ 123041 w 2449768"/>
                <a:gd name="connsiteY181" fmla="*/ 930151 h 1050628"/>
                <a:gd name="connsiteX182" fmla="*/ 136333 w 2449768"/>
                <a:gd name="connsiteY182" fmla="*/ 938885 h 1050628"/>
                <a:gd name="connsiteX183" fmla="*/ 130257 w 2449768"/>
                <a:gd name="connsiteY183" fmla="*/ 963190 h 1050628"/>
                <a:gd name="connsiteX184" fmla="*/ 105952 w 2449768"/>
                <a:gd name="connsiteY184" fmla="*/ 957114 h 1050628"/>
                <a:gd name="connsiteX185" fmla="*/ 112028 w 2449768"/>
                <a:gd name="connsiteY185" fmla="*/ 932809 h 1050628"/>
                <a:gd name="connsiteX186" fmla="*/ 123041 w 2449768"/>
                <a:gd name="connsiteY186" fmla="*/ 930151 h 1050628"/>
                <a:gd name="connsiteX187" fmla="*/ 524065 w 2449768"/>
                <a:gd name="connsiteY187" fmla="*/ 917999 h 1050628"/>
                <a:gd name="connsiteX188" fmla="*/ 537357 w 2449768"/>
                <a:gd name="connsiteY188" fmla="*/ 926733 h 1050628"/>
                <a:gd name="connsiteX189" fmla="*/ 531281 w 2449768"/>
                <a:gd name="connsiteY189" fmla="*/ 951038 h 1050628"/>
                <a:gd name="connsiteX190" fmla="*/ 506976 w 2449768"/>
                <a:gd name="connsiteY190" fmla="*/ 944962 h 1050628"/>
                <a:gd name="connsiteX191" fmla="*/ 513052 w 2449768"/>
                <a:gd name="connsiteY191" fmla="*/ 920657 h 1050628"/>
                <a:gd name="connsiteX192" fmla="*/ 524065 w 2449768"/>
                <a:gd name="connsiteY192" fmla="*/ 917999 h 1050628"/>
                <a:gd name="connsiteX193" fmla="*/ 824833 w 2449768"/>
                <a:gd name="connsiteY193" fmla="*/ 911923 h 1050628"/>
                <a:gd name="connsiteX194" fmla="*/ 838125 w 2449768"/>
                <a:gd name="connsiteY194" fmla="*/ 920657 h 1050628"/>
                <a:gd name="connsiteX195" fmla="*/ 832049 w 2449768"/>
                <a:gd name="connsiteY195" fmla="*/ 944962 h 1050628"/>
                <a:gd name="connsiteX196" fmla="*/ 807744 w 2449768"/>
                <a:gd name="connsiteY196" fmla="*/ 938886 h 1050628"/>
                <a:gd name="connsiteX197" fmla="*/ 813820 w 2449768"/>
                <a:gd name="connsiteY197" fmla="*/ 914581 h 1050628"/>
                <a:gd name="connsiteX198" fmla="*/ 824833 w 2449768"/>
                <a:gd name="connsiteY198" fmla="*/ 911923 h 1050628"/>
                <a:gd name="connsiteX199" fmla="*/ 2137276 w 2449768"/>
                <a:gd name="connsiteY199" fmla="*/ 905847 h 1050628"/>
                <a:gd name="connsiteX200" fmla="*/ 2150567 w 2449768"/>
                <a:gd name="connsiteY200" fmla="*/ 914581 h 1050628"/>
                <a:gd name="connsiteX201" fmla="*/ 2144491 w 2449768"/>
                <a:gd name="connsiteY201" fmla="*/ 938886 h 1050628"/>
                <a:gd name="connsiteX202" fmla="*/ 2120187 w 2449768"/>
                <a:gd name="connsiteY202" fmla="*/ 932810 h 1050628"/>
                <a:gd name="connsiteX203" fmla="*/ 2126263 w 2449768"/>
                <a:gd name="connsiteY203" fmla="*/ 908505 h 1050628"/>
                <a:gd name="connsiteX204" fmla="*/ 2137276 w 2449768"/>
                <a:gd name="connsiteY204" fmla="*/ 905847 h 1050628"/>
                <a:gd name="connsiteX205" fmla="*/ 630397 w 2449768"/>
                <a:gd name="connsiteY205" fmla="*/ 905847 h 1050628"/>
                <a:gd name="connsiteX206" fmla="*/ 643689 w 2449768"/>
                <a:gd name="connsiteY206" fmla="*/ 914581 h 1050628"/>
                <a:gd name="connsiteX207" fmla="*/ 637613 w 2449768"/>
                <a:gd name="connsiteY207" fmla="*/ 938886 h 1050628"/>
                <a:gd name="connsiteX208" fmla="*/ 613308 w 2449768"/>
                <a:gd name="connsiteY208" fmla="*/ 932810 h 1050628"/>
                <a:gd name="connsiteX209" fmla="*/ 619384 w 2449768"/>
                <a:gd name="connsiteY209" fmla="*/ 908505 h 1050628"/>
                <a:gd name="connsiteX210" fmla="*/ 630397 w 2449768"/>
                <a:gd name="connsiteY210" fmla="*/ 905847 h 1050628"/>
                <a:gd name="connsiteX211" fmla="*/ 1332189 w 2449768"/>
                <a:gd name="connsiteY211" fmla="*/ 896733 h 1050628"/>
                <a:gd name="connsiteX212" fmla="*/ 1345481 w 2449768"/>
                <a:gd name="connsiteY212" fmla="*/ 905467 h 1050628"/>
                <a:gd name="connsiteX213" fmla="*/ 1339405 w 2449768"/>
                <a:gd name="connsiteY213" fmla="*/ 929772 h 1050628"/>
                <a:gd name="connsiteX214" fmla="*/ 1315100 w 2449768"/>
                <a:gd name="connsiteY214" fmla="*/ 923696 h 1050628"/>
                <a:gd name="connsiteX215" fmla="*/ 1321176 w 2449768"/>
                <a:gd name="connsiteY215" fmla="*/ 899391 h 1050628"/>
                <a:gd name="connsiteX216" fmla="*/ 1332189 w 2449768"/>
                <a:gd name="connsiteY216" fmla="*/ 896733 h 1050628"/>
                <a:gd name="connsiteX217" fmla="*/ 724577 w 2449768"/>
                <a:gd name="connsiteY217" fmla="*/ 890656 h 1050628"/>
                <a:gd name="connsiteX218" fmla="*/ 737869 w 2449768"/>
                <a:gd name="connsiteY218" fmla="*/ 899390 h 1050628"/>
                <a:gd name="connsiteX219" fmla="*/ 731793 w 2449768"/>
                <a:gd name="connsiteY219" fmla="*/ 923695 h 1050628"/>
                <a:gd name="connsiteX220" fmla="*/ 707488 w 2449768"/>
                <a:gd name="connsiteY220" fmla="*/ 917619 h 1050628"/>
                <a:gd name="connsiteX221" fmla="*/ 713564 w 2449768"/>
                <a:gd name="connsiteY221" fmla="*/ 893314 h 1050628"/>
                <a:gd name="connsiteX222" fmla="*/ 724577 w 2449768"/>
                <a:gd name="connsiteY222" fmla="*/ 890656 h 1050628"/>
                <a:gd name="connsiteX223" fmla="*/ 1435484 w 2449768"/>
                <a:gd name="connsiteY223" fmla="*/ 884580 h 1050628"/>
                <a:gd name="connsiteX224" fmla="*/ 1448776 w 2449768"/>
                <a:gd name="connsiteY224" fmla="*/ 893314 h 1050628"/>
                <a:gd name="connsiteX225" fmla="*/ 1442700 w 2449768"/>
                <a:gd name="connsiteY225" fmla="*/ 917619 h 1050628"/>
                <a:gd name="connsiteX226" fmla="*/ 1418395 w 2449768"/>
                <a:gd name="connsiteY226" fmla="*/ 911543 h 1050628"/>
                <a:gd name="connsiteX227" fmla="*/ 1424471 w 2449768"/>
                <a:gd name="connsiteY227" fmla="*/ 887238 h 1050628"/>
                <a:gd name="connsiteX228" fmla="*/ 1435484 w 2449768"/>
                <a:gd name="connsiteY228" fmla="*/ 884580 h 1050628"/>
                <a:gd name="connsiteX229" fmla="*/ 1131677 w 2449768"/>
                <a:gd name="connsiteY229" fmla="*/ 884580 h 1050628"/>
                <a:gd name="connsiteX230" fmla="*/ 1144969 w 2449768"/>
                <a:gd name="connsiteY230" fmla="*/ 893314 h 1050628"/>
                <a:gd name="connsiteX231" fmla="*/ 1138893 w 2449768"/>
                <a:gd name="connsiteY231" fmla="*/ 917619 h 1050628"/>
                <a:gd name="connsiteX232" fmla="*/ 1114588 w 2449768"/>
                <a:gd name="connsiteY232" fmla="*/ 911543 h 1050628"/>
                <a:gd name="connsiteX233" fmla="*/ 1120664 w 2449768"/>
                <a:gd name="connsiteY233" fmla="*/ 887238 h 1050628"/>
                <a:gd name="connsiteX234" fmla="*/ 1131677 w 2449768"/>
                <a:gd name="connsiteY234" fmla="*/ 884580 h 1050628"/>
                <a:gd name="connsiteX235" fmla="*/ 1757518 w 2449768"/>
                <a:gd name="connsiteY235" fmla="*/ 881542 h 1050628"/>
                <a:gd name="connsiteX236" fmla="*/ 1770810 w 2449768"/>
                <a:gd name="connsiteY236" fmla="*/ 890276 h 1050628"/>
                <a:gd name="connsiteX237" fmla="*/ 1764734 w 2449768"/>
                <a:gd name="connsiteY237" fmla="*/ 914581 h 1050628"/>
                <a:gd name="connsiteX238" fmla="*/ 1740429 w 2449768"/>
                <a:gd name="connsiteY238" fmla="*/ 908505 h 1050628"/>
                <a:gd name="connsiteX239" fmla="*/ 1746505 w 2449768"/>
                <a:gd name="connsiteY239" fmla="*/ 884200 h 1050628"/>
                <a:gd name="connsiteX240" fmla="*/ 1757518 w 2449768"/>
                <a:gd name="connsiteY240" fmla="*/ 881542 h 1050628"/>
                <a:gd name="connsiteX241" fmla="*/ 1654224 w 2449768"/>
                <a:gd name="connsiteY241" fmla="*/ 881542 h 1050628"/>
                <a:gd name="connsiteX242" fmla="*/ 1667516 w 2449768"/>
                <a:gd name="connsiteY242" fmla="*/ 890276 h 1050628"/>
                <a:gd name="connsiteX243" fmla="*/ 1661440 w 2449768"/>
                <a:gd name="connsiteY243" fmla="*/ 914581 h 1050628"/>
                <a:gd name="connsiteX244" fmla="*/ 1637135 w 2449768"/>
                <a:gd name="connsiteY244" fmla="*/ 908505 h 1050628"/>
                <a:gd name="connsiteX245" fmla="*/ 1643211 w 2449768"/>
                <a:gd name="connsiteY245" fmla="*/ 884200 h 1050628"/>
                <a:gd name="connsiteX246" fmla="*/ 1654224 w 2449768"/>
                <a:gd name="connsiteY246" fmla="*/ 881542 h 1050628"/>
                <a:gd name="connsiteX247" fmla="*/ 2346903 w 2449768"/>
                <a:gd name="connsiteY247" fmla="*/ 878504 h 1050628"/>
                <a:gd name="connsiteX248" fmla="*/ 2360194 w 2449768"/>
                <a:gd name="connsiteY248" fmla="*/ 887238 h 1050628"/>
                <a:gd name="connsiteX249" fmla="*/ 2354118 w 2449768"/>
                <a:gd name="connsiteY249" fmla="*/ 911543 h 1050628"/>
                <a:gd name="connsiteX250" fmla="*/ 2329813 w 2449768"/>
                <a:gd name="connsiteY250" fmla="*/ 905467 h 1050628"/>
                <a:gd name="connsiteX251" fmla="*/ 2335889 w 2449768"/>
                <a:gd name="connsiteY251" fmla="*/ 881162 h 1050628"/>
                <a:gd name="connsiteX252" fmla="*/ 2346903 w 2449768"/>
                <a:gd name="connsiteY252" fmla="*/ 878504 h 1050628"/>
                <a:gd name="connsiteX253" fmla="*/ 320515 w 2449768"/>
                <a:gd name="connsiteY253" fmla="*/ 872428 h 1050628"/>
                <a:gd name="connsiteX254" fmla="*/ 333807 w 2449768"/>
                <a:gd name="connsiteY254" fmla="*/ 881162 h 1050628"/>
                <a:gd name="connsiteX255" fmla="*/ 327731 w 2449768"/>
                <a:gd name="connsiteY255" fmla="*/ 905467 h 1050628"/>
                <a:gd name="connsiteX256" fmla="*/ 303426 w 2449768"/>
                <a:gd name="connsiteY256" fmla="*/ 899391 h 1050628"/>
                <a:gd name="connsiteX257" fmla="*/ 309502 w 2449768"/>
                <a:gd name="connsiteY257" fmla="*/ 875086 h 1050628"/>
                <a:gd name="connsiteX258" fmla="*/ 320515 w 2449768"/>
                <a:gd name="connsiteY258" fmla="*/ 872428 h 1050628"/>
                <a:gd name="connsiteX259" fmla="*/ 1876003 w 2449768"/>
                <a:gd name="connsiteY259" fmla="*/ 866352 h 1050628"/>
                <a:gd name="connsiteX260" fmla="*/ 1889294 w 2449768"/>
                <a:gd name="connsiteY260" fmla="*/ 875086 h 1050628"/>
                <a:gd name="connsiteX261" fmla="*/ 1883218 w 2449768"/>
                <a:gd name="connsiteY261" fmla="*/ 899391 h 1050628"/>
                <a:gd name="connsiteX262" fmla="*/ 1858913 w 2449768"/>
                <a:gd name="connsiteY262" fmla="*/ 893315 h 1050628"/>
                <a:gd name="connsiteX263" fmla="*/ 1864989 w 2449768"/>
                <a:gd name="connsiteY263" fmla="*/ 869010 h 1050628"/>
                <a:gd name="connsiteX264" fmla="*/ 1876003 w 2449768"/>
                <a:gd name="connsiteY264" fmla="*/ 866352 h 1050628"/>
                <a:gd name="connsiteX265" fmla="*/ 2000563 w 2449768"/>
                <a:gd name="connsiteY265" fmla="*/ 857238 h 1050628"/>
                <a:gd name="connsiteX266" fmla="*/ 2013855 w 2449768"/>
                <a:gd name="connsiteY266" fmla="*/ 865972 h 1050628"/>
                <a:gd name="connsiteX267" fmla="*/ 2007779 w 2449768"/>
                <a:gd name="connsiteY267" fmla="*/ 890277 h 1050628"/>
                <a:gd name="connsiteX268" fmla="*/ 1983474 w 2449768"/>
                <a:gd name="connsiteY268" fmla="*/ 884201 h 1050628"/>
                <a:gd name="connsiteX269" fmla="*/ 1989550 w 2449768"/>
                <a:gd name="connsiteY269" fmla="*/ 859896 h 1050628"/>
                <a:gd name="connsiteX270" fmla="*/ 2000563 w 2449768"/>
                <a:gd name="connsiteY270" fmla="*/ 857238 h 1050628"/>
                <a:gd name="connsiteX271" fmla="*/ 420771 w 2449768"/>
                <a:gd name="connsiteY271" fmla="*/ 857238 h 1050628"/>
                <a:gd name="connsiteX272" fmla="*/ 434062 w 2449768"/>
                <a:gd name="connsiteY272" fmla="*/ 865972 h 1050628"/>
                <a:gd name="connsiteX273" fmla="*/ 427986 w 2449768"/>
                <a:gd name="connsiteY273" fmla="*/ 890277 h 1050628"/>
                <a:gd name="connsiteX274" fmla="*/ 403682 w 2449768"/>
                <a:gd name="connsiteY274" fmla="*/ 884201 h 1050628"/>
                <a:gd name="connsiteX275" fmla="*/ 409758 w 2449768"/>
                <a:gd name="connsiteY275" fmla="*/ 859896 h 1050628"/>
                <a:gd name="connsiteX276" fmla="*/ 420771 w 2449768"/>
                <a:gd name="connsiteY276" fmla="*/ 857238 h 1050628"/>
                <a:gd name="connsiteX277" fmla="*/ 2237532 w 2449768"/>
                <a:gd name="connsiteY277" fmla="*/ 848124 h 1050628"/>
                <a:gd name="connsiteX278" fmla="*/ 2250824 w 2449768"/>
                <a:gd name="connsiteY278" fmla="*/ 856858 h 1050628"/>
                <a:gd name="connsiteX279" fmla="*/ 2244748 w 2449768"/>
                <a:gd name="connsiteY279" fmla="*/ 881163 h 1050628"/>
                <a:gd name="connsiteX280" fmla="*/ 2220443 w 2449768"/>
                <a:gd name="connsiteY280" fmla="*/ 875087 h 1050628"/>
                <a:gd name="connsiteX281" fmla="*/ 2226519 w 2449768"/>
                <a:gd name="connsiteY281" fmla="*/ 850782 h 1050628"/>
                <a:gd name="connsiteX282" fmla="*/ 2237532 w 2449768"/>
                <a:gd name="connsiteY282" fmla="*/ 848124 h 1050628"/>
                <a:gd name="connsiteX283" fmla="*/ 211145 w 2449768"/>
                <a:gd name="connsiteY283" fmla="*/ 848124 h 1050628"/>
                <a:gd name="connsiteX284" fmla="*/ 224436 w 2449768"/>
                <a:gd name="connsiteY284" fmla="*/ 856858 h 1050628"/>
                <a:gd name="connsiteX285" fmla="*/ 218360 w 2449768"/>
                <a:gd name="connsiteY285" fmla="*/ 881163 h 1050628"/>
                <a:gd name="connsiteX286" fmla="*/ 194056 w 2449768"/>
                <a:gd name="connsiteY286" fmla="*/ 875087 h 1050628"/>
                <a:gd name="connsiteX287" fmla="*/ 200132 w 2449768"/>
                <a:gd name="connsiteY287" fmla="*/ 850782 h 1050628"/>
                <a:gd name="connsiteX288" fmla="*/ 211145 w 2449768"/>
                <a:gd name="connsiteY288" fmla="*/ 848124 h 1050628"/>
                <a:gd name="connsiteX289" fmla="*/ 1511435 w 2449768"/>
                <a:gd name="connsiteY289" fmla="*/ 839009 h 1050628"/>
                <a:gd name="connsiteX290" fmla="*/ 1524727 w 2449768"/>
                <a:gd name="connsiteY290" fmla="*/ 847743 h 1050628"/>
                <a:gd name="connsiteX291" fmla="*/ 1518651 w 2449768"/>
                <a:gd name="connsiteY291" fmla="*/ 872048 h 1050628"/>
                <a:gd name="connsiteX292" fmla="*/ 1494346 w 2449768"/>
                <a:gd name="connsiteY292" fmla="*/ 865972 h 1050628"/>
                <a:gd name="connsiteX293" fmla="*/ 1500422 w 2449768"/>
                <a:gd name="connsiteY293" fmla="*/ 841667 h 1050628"/>
                <a:gd name="connsiteX294" fmla="*/ 1511435 w 2449768"/>
                <a:gd name="connsiteY294" fmla="*/ 839009 h 1050628"/>
                <a:gd name="connsiteX295" fmla="*/ 1253200 w 2449768"/>
                <a:gd name="connsiteY295" fmla="*/ 826857 h 1050628"/>
                <a:gd name="connsiteX296" fmla="*/ 1266492 w 2449768"/>
                <a:gd name="connsiteY296" fmla="*/ 835591 h 1050628"/>
                <a:gd name="connsiteX297" fmla="*/ 1260416 w 2449768"/>
                <a:gd name="connsiteY297" fmla="*/ 859896 h 1050628"/>
                <a:gd name="connsiteX298" fmla="*/ 1236111 w 2449768"/>
                <a:gd name="connsiteY298" fmla="*/ 853820 h 1050628"/>
                <a:gd name="connsiteX299" fmla="*/ 1242187 w 2449768"/>
                <a:gd name="connsiteY299" fmla="*/ 829515 h 1050628"/>
                <a:gd name="connsiteX300" fmla="*/ 1253200 w 2449768"/>
                <a:gd name="connsiteY300" fmla="*/ 826857 h 1050628"/>
                <a:gd name="connsiteX301" fmla="*/ 2428930 w 2449768"/>
                <a:gd name="connsiteY301" fmla="*/ 814705 h 1050628"/>
                <a:gd name="connsiteX302" fmla="*/ 2442221 w 2449768"/>
                <a:gd name="connsiteY302" fmla="*/ 823439 h 1050628"/>
                <a:gd name="connsiteX303" fmla="*/ 2436145 w 2449768"/>
                <a:gd name="connsiteY303" fmla="*/ 847744 h 1050628"/>
                <a:gd name="connsiteX304" fmla="*/ 2411841 w 2449768"/>
                <a:gd name="connsiteY304" fmla="*/ 841668 h 1050628"/>
                <a:gd name="connsiteX305" fmla="*/ 2417917 w 2449768"/>
                <a:gd name="connsiteY305" fmla="*/ 817363 h 1050628"/>
                <a:gd name="connsiteX306" fmla="*/ 2428930 w 2449768"/>
                <a:gd name="connsiteY306" fmla="*/ 814705 h 1050628"/>
                <a:gd name="connsiteX307" fmla="*/ 991927 w 2449768"/>
                <a:gd name="connsiteY307" fmla="*/ 814705 h 1050628"/>
                <a:gd name="connsiteX308" fmla="*/ 1005218 w 2449768"/>
                <a:gd name="connsiteY308" fmla="*/ 823439 h 1050628"/>
                <a:gd name="connsiteX309" fmla="*/ 999142 w 2449768"/>
                <a:gd name="connsiteY309" fmla="*/ 847744 h 1050628"/>
                <a:gd name="connsiteX310" fmla="*/ 974838 w 2449768"/>
                <a:gd name="connsiteY310" fmla="*/ 841668 h 1050628"/>
                <a:gd name="connsiteX311" fmla="*/ 980914 w 2449768"/>
                <a:gd name="connsiteY311" fmla="*/ 817363 h 1050628"/>
                <a:gd name="connsiteX312" fmla="*/ 991927 w 2449768"/>
                <a:gd name="connsiteY312" fmla="*/ 814705 h 1050628"/>
                <a:gd name="connsiteX313" fmla="*/ 894709 w 2449768"/>
                <a:gd name="connsiteY313" fmla="*/ 814705 h 1050628"/>
                <a:gd name="connsiteX314" fmla="*/ 908001 w 2449768"/>
                <a:gd name="connsiteY314" fmla="*/ 823439 h 1050628"/>
                <a:gd name="connsiteX315" fmla="*/ 901925 w 2449768"/>
                <a:gd name="connsiteY315" fmla="*/ 847744 h 1050628"/>
                <a:gd name="connsiteX316" fmla="*/ 877620 w 2449768"/>
                <a:gd name="connsiteY316" fmla="*/ 841668 h 1050628"/>
                <a:gd name="connsiteX317" fmla="*/ 883696 w 2449768"/>
                <a:gd name="connsiteY317" fmla="*/ 817363 h 1050628"/>
                <a:gd name="connsiteX318" fmla="*/ 894709 w 2449768"/>
                <a:gd name="connsiteY318" fmla="*/ 814705 h 1050628"/>
                <a:gd name="connsiteX319" fmla="*/ 2088668 w 2449768"/>
                <a:gd name="connsiteY319" fmla="*/ 805591 h 1050628"/>
                <a:gd name="connsiteX320" fmla="*/ 2101959 w 2449768"/>
                <a:gd name="connsiteY320" fmla="*/ 814325 h 1050628"/>
                <a:gd name="connsiteX321" fmla="*/ 2095883 w 2449768"/>
                <a:gd name="connsiteY321" fmla="*/ 838630 h 1050628"/>
                <a:gd name="connsiteX322" fmla="*/ 2071578 w 2449768"/>
                <a:gd name="connsiteY322" fmla="*/ 832554 h 1050628"/>
                <a:gd name="connsiteX323" fmla="*/ 2077654 w 2449768"/>
                <a:gd name="connsiteY323" fmla="*/ 808249 h 1050628"/>
                <a:gd name="connsiteX324" fmla="*/ 2088668 w 2449768"/>
                <a:gd name="connsiteY324" fmla="*/ 805591 h 1050628"/>
                <a:gd name="connsiteX325" fmla="*/ 575712 w 2449768"/>
                <a:gd name="connsiteY325" fmla="*/ 802553 h 1050628"/>
                <a:gd name="connsiteX326" fmla="*/ 589004 w 2449768"/>
                <a:gd name="connsiteY326" fmla="*/ 811287 h 1050628"/>
                <a:gd name="connsiteX327" fmla="*/ 582928 w 2449768"/>
                <a:gd name="connsiteY327" fmla="*/ 835592 h 1050628"/>
                <a:gd name="connsiteX328" fmla="*/ 558623 w 2449768"/>
                <a:gd name="connsiteY328" fmla="*/ 829516 h 1050628"/>
                <a:gd name="connsiteX329" fmla="*/ 564699 w 2449768"/>
                <a:gd name="connsiteY329" fmla="*/ 805211 h 1050628"/>
                <a:gd name="connsiteX330" fmla="*/ 575712 w 2449768"/>
                <a:gd name="connsiteY330" fmla="*/ 802553 h 1050628"/>
                <a:gd name="connsiteX331" fmla="*/ 1602577 w 2449768"/>
                <a:gd name="connsiteY331" fmla="*/ 796477 h 1050628"/>
                <a:gd name="connsiteX332" fmla="*/ 1615869 w 2449768"/>
                <a:gd name="connsiteY332" fmla="*/ 805211 h 1050628"/>
                <a:gd name="connsiteX333" fmla="*/ 1609793 w 2449768"/>
                <a:gd name="connsiteY333" fmla="*/ 829516 h 1050628"/>
                <a:gd name="connsiteX334" fmla="*/ 1585488 w 2449768"/>
                <a:gd name="connsiteY334" fmla="*/ 823440 h 1050628"/>
                <a:gd name="connsiteX335" fmla="*/ 1591564 w 2449768"/>
                <a:gd name="connsiteY335" fmla="*/ 799135 h 1050628"/>
                <a:gd name="connsiteX336" fmla="*/ 1602577 w 2449768"/>
                <a:gd name="connsiteY336" fmla="*/ 796477 h 1050628"/>
                <a:gd name="connsiteX337" fmla="*/ 1104335 w 2449768"/>
                <a:gd name="connsiteY337" fmla="*/ 793438 h 1050628"/>
                <a:gd name="connsiteX338" fmla="*/ 1117627 w 2449768"/>
                <a:gd name="connsiteY338" fmla="*/ 802172 h 1050628"/>
                <a:gd name="connsiteX339" fmla="*/ 1111551 w 2449768"/>
                <a:gd name="connsiteY339" fmla="*/ 826477 h 1050628"/>
                <a:gd name="connsiteX340" fmla="*/ 1087246 w 2449768"/>
                <a:gd name="connsiteY340" fmla="*/ 820401 h 1050628"/>
                <a:gd name="connsiteX341" fmla="*/ 1093322 w 2449768"/>
                <a:gd name="connsiteY341" fmla="*/ 796096 h 1050628"/>
                <a:gd name="connsiteX342" fmla="*/ 1104335 w 2449768"/>
                <a:gd name="connsiteY342" fmla="*/ 793438 h 1050628"/>
                <a:gd name="connsiteX343" fmla="*/ 791415 w 2449768"/>
                <a:gd name="connsiteY343" fmla="*/ 793438 h 1050628"/>
                <a:gd name="connsiteX344" fmla="*/ 804707 w 2449768"/>
                <a:gd name="connsiteY344" fmla="*/ 802172 h 1050628"/>
                <a:gd name="connsiteX345" fmla="*/ 798631 w 2449768"/>
                <a:gd name="connsiteY345" fmla="*/ 826477 h 1050628"/>
                <a:gd name="connsiteX346" fmla="*/ 774326 w 2449768"/>
                <a:gd name="connsiteY346" fmla="*/ 820401 h 1050628"/>
                <a:gd name="connsiteX347" fmla="*/ 780402 w 2449768"/>
                <a:gd name="connsiteY347" fmla="*/ 796096 h 1050628"/>
                <a:gd name="connsiteX348" fmla="*/ 791415 w 2449768"/>
                <a:gd name="connsiteY348" fmla="*/ 793438 h 1050628"/>
                <a:gd name="connsiteX349" fmla="*/ 1371684 w 2449768"/>
                <a:gd name="connsiteY349" fmla="*/ 784324 h 1050628"/>
                <a:gd name="connsiteX350" fmla="*/ 1384976 w 2449768"/>
                <a:gd name="connsiteY350" fmla="*/ 793058 h 1050628"/>
                <a:gd name="connsiteX351" fmla="*/ 1378900 w 2449768"/>
                <a:gd name="connsiteY351" fmla="*/ 817363 h 1050628"/>
                <a:gd name="connsiteX352" fmla="*/ 1354595 w 2449768"/>
                <a:gd name="connsiteY352" fmla="*/ 811287 h 1050628"/>
                <a:gd name="connsiteX353" fmla="*/ 1360671 w 2449768"/>
                <a:gd name="connsiteY353" fmla="*/ 786982 h 1050628"/>
                <a:gd name="connsiteX354" fmla="*/ 1371684 w 2449768"/>
                <a:gd name="connsiteY354" fmla="*/ 784324 h 1050628"/>
                <a:gd name="connsiteX355" fmla="*/ 472418 w 2449768"/>
                <a:gd name="connsiteY355" fmla="*/ 781286 h 1050628"/>
                <a:gd name="connsiteX356" fmla="*/ 485710 w 2449768"/>
                <a:gd name="connsiteY356" fmla="*/ 790020 h 1050628"/>
                <a:gd name="connsiteX357" fmla="*/ 479634 w 2449768"/>
                <a:gd name="connsiteY357" fmla="*/ 814325 h 1050628"/>
                <a:gd name="connsiteX358" fmla="*/ 455329 w 2449768"/>
                <a:gd name="connsiteY358" fmla="*/ 808249 h 1050628"/>
                <a:gd name="connsiteX359" fmla="*/ 461405 w 2449768"/>
                <a:gd name="connsiteY359" fmla="*/ 783944 h 1050628"/>
                <a:gd name="connsiteX360" fmla="*/ 472418 w 2449768"/>
                <a:gd name="connsiteY360" fmla="*/ 781286 h 1050628"/>
                <a:gd name="connsiteX361" fmla="*/ 1803089 w 2449768"/>
                <a:gd name="connsiteY361" fmla="*/ 778248 h 1050628"/>
                <a:gd name="connsiteX362" fmla="*/ 1816381 w 2449768"/>
                <a:gd name="connsiteY362" fmla="*/ 786982 h 1050628"/>
                <a:gd name="connsiteX363" fmla="*/ 1810305 w 2449768"/>
                <a:gd name="connsiteY363" fmla="*/ 811287 h 1050628"/>
                <a:gd name="connsiteX364" fmla="*/ 1786000 w 2449768"/>
                <a:gd name="connsiteY364" fmla="*/ 805211 h 1050628"/>
                <a:gd name="connsiteX365" fmla="*/ 1792076 w 2449768"/>
                <a:gd name="connsiteY365" fmla="*/ 780906 h 1050628"/>
                <a:gd name="connsiteX366" fmla="*/ 1803089 w 2449768"/>
                <a:gd name="connsiteY366" fmla="*/ 778248 h 1050628"/>
                <a:gd name="connsiteX367" fmla="*/ 675968 w 2449768"/>
                <a:gd name="connsiteY367" fmla="*/ 772172 h 1050628"/>
                <a:gd name="connsiteX368" fmla="*/ 689260 w 2449768"/>
                <a:gd name="connsiteY368" fmla="*/ 780906 h 1050628"/>
                <a:gd name="connsiteX369" fmla="*/ 683184 w 2449768"/>
                <a:gd name="connsiteY369" fmla="*/ 805211 h 1050628"/>
                <a:gd name="connsiteX370" fmla="*/ 658879 w 2449768"/>
                <a:gd name="connsiteY370" fmla="*/ 799135 h 1050628"/>
                <a:gd name="connsiteX371" fmla="*/ 664955 w 2449768"/>
                <a:gd name="connsiteY371" fmla="*/ 774830 h 1050628"/>
                <a:gd name="connsiteX372" fmla="*/ 675968 w 2449768"/>
                <a:gd name="connsiteY372" fmla="*/ 772172 h 1050628"/>
                <a:gd name="connsiteX373" fmla="*/ 302287 w 2449768"/>
                <a:gd name="connsiteY373" fmla="*/ 769134 h 1050628"/>
                <a:gd name="connsiteX374" fmla="*/ 315579 w 2449768"/>
                <a:gd name="connsiteY374" fmla="*/ 777868 h 1050628"/>
                <a:gd name="connsiteX375" fmla="*/ 309503 w 2449768"/>
                <a:gd name="connsiteY375" fmla="*/ 802173 h 1050628"/>
                <a:gd name="connsiteX376" fmla="*/ 285198 w 2449768"/>
                <a:gd name="connsiteY376" fmla="*/ 796097 h 1050628"/>
                <a:gd name="connsiteX377" fmla="*/ 291274 w 2449768"/>
                <a:gd name="connsiteY377" fmla="*/ 771792 h 1050628"/>
                <a:gd name="connsiteX378" fmla="*/ 302287 w 2449768"/>
                <a:gd name="connsiteY378" fmla="*/ 769134 h 1050628"/>
                <a:gd name="connsiteX379" fmla="*/ 2313484 w 2449768"/>
                <a:gd name="connsiteY379" fmla="*/ 766096 h 1050628"/>
                <a:gd name="connsiteX380" fmla="*/ 2326775 w 2449768"/>
                <a:gd name="connsiteY380" fmla="*/ 774830 h 1050628"/>
                <a:gd name="connsiteX381" fmla="*/ 2320699 w 2449768"/>
                <a:gd name="connsiteY381" fmla="*/ 799135 h 1050628"/>
                <a:gd name="connsiteX382" fmla="*/ 2296395 w 2449768"/>
                <a:gd name="connsiteY382" fmla="*/ 793059 h 1050628"/>
                <a:gd name="connsiteX383" fmla="*/ 2302471 w 2449768"/>
                <a:gd name="connsiteY383" fmla="*/ 768754 h 1050628"/>
                <a:gd name="connsiteX384" fmla="*/ 2313484 w 2449768"/>
                <a:gd name="connsiteY384" fmla="*/ 766096 h 1050628"/>
                <a:gd name="connsiteX385" fmla="*/ 1921574 w 2449768"/>
                <a:gd name="connsiteY385" fmla="*/ 766096 h 1050628"/>
                <a:gd name="connsiteX386" fmla="*/ 1934865 w 2449768"/>
                <a:gd name="connsiteY386" fmla="*/ 774830 h 1050628"/>
                <a:gd name="connsiteX387" fmla="*/ 1928789 w 2449768"/>
                <a:gd name="connsiteY387" fmla="*/ 799135 h 1050628"/>
                <a:gd name="connsiteX388" fmla="*/ 1904485 w 2449768"/>
                <a:gd name="connsiteY388" fmla="*/ 793059 h 1050628"/>
                <a:gd name="connsiteX389" fmla="*/ 1910561 w 2449768"/>
                <a:gd name="connsiteY389" fmla="*/ 768754 h 1050628"/>
                <a:gd name="connsiteX390" fmla="*/ 1921574 w 2449768"/>
                <a:gd name="connsiteY390" fmla="*/ 766096 h 1050628"/>
                <a:gd name="connsiteX391" fmla="*/ 2176771 w 2449768"/>
                <a:gd name="connsiteY391" fmla="*/ 756982 h 1050628"/>
                <a:gd name="connsiteX392" fmla="*/ 2190062 w 2449768"/>
                <a:gd name="connsiteY392" fmla="*/ 765716 h 1050628"/>
                <a:gd name="connsiteX393" fmla="*/ 2183986 w 2449768"/>
                <a:gd name="connsiteY393" fmla="*/ 790021 h 1050628"/>
                <a:gd name="connsiteX394" fmla="*/ 2159682 w 2449768"/>
                <a:gd name="connsiteY394" fmla="*/ 783945 h 1050628"/>
                <a:gd name="connsiteX395" fmla="*/ 2165758 w 2449768"/>
                <a:gd name="connsiteY395" fmla="*/ 759640 h 1050628"/>
                <a:gd name="connsiteX396" fmla="*/ 2176771 w 2449768"/>
                <a:gd name="connsiteY396" fmla="*/ 756982 h 1050628"/>
                <a:gd name="connsiteX397" fmla="*/ 1702833 w 2449768"/>
                <a:gd name="connsiteY397" fmla="*/ 750906 h 1050628"/>
                <a:gd name="connsiteX398" fmla="*/ 1716125 w 2449768"/>
                <a:gd name="connsiteY398" fmla="*/ 759640 h 1050628"/>
                <a:gd name="connsiteX399" fmla="*/ 1710049 w 2449768"/>
                <a:gd name="connsiteY399" fmla="*/ 783945 h 1050628"/>
                <a:gd name="connsiteX400" fmla="*/ 1685744 w 2449768"/>
                <a:gd name="connsiteY400" fmla="*/ 777869 h 1050628"/>
                <a:gd name="connsiteX401" fmla="*/ 1691820 w 2449768"/>
                <a:gd name="connsiteY401" fmla="*/ 753564 h 1050628"/>
                <a:gd name="connsiteX402" fmla="*/ 1702833 w 2449768"/>
                <a:gd name="connsiteY402" fmla="*/ 750906 h 1050628"/>
                <a:gd name="connsiteX403" fmla="*/ 1210667 w 2449768"/>
                <a:gd name="connsiteY403" fmla="*/ 741791 h 1050628"/>
                <a:gd name="connsiteX404" fmla="*/ 1223959 w 2449768"/>
                <a:gd name="connsiteY404" fmla="*/ 750525 h 1050628"/>
                <a:gd name="connsiteX405" fmla="*/ 1217883 w 2449768"/>
                <a:gd name="connsiteY405" fmla="*/ 774830 h 1050628"/>
                <a:gd name="connsiteX406" fmla="*/ 1193578 w 2449768"/>
                <a:gd name="connsiteY406" fmla="*/ 768754 h 1050628"/>
                <a:gd name="connsiteX407" fmla="*/ 1199654 w 2449768"/>
                <a:gd name="connsiteY407" fmla="*/ 744449 h 1050628"/>
                <a:gd name="connsiteX408" fmla="*/ 1210667 w 2449768"/>
                <a:gd name="connsiteY408" fmla="*/ 741791 h 1050628"/>
                <a:gd name="connsiteX409" fmla="*/ 1450674 w 2449768"/>
                <a:gd name="connsiteY409" fmla="*/ 723563 h 1050628"/>
                <a:gd name="connsiteX410" fmla="*/ 1463966 w 2449768"/>
                <a:gd name="connsiteY410" fmla="*/ 732297 h 1050628"/>
                <a:gd name="connsiteX411" fmla="*/ 1457890 w 2449768"/>
                <a:gd name="connsiteY411" fmla="*/ 756602 h 1050628"/>
                <a:gd name="connsiteX412" fmla="*/ 1433585 w 2449768"/>
                <a:gd name="connsiteY412" fmla="*/ 750526 h 1050628"/>
                <a:gd name="connsiteX413" fmla="*/ 1439661 w 2449768"/>
                <a:gd name="connsiteY413" fmla="*/ 726221 h 1050628"/>
                <a:gd name="connsiteX414" fmla="*/ 1450674 w 2449768"/>
                <a:gd name="connsiteY414" fmla="*/ 723563 h 1050628"/>
                <a:gd name="connsiteX415" fmla="*/ 2021829 w 2449768"/>
                <a:gd name="connsiteY415" fmla="*/ 720525 h 1050628"/>
                <a:gd name="connsiteX416" fmla="*/ 2035121 w 2449768"/>
                <a:gd name="connsiteY416" fmla="*/ 729259 h 1050628"/>
                <a:gd name="connsiteX417" fmla="*/ 2029045 w 2449768"/>
                <a:gd name="connsiteY417" fmla="*/ 753564 h 1050628"/>
                <a:gd name="connsiteX418" fmla="*/ 2004740 w 2449768"/>
                <a:gd name="connsiteY418" fmla="*/ 747488 h 1050628"/>
                <a:gd name="connsiteX419" fmla="*/ 2010816 w 2449768"/>
                <a:gd name="connsiteY419" fmla="*/ 723183 h 1050628"/>
                <a:gd name="connsiteX420" fmla="*/ 2021829 w 2449768"/>
                <a:gd name="connsiteY420" fmla="*/ 720525 h 1050628"/>
                <a:gd name="connsiteX421" fmla="*/ 387352 w 2449768"/>
                <a:gd name="connsiteY421" fmla="*/ 720525 h 1050628"/>
                <a:gd name="connsiteX422" fmla="*/ 400644 w 2449768"/>
                <a:gd name="connsiteY422" fmla="*/ 729259 h 1050628"/>
                <a:gd name="connsiteX423" fmla="*/ 394568 w 2449768"/>
                <a:gd name="connsiteY423" fmla="*/ 753564 h 1050628"/>
                <a:gd name="connsiteX424" fmla="*/ 370263 w 2449768"/>
                <a:gd name="connsiteY424" fmla="*/ 747488 h 1050628"/>
                <a:gd name="connsiteX425" fmla="*/ 376339 w 2449768"/>
                <a:gd name="connsiteY425" fmla="*/ 723183 h 1050628"/>
                <a:gd name="connsiteX426" fmla="*/ 387352 w 2449768"/>
                <a:gd name="connsiteY426" fmla="*/ 720525 h 1050628"/>
                <a:gd name="connsiteX427" fmla="*/ 1049650 w 2449768"/>
                <a:gd name="connsiteY427" fmla="*/ 702297 h 1050628"/>
                <a:gd name="connsiteX428" fmla="*/ 1062942 w 2449768"/>
                <a:gd name="connsiteY428" fmla="*/ 711031 h 1050628"/>
                <a:gd name="connsiteX429" fmla="*/ 1056866 w 2449768"/>
                <a:gd name="connsiteY429" fmla="*/ 735336 h 1050628"/>
                <a:gd name="connsiteX430" fmla="*/ 1032561 w 2449768"/>
                <a:gd name="connsiteY430" fmla="*/ 729260 h 1050628"/>
                <a:gd name="connsiteX431" fmla="*/ 1038637 w 2449768"/>
                <a:gd name="connsiteY431" fmla="*/ 704955 h 1050628"/>
                <a:gd name="connsiteX432" fmla="*/ 1049650 w 2449768"/>
                <a:gd name="connsiteY432" fmla="*/ 702297 h 1050628"/>
                <a:gd name="connsiteX433" fmla="*/ 931165 w 2449768"/>
                <a:gd name="connsiteY433" fmla="*/ 702297 h 1050628"/>
                <a:gd name="connsiteX434" fmla="*/ 944457 w 2449768"/>
                <a:gd name="connsiteY434" fmla="*/ 711031 h 1050628"/>
                <a:gd name="connsiteX435" fmla="*/ 938381 w 2449768"/>
                <a:gd name="connsiteY435" fmla="*/ 735336 h 1050628"/>
                <a:gd name="connsiteX436" fmla="*/ 914076 w 2449768"/>
                <a:gd name="connsiteY436" fmla="*/ 729260 h 1050628"/>
                <a:gd name="connsiteX437" fmla="*/ 920152 w 2449768"/>
                <a:gd name="connsiteY437" fmla="*/ 704955 h 1050628"/>
                <a:gd name="connsiteX438" fmla="*/ 931165 w 2449768"/>
                <a:gd name="connsiteY438" fmla="*/ 702297 h 1050628"/>
                <a:gd name="connsiteX439" fmla="*/ 1547892 w 2449768"/>
                <a:gd name="connsiteY439" fmla="*/ 699259 h 1050628"/>
                <a:gd name="connsiteX440" fmla="*/ 1561184 w 2449768"/>
                <a:gd name="connsiteY440" fmla="*/ 707993 h 1050628"/>
                <a:gd name="connsiteX441" fmla="*/ 1555108 w 2449768"/>
                <a:gd name="connsiteY441" fmla="*/ 732298 h 1050628"/>
                <a:gd name="connsiteX442" fmla="*/ 1530803 w 2449768"/>
                <a:gd name="connsiteY442" fmla="*/ 726222 h 1050628"/>
                <a:gd name="connsiteX443" fmla="*/ 1536879 w 2449768"/>
                <a:gd name="connsiteY443" fmla="*/ 701917 h 1050628"/>
                <a:gd name="connsiteX444" fmla="*/ 1547892 w 2449768"/>
                <a:gd name="connsiteY444" fmla="*/ 699259 h 1050628"/>
                <a:gd name="connsiteX445" fmla="*/ 1313961 w 2449768"/>
                <a:gd name="connsiteY445" fmla="*/ 699259 h 1050628"/>
                <a:gd name="connsiteX446" fmla="*/ 1327253 w 2449768"/>
                <a:gd name="connsiteY446" fmla="*/ 707993 h 1050628"/>
                <a:gd name="connsiteX447" fmla="*/ 1321177 w 2449768"/>
                <a:gd name="connsiteY447" fmla="*/ 732298 h 1050628"/>
                <a:gd name="connsiteX448" fmla="*/ 1296872 w 2449768"/>
                <a:gd name="connsiteY448" fmla="*/ 726222 h 1050628"/>
                <a:gd name="connsiteX449" fmla="*/ 1302948 w 2449768"/>
                <a:gd name="connsiteY449" fmla="*/ 701917 h 1050628"/>
                <a:gd name="connsiteX450" fmla="*/ 1313961 w 2449768"/>
                <a:gd name="connsiteY450" fmla="*/ 699259 h 1050628"/>
                <a:gd name="connsiteX451" fmla="*/ 2413739 w 2449768"/>
                <a:gd name="connsiteY451" fmla="*/ 696220 h 1050628"/>
                <a:gd name="connsiteX452" fmla="*/ 2427031 w 2449768"/>
                <a:gd name="connsiteY452" fmla="*/ 704954 h 1050628"/>
                <a:gd name="connsiteX453" fmla="*/ 2420955 w 2449768"/>
                <a:gd name="connsiteY453" fmla="*/ 729259 h 1050628"/>
                <a:gd name="connsiteX454" fmla="*/ 2396650 w 2449768"/>
                <a:gd name="connsiteY454" fmla="*/ 723183 h 1050628"/>
                <a:gd name="connsiteX455" fmla="*/ 2402726 w 2449768"/>
                <a:gd name="connsiteY455" fmla="*/ 698878 h 1050628"/>
                <a:gd name="connsiteX456" fmla="*/ 2413739 w 2449768"/>
                <a:gd name="connsiteY456" fmla="*/ 696220 h 1050628"/>
                <a:gd name="connsiteX457" fmla="*/ 551408 w 2449768"/>
                <a:gd name="connsiteY457" fmla="*/ 690144 h 1050628"/>
                <a:gd name="connsiteX458" fmla="*/ 564699 w 2449768"/>
                <a:gd name="connsiteY458" fmla="*/ 698878 h 1050628"/>
                <a:gd name="connsiteX459" fmla="*/ 558623 w 2449768"/>
                <a:gd name="connsiteY459" fmla="*/ 723183 h 1050628"/>
                <a:gd name="connsiteX460" fmla="*/ 534319 w 2449768"/>
                <a:gd name="connsiteY460" fmla="*/ 717107 h 1050628"/>
                <a:gd name="connsiteX461" fmla="*/ 540395 w 2449768"/>
                <a:gd name="connsiteY461" fmla="*/ 692802 h 1050628"/>
                <a:gd name="connsiteX462" fmla="*/ 551408 w 2449768"/>
                <a:gd name="connsiteY462" fmla="*/ 690144 h 1050628"/>
                <a:gd name="connsiteX463" fmla="*/ 830909 w 2449768"/>
                <a:gd name="connsiteY463" fmla="*/ 684068 h 1050628"/>
                <a:gd name="connsiteX464" fmla="*/ 844201 w 2449768"/>
                <a:gd name="connsiteY464" fmla="*/ 692802 h 1050628"/>
                <a:gd name="connsiteX465" fmla="*/ 838125 w 2449768"/>
                <a:gd name="connsiteY465" fmla="*/ 717107 h 1050628"/>
                <a:gd name="connsiteX466" fmla="*/ 813820 w 2449768"/>
                <a:gd name="connsiteY466" fmla="*/ 711031 h 1050628"/>
                <a:gd name="connsiteX467" fmla="*/ 819896 w 2449768"/>
                <a:gd name="connsiteY467" fmla="*/ 686726 h 1050628"/>
                <a:gd name="connsiteX468" fmla="*/ 830909 w 2449768"/>
                <a:gd name="connsiteY468" fmla="*/ 684068 h 1050628"/>
                <a:gd name="connsiteX469" fmla="*/ 730653 w 2449768"/>
                <a:gd name="connsiteY469" fmla="*/ 677992 h 1050628"/>
                <a:gd name="connsiteX470" fmla="*/ 743945 w 2449768"/>
                <a:gd name="connsiteY470" fmla="*/ 686726 h 1050628"/>
                <a:gd name="connsiteX471" fmla="*/ 737869 w 2449768"/>
                <a:gd name="connsiteY471" fmla="*/ 711031 h 1050628"/>
                <a:gd name="connsiteX472" fmla="*/ 713564 w 2449768"/>
                <a:gd name="connsiteY472" fmla="*/ 704955 h 1050628"/>
                <a:gd name="connsiteX473" fmla="*/ 719640 w 2449768"/>
                <a:gd name="connsiteY473" fmla="*/ 680650 h 1050628"/>
                <a:gd name="connsiteX474" fmla="*/ 730653 w 2449768"/>
                <a:gd name="connsiteY474" fmla="*/ 677992 h 1050628"/>
                <a:gd name="connsiteX475" fmla="*/ 2228418 w 2449768"/>
                <a:gd name="connsiteY475" fmla="*/ 671916 h 1050628"/>
                <a:gd name="connsiteX476" fmla="*/ 2241710 w 2449768"/>
                <a:gd name="connsiteY476" fmla="*/ 680650 h 1050628"/>
                <a:gd name="connsiteX477" fmla="*/ 2235634 w 2449768"/>
                <a:gd name="connsiteY477" fmla="*/ 704955 h 1050628"/>
                <a:gd name="connsiteX478" fmla="*/ 2211329 w 2449768"/>
                <a:gd name="connsiteY478" fmla="*/ 698879 h 1050628"/>
                <a:gd name="connsiteX479" fmla="*/ 2217405 w 2449768"/>
                <a:gd name="connsiteY479" fmla="*/ 674574 h 1050628"/>
                <a:gd name="connsiteX480" fmla="*/ 2228418 w 2449768"/>
                <a:gd name="connsiteY480" fmla="*/ 671916 h 1050628"/>
                <a:gd name="connsiteX481" fmla="*/ 1839546 w 2449768"/>
                <a:gd name="connsiteY481" fmla="*/ 671916 h 1050628"/>
                <a:gd name="connsiteX482" fmla="*/ 1852838 w 2449768"/>
                <a:gd name="connsiteY482" fmla="*/ 680650 h 1050628"/>
                <a:gd name="connsiteX483" fmla="*/ 1846762 w 2449768"/>
                <a:gd name="connsiteY483" fmla="*/ 704955 h 1050628"/>
                <a:gd name="connsiteX484" fmla="*/ 1822457 w 2449768"/>
                <a:gd name="connsiteY484" fmla="*/ 698879 h 1050628"/>
                <a:gd name="connsiteX485" fmla="*/ 1828533 w 2449768"/>
                <a:gd name="connsiteY485" fmla="*/ 674574 h 1050628"/>
                <a:gd name="connsiteX486" fmla="*/ 1839546 w 2449768"/>
                <a:gd name="connsiteY486" fmla="*/ 671916 h 1050628"/>
                <a:gd name="connsiteX487" fmla="*/ 2109933 w 2449768"/>
                <a:gd name="connsiteY487" fmla="*/ 656726 h 1050628"/>
                <a:gd name="connsiteX488" fmla="*/ 2123225 w 2449768"/>
                <a:gd name="connsiteY488" fmla="*/ 665460 h 1050628"/>
                <a:gd name="connsiteX489" fmla="*/ 2117149 w 2449768"/>
                <a:gd name="connsiteY489" fmla="*/ 689765 h 1050628"/>
                <a:gd name="connsiteX490" fmla="*/ 2092844 w 2449768"/>
                <a:gd name="connsiteY490" fmla="*/ 683689 h 1050628"/>
                <a:gd name="connsiteX491" fmla="*/ 2098920 w 2449768"/>
                <a:gd name="connsiteY491" fmla="*/ 659384 h 1050628"/>
                <a:gd name="connsiteX492" fmla="*/ 2109933 w 2449768"/>
                <a:gd name="connsiteY492" fmla="*/ 656726 h 1050628"/>
                <a:gd name="connsiteX493" fmla="*/ 1632957 w 2449768"/>
                <a:gd name="connsiteY493" fmla="*/ 656726 h 1050628"/>
                <a:gd name="connsiteX494" fmla="*/ 1646249 w 2449768"/>
                <a:gd name="connsiteY494" fmla="*/ 665460 h 1050628"/>
                <a:gd name="connsiteX495" fmla="*/ 1640173 w 2449768"/>
                <a:gd name="connsiteY495" fmla="*/ 689765 h 1050628"/>
                <a:gd name="connsiteX496" fmla="*/ 1615868 w 2449768"/>
                <a:gd name="connsiteY496" fmla="*/ 683689 h 1050628"/>
                <a:gd name="connsiteX497" fmla="*/ 1621944 w 2449768"/>
                <a:gd name="connsiteY497" fmla="*/ 659384 h 1050628"/>
                <a:gd name="connsiteX498" fmla="*/ 1632957 w 2449768"/>
                <a:gd name="connsiteY498" fmla="*/ 656726 h 1050628"/>
                <a:gd name="connsiteX499" fmla="*/ 1165096 w 2449768"/>
                <a:gd name="connsiteY499" fmla="*/ 656726 h 1050628"/>
                <a:gd name="connsiteX500" fmla="*/ 1178387 w 2449768"/>
                <a:gd name="connsiteY500" fmla="*/ 665460 h 1050628"/>
                <a:gd name="connsiteX501" fmla="*/ 1172311 w 2449768"/>
                <a:gd name="connsiteY501" fmla="*/ 689765 h 1050628"/>
                <a:gd name="connsiteX502" fmla="*/ 1148007 w 2449768"/>
                <a:gd name="connsiteY502" fmla="*/ 683689 h 1050628"/>
                <a:gd name="connsiteX503" fmla="*/ 1154083 w 2449768"/>
                <a:gd name="connsiteY503" fmla="*/ 659384 h 1050628"/>
                <a:gd name="connsiteX504" fmla="*/ 1165096 w 2449768"/>
                <a:gd name="connsiteY504" fmla="*/ 656726 h 1050628"/>
                <a:gd name="connsiteX505" fmla="*/ 1948916 w 2449768"/>
                <a:gd name="connsiteY505" fmla="*/ 653688 h 1050628"/>
                <a:gd name="connsiteX506" fmla="*/ 1962208 w 2449768"/>
                <a:gd name="connsiteY506" fmla="*/ 662422 h 1050628"/>
                <a:gd name="connsiteX507" fmla="*/ 1956132 w 2449768"/>
                <a:gd name="connsiteY507" fmla="*/ 686727 h 1050628"/>
                <a:gd name="connsiteX508" fmla="*/ 1931827 w 2449768"/>
                <a:gd name="connsiteY508" fmla="*/ 680651 h 1050628"/>
                <a:gd name="connsiteX509" fmla="*/ 1937903 w 2449768"/>
                <a:gd name="connsiteY509" fmla="*/ 656346 h 1050628"/>
                <a:gd name="connsiteX510" fmla="*/ 1948916 w 2449768"/>
                <a:gd name="connsiteY510" fmla="*/ 653688 h 1050628"/>
                <a:gd name="connsiteX511" fmla="*/ 2328673 w 2449768"/>
                <a:gd name="connsiteY511" fmla="*/ 647611 h 1050628"/>
                <a:gd name="connsiteX512" fmla="*/ 2341965 w 2449768"/>
                <a:gd name="connsiteY512" fmla="*/ 656345 h 1050628"/>
                <a:gd name="connsiteX513" fmla="*/ 2335889 w 2449768"/>
                <a:gd name="connsiteY513" fmla="*/ 680650 h 1050628"/>
                <a:gd name="connsiteX514" fmla="*/ 2311584 w 2449768"/>
                <a:gd name="connsiteY514" fmla="*/ 674574 h 1050628"/>
                <a:gd name="connsiteX515" fmla="*/ 2317660 w 2449768"/>
                <a:gd name="connsiteY515" fmla="*/ 650269 h 1050628"/>
                <a:gd name="connsiteX516" fmla="*/ 2328673 w 2449768"/>
                <a:gd name="connsiteY516" fmla="*/ 647611 h 1050628"/>
                <a:gd name="connsiteX517" fmla="*/ 639512 w 2449768"/>
                <a:gd name="connsiteY517" fmla="*/ 641535 h 1050628"/>
                <a:gd name="connsiteX518" fmla="*/ 652804 w 2449768"/>
                <a:gd name="connsiteY518" fmla="*/ 650269 h 1050628"/>
                <a:gd name="connsiteX519" fmla="*/ 646728 w 2449768"/>
                <a:gd name="connsiteY519" fmla="*/ 674574 h 1050628"/>
                <a:gd name="connsiteX520" fmla="*/ 622423 w 2449768"/>
                <a:gd name="connsiteY520" fmla="*/ 668498 h 1050628"/>
                <a:gd name="connsiteX521" fmla="*/ 628499 w 2449768"/>
                <a:gd name="connsiteY521" fmla="*/ 644193 h 1050628"/>
                <a:gd name="connsiteX522" fmla="*/ 639512 w 2449768"/>
                <a:gd name="connsiteY522" fmla="*/ 641535 h 1050628"/>
                <a:gd name="connsiteX523" fmla="*/ 451152 w 2449768"/>
                <a:gd name="connsiteY523" fmla="*/ 641535 h 1050628"/>
                <a:gd name="connsiteX524" fmla="*/ 464444 w 2449768"/>
                <a:gd name="connsiteY524" fmla="*/ 650269 h 1050628"/>
                <a:gd name="connsiteX525" fmla="*/ 458368 w 2449768"/>
                <a:gd name="connsiteY525" fmla="*/ 674574 h 1050628"/>
                <a:gd name="connsiteX526" fmla="*/ 434063 w 2449768"/>
                <a:gd name="connsiteY526" fmla="*/ 668498 h 1050628"/>
                <a:gd name="connsiteX527" fmla="*/ 440139 w 2449768"/>
                <a:gd name="connsiteY527" fmla="*/ 644193 h 1050628"/>
                <a:gd name="connsiteX528" fmla="*/ 451152 w 2449768"/>
                <a:gd name="connsiteY528" fmla="*/ 641535 h 1050628"/>
                <a:gd name="connsiteX529" fmla="*/ 1739291 w 2449768"/>
                <a:gd name="connsiteY529" fmla="*/ 638497 h 1050628"/>
                <a:gd name="connsiteX530" fmla="*/ 1752582 w 2449768"/>
                <a:gd name="connsiteY530" fmla="*/ 647231 h 1050628"/>
                <a:gd name="connsiteX531" fmla="*/ 1746506 w 2449768"/>
                <a:gd name="connsiteY531" fmla="*/ 671536 h 1050628"/>
                <a:gd name="connsiteX532" fmla="*/ 1722201 w 2449768"/>
                <a:gd name="connsiteY532" fmla="*/ 665460 h 1050628"/>
                <a:gd name="connsiteX533" fmla="*/ 1728277 w 2449768"/>
                <a:gd name="connsiteY533" fmla="*/ 641155 h 1050628"/>
                <a:gd name="connsiteX534" fmla="*/ 1739291 w 2449768"/>
                <a:gd name="connsiteY534" fmla="*/ 638497 h 1050628"/>
                <a:gd name="connsiteX535" fmla="*/ 1429407 w 2449768"/>
                <a:gd name="connsiteY535" fmla="*/ 623307 h 1050628"/>
                <a:gd name="connsiteX536" fmla="*/ 1442699 w 2449768"/>
                <a:gd name="connsiteY536" fmla="*/ 632041 h 1050628"/>
                <a:gd name="connsiteX537" fmla="*/ 1436623 w 2449768"/>
                <a:gd name="connsiteY537" fmla="*/ 656346 h 1050628"/>
                <a:gd name="connsiteX538" fmla="*/ 1412318 w 2449768"/>
                <a:gd name="connsiteY538" fmla="*/ 650270 h 1050628"/>
                <a:gd name="connsiteX539" fmla="*/ 1418394 w 2449768"/>
                <a:gd name="connsiteY539" fmla="*/ 625965 h 1050628"/>
                <a:gd name="connsiteX540" fmla="*/ 1429407 w 2449768"/>
                <a:gd name="connsiteY540" fmla="*/ 623307 h 1050628"/>
                <a:gd name="connsiteX541" fmla="*/ 991927 w 2449768"/>
                <a:gd name="connsiteY541" fmla="*/ 614193 h 1050628"/>
                <a:gd name="connsiteX542" fmla="*/ 1005219 w 2449768"/>
                <a:gd name="connsiteY542" fmla="*/ 622927 h 1050628"/>
                <a:gd name="connsiteX543" fmla="*/ 999143 w 2449768"/>
                <a:gd name="connsiteY543" fmla="*/ 647232 h 1050628"/>
                <a:gd name="connsiteX544" fmla="*/ 974838 w 2449768"/>
                <a:gd name="connsiteY544" fmla="*/ 641156 h 1050628"/>
                <a:gd name="connsiteX545" fmla="*/ 980914 w 2449768"/>
                <a:gd name="connsiteY545" fmla="*/ 616851 h 1050628"/>
                <a:gd name="connsiteX546" fmla="*/ 991927 w 2449768"/>
                <a:gd name="connsiteY546" fmla="*/ 614193 h 1050628"/>
                <a:gd name="connsiteX547" fmla="*/ 1244086 w 2449768"/>
                <a:gd name="connsiteY547" fmla="*/ 589888 h 1050628"/>
                <a:gd name="connsiteX548" fmla="*/ 1257378 w 2449768"/>
                <a:gd name="connsiteY548" fmla="*/ 598622 h 1050628"/>
                <a:gd name="connsiteX549" fmla="*/ 1251302 w 2449768"/>
                <a:gd name="connsiteY549" fmla="*/ 622927 h 1050628"/>
                <a:gd name="connsiteX550" fmla="*/ 1226997 w 2449768"/>
                <a:gd name="connsiteY550" fmla="*/ 616851 h 1050628"/>
                <a:gd name="connsiteX551" fmla="*/ 1233073 w 2449768"/>
                <a:gd name="connsiteY551" fmla="*/ 592546 h 1050628"/>
                <a:gd name="connsiteX552" fmla="*/ 1244086 w 2449768"/>
                <a:gd name="connsiteY552" fmla="*/ 589888 h 1050628"/>
                <a:gd name="connsiteX553" fmla="*/ 1332189 w 2449768"/>
                <a:gd name="connsiteY553" fmla="*/ 586850 h 1050628"/>
                <a:gd name="connsiteX554" fmla="*/ 1345481 w 2449768"/>
                <a:gd name="connsiteY554" fmla="*/ 595584 h 1050628"/>
                <a:gd name="connsiteX555" fmla="*/ 1339405 w 2449768"/>
                <a:gd name="connsiteY555" fmla="*/ 619889 h 1050628"/>
                <a:gd name="connsiteX556" fmla="*/ 1315100 w 2449768"/>
                <a:gd name="connsiteY556" fmla="*/ 613813 h 1050628"/>
                <a:gd name="connsiteX557" fmla="*/ 1321176 w 2449768"/>
                <a:gd name="connsiteY557" fmla="*/ 589508 h 1050628"/>
                <a:gd name="connsiteX558" fmla="*/ 1332189 w 2449768"/>
                <a:gd name="connsiteY558" fmla="*/ 586850 h 1050628"/>
                <a:gd name="connsiteX559" fmla="*/ 867366 w 2449768"/>
                <a:gd name="connsiteY559" fmla="*/ 583812 h 1050628"/>
                <a:gd name="connsiteX560" fmla="*/ 880658 w 2449768"/>
                <a:gd name="connsiteY560" fmla="*/ 592546 h 1050628"/>
                <a:gd name="connsiteX561" fmla="*/ 874582 w 2449768"/>
                <a:gd name="connsiteY561" fmla="*/ 616851 h 1050628"/>
                <a:gd name="connsiteX562" fmla="*/ 850277 w 2449768"/>
                <a:gd name="connsiteY562" fmla="*/ 610775 h 1050628"/>
                <a:gd name="connsiteX563" fmla="*/ 856353 w 2449768"/>
                <a:gd name="connsiteY563" fmla="*/ 586470 h 1050628"/>
                <a:gd name="connsiteX564" fmla="*/ 867366 w 2449768"/>
                <a:gd name="connsiteY564" fmla="*/ 583812 h 1050628"/>
                <a:gd name="connsiteX565" fmla="*/ 2222342 w 2449768"/>
                <a:gd name="connsiteY565" fmla="*/ 576217 h 1050628"/>
                <a:gd name="connsiteX566" fmla="*/ 2235633 w 2449768"/>
                <a:gd name="connsiteY566" fmla="*/ 586470 h 1050628"/>
                <a:gd name="connsiteX567" fmla="*/ 2229557 w 2449768"/>
                <a:gd name="connsiteY567" fmla="*/ 610775 h 1050628"/>
                <a:gd name="connsiteX568" fmla="*/ 2205253 w 2449768"/>
                <a:gd name="connsiteY568" fmla="*/ 604698 h 1050628"/>
                <a:gd name="connsiteX569" fmla="*/ 2211329 w 2449768"/>
                <a:gd name="connsiteY569" fmla="*/ 577356 h 1050628"/>
                <a:gd name="connsiteX570" fmla="*/ 2222342 w 2449768"/>
                <a:gd name="connsiteY570" fmla="*/ 576217 h 1050628"/>
                <a:gd name="connsiteX571" fmla="*/ 1092183 w 2449768"/>
                <a:gd name="connsiteY571" fmla="*/ 571660 h 1050628"/>
                <a:gd name="connsiteX572" fmla="*/ 1105475 w 2449768"/>
                <a:gd name="connsiteY572" fmla="*/ 580394 h 1050628"/>
                <a:gd name="connsiteX573" fmla="*/ 1099399 w 2449768"/>
                <a:gd name="connsiteY573" fmla="*/ 604699 h 1050628"/>
                <a:gd name="connsiteX574" fmla="*/ 1075094 w 2449768"/>
                <a:gd name="connsiteY574" fmla="*/ 598623 h 1050628"/>
                <a:gd name="connsiteX575" fmla="*/ 1081170 w 2449768"/>
                <a:gd name="connsiteY575" fmla="*/ 574318 h 1050628"/>
                <a:gd name="connsiteX576" fmla="*/ 1092183 w 2449768"/>
                <a:gd name="connsiteY576" fmla="*/ 571660 h 1050628"/>
                <a:gd name="connsiteX577" fmla="*/ 2000563 w 2449768"/>
                <a:gd name="connsiteY577" fmla="*/ 568622 h 1050628"/>
                <a:gd name="connsiteX578" fmla="*/ 2013855 w 2449768"/>
                <a:gd name="connsiteY578" fmla="*/ 577356 h 1050628"/>
                <a:gd name="connsiteX579" fmla="*/ 2007779 w 2449768"/>
                <a:gd name="connsiteY579" fmla="*/ 601661 h 1050628"/>
                <a:gd name="connsiteX580" fmla="*/ 1983474 w 2449768"/>
                <a:gd name="connsiteY580" fmla="*/ 595585 h 1050628"/>
                <a:gd name="connsiteX581" fmla="*/ 1989550 w 2449768"/>
                <a:gd name="connsiteY581" fmla="*/ 571280 h 1050628"/>
                <a:gd name="connsiteX582" fmla="*/ 2000563 w 2449768"/>
                <a:gd name="connsiteY582" fmla="*/ 568622 h 1050628"/>
                <a:gd name="connsiteX583" fmla="*/ 745844 w 2449768"/>
                <a:gd name="connsiteY583" fmla="*/ 568622 h 1050628"/>
                <a:gd name="connsiteX584" fmla="*/ 759136 w 2449768"/>
                <a:gd name="connsiteY584" fmla="*/ 577356 h 1050628"/>
                <a:gd name="connsiteX585" fmla="*/ 753060 w 2449768"/>
                <a:gd name="connsiteY585" fmla="*/ 601661 h 1050628"/>
                <a:gd name="connsiteX586" fmla="*/ 728755 w 2449768"/>
                <a:gd name="connsiteY586" fmla="*/ 595585 h 1050628"/>
                <a:gd name="connsiteX587" fmla="*/ 734831 w 2449768"/>
                <a:gd name="connsiteY587" fmla="*/ 571280 h 1050628"/>
                <a:gd name="connsiteX588" fmla="*/ 745844 w 2449768"/>
                <a:gd name="connsiteY588" fmla="*/ 568622 h 1050628"/>
                <a:gd name="connsiteX589" fmla="*/ 533179 w 2449768"/>
                <a:gd name="connsiteY589" fmla="*/ 568622 h 1050628"/>
                <a:gd name="connsiteX590" fmla="*/ 546471 w 2449768"/>
                <a:gd name="connsiteY590" fmla="*/ 577356 h 1050628"/>
                <a:gd name="connsiteX591" fmla="*/ 540395 w 2449768"/>
                <a:gd name="connsiteY591" fmla="*/ 601661 h 1050628"/>
                <a:gd name="connsiteX592" fmla="*/ 516090 w 2449768"/>
                <a:gd name="connsiteY592" fmla="*/ 595585 h 1050628"/>
                <a:gd name="connsiteX593" fmla="*/ 522166 w 2449768"/>
                <a:gd name="connsiteY593" fmla="*/ 571280 h 1050628"/>
                <a:gd name="connsiteX594" fmla="*/ 533179 w 2449768"/>
                <a:gd name="connsiteY594" fmla="*/ 568622 h 1050628"/>
                <a:gd name="connsiteX595" fmla="*/ 1866889 w 2449768"/>
                <a:gd name="connsiteY595" fmla="*/ 565584 h 1050628"/>
                <a:gd name="connsiteX596" fmla="*/ 1880180 w 2449768"/>
                <a:gd name="connsiteY596" fmla="*/ 574318 h 1050628"/>
                <a:gd name="connsiteX597" fmla="*/ 1874104 w 2449768"/>
                <a:gd name="connsiteY597" fmla="*/ 598623 h 1050628"/>
                <a:gd name="connsiteX598" fmla="*/ 1849800 w 2449768"/>
                <a:gd name="connsiteY598" fmla="*/ 592547 h 1050628"/>
                <a:gd name="connsiteX599" fmla="*/ 1855876 w 2449768"/>
                <a:gd name="connsiteY599" fmla="*/ 568242 h 1050628"/>
                <a:gd name="connsiteX600" fmla="*/ 1866889 w 2449768"/>
                <a:gd name="connsiteY600" fmla="*/ 565584 h 1050628"/>
                <a:gd name="connsiteX601" fmla="*/ 1508397 w 2449768"/>
                <a:gd name="connsiteY601" fmla="*/ 565584 h 1050628"/>
                <a:gd name="connsiteX602" fmla="*/ 1521689 w 2449768"/>
                <a:gd name="connsiteY602" fmla="*/ 574318 h 1050628"/>
                <a:gd name="connsiteX603" fmla="*/ 1515613 w 2449768"/>
                <a:gd name="connsiteY603" fmla="*/ 598623 h 1050628"/>
                <a:gd name="connsiteX604" fmla="*/ 1491308 w 2449768"/>
                <a:gd name="connsiteY604" fmla="*/ 592547 h 1050628"/>
                <a:gd name="connsiteX605" fmla="*/ 1497384 w 2449768"/>
                <a:gd name="connsiteY605" fmla="*/ 568242 h 1050628"/>
                <a:gd name="connsiteX606" fmla="*/ 1508397 w 2449768"/>
                <a:gd name="connsiteY606" fmla="*/ 565584 h 1050628"/>
                <a:gd name="connsiteX607" fmla="*/ 2365130 w 2449768"/>
                <a:gd name="connsiteY607" fmla="*/ 556470 h 1050628"/>
                <a:gd name="connsiteX608" fmla="*/ 2378422 w 2449768"/>
                <a:gd name="connsiteY608" fmla="*/ 565204 h 1050628"/>
                <a:gd name="connsiteX609" fmla="*/ 2372346 w 2449768"/>
                <a:gd name="connsiteY609" fmla="*/ 589509 h 1050628"/>
                <a:gd name="connsiteX610" fmla="*/ 2348041 w 2449768"/>
                <a:gd name="connsiteY610" fmla="*/ 583433 h 1050628"/>
                <a:gd name="connsiteX611" fmla="*/ 2354117 w 2449768"/>
                <a:gd name="connsiteY611" fmla="*/ 559128 h 1050628"/>
                <a:gd name="connsiteX612" fmla="*/ 2365130 w 2449768"/>
                <a:gd name="connsiteY612" fmla="*/ 556470 h 1050628"/>
                <a:gd name="connsiteX613" fmla="*/ 1620805 w 2449768"/>
                <a:gd name="connsiteY613" fmla="*/ 550394 h 1050628"/>
                <a:gd name="connsiteX614" fmla="*/ 1634097 w 2449768"/>
                <a:gd name="connsiteY614" fmla="*/ 559128 h 1050628"/>
                <a:gd name="connsiteX615" fmla="*/ 1628021 w 2449768"/>
                <a:gd name="connsiteY615" fmla="*/ 583433 h 1050628"/>
                <a:gd name="connsiteX616" fmla="*/ 1603716 w 2449768"/>
                <a:gd name="connsiteY616" fmla="*/ 577357 h 1050628"/>
                <a:gd name="connsiteX617" fmla="*/ 1609792 w 2449768"/>
                <a:gd name="connsiteY617" fmla="*/ 553052 h 1050628"/>
                <a:gd name="connsiteX618" fmla="*/ 1620805 w 2449768"/>
                <a:gd name="connsiteY618" fmla="*/ 550394 h 1050628"/>
                <a:gd name="connsiteX619" fmla="*/ 2097781 w 2449768"/>
                <a:gd name="connsiteY619" fmla="*/ 544317 h 1050628"/>
                <a:gd name="connsiteX620" fmla="*/ 2111073 w 2449768"/>
                <a:gd name="connsiteY620" fmla="*/ 553051 h 1050628"/>
                <a:gd name="connsiteX621" fmla="*/ 2104997 w 2449768"/>
                <a:gd name="connsiteY621" fmla="*/ 577356 h 1050628"/>
                <a:gd name="connsiteX622" fmla="*/ 2080692 w 2449768"/>
                <a:gd name="connsiteY622" fmla="*/ 571280 h 1050628"/>
                <a:gd name="connsiteX623" fmla="*/ 2086768 w 2449768"/>
                <a:gd name="connsiteY623" fmla="*/ 546975 h 1050628"/>
                <a:gd name="connsiteX624" fmla="*/ 2097781 w 2449768"/>
                <a:gd name="connsiteY624" fmla="*/ 544317 h 1050628"/>
                <a:gd name="connsiteX625" fmla="*/ 1745366 w 2449768"/>
                <a:gd name="connsiteY625" fmla="*/ 538241 h 1050628"/>
                <a:gd name="connsiteX626" fmla="*/ 1758658 w 2449768"/>
                <a:gd name="connsiteY626" fmla="*/ 546975 h 1050628"/>
                <a:gd name="connsiteX627" fmla="*/ 1752582 w 2449768"/>
                <a:gd name="connsiteY627" fmla="*/ 571280 h 1050628"/>
                <a:gd name="connsiteX628" fmla="*/ 1728277 w 2449768"/>
                <a:gd name="connsiteY628" fmla="*/ 565204 h 1050628"/>
                <a:gd name="connsiteX629" fmla="*/ 1734353 w 2449768"/>
                <a:gd name="connsiteY629" fmla="*/ 540899 h 1050628"/>
                <a:gd name="connsiteX630" fmla="*/ 1745366 w 2449768"/>
                <a:gd name="connsiteY630" fmla="*/ 538241 h 1050628"/>
                <a:gd name="connsiteX631" fmla="*/ 624322 w 2449768"/>
                <a:gd name="connsiteY631" fmla="*/ 529127 h 1050628"/>
                <a:gd name="connsiteX632" fmla="*/ 637613 w 2449768"/>
                <a:gd name="connsiteY632" fmla="*/ 537861 h 1050628"/>
                <a:gd name="connsiteX633" fmla="*/ 631537 w 2449768"/>
                <a:gd name="connsiteY633" fmla="*/ 562166 h 1050628"/>
                <a:gd name="connsiteX634" fmla="*/ 607233 w 2449768"/>
                <a:gd name="connsiteY634" fmla="*/ 556090 h 1050628"/>
                <a:gd name="connsiteX635" fmla="*/ 613309 w 2449768"/>
                <a:gd name="connsiteY635" fmla="*/ 531785 h 1050628"/>
                <a:gd name="connsiteX636" fmla="*/ 624322 w 2449768"/>
                <a:gd name="connsiteY636" fmla="*/ 529127 h 1050628"/>
                <a:gd name="connsiteX637" fmla="*/ 958508 w 2449768"/>
                <a:gd name="connsiteY637" fmla="*/ 523051 h 1050628"/>
                <a:gd name="connsiteX638" fmla="*/ 971800 w 2449768"/>
                <a:gd name="connsiteY638" fmla="*/ 531785 h 1050628"/>
                <a:gd name="connsiteX639" fmla="*/ 965724 w 2449768"/>
                <a:gd name="connsiteY639" fmla="*/ 556090 h 1050628"/>
                <a:gd name="connsiteX640" fmla="*/ 941419 w 2449768"/>
                <a:gd name="connsiteY640" fmla="*/ 550014 h 1050628"/>
                <a:gd name="connsiteX641" fmla="*/ 947495 w 2449768"/>
                <a:gd name="connsiteY641" fmla="*/ 525709 h 1050628"/>
                <a:gd name="connsiteX642" fmla="*/ 958508 w 2449768"/>
                <a:gd name="connsiteY642" fmla="*/ 523051 h 1050628"/>
                <a:gd name="connsiteX643" fmla="*/ 1177248 w 2449768"/>
                <a:gd name="connsiteY643" fmla="*/ 507861 h 1050628"/>
                <a:gd name="connsiteX644" fmla="*/ 1190540 w 2449768"/>
                <a:gd name="connsiteY644" fmla="*/ 516595 h 1050628"/>
                <a:gd name="connsiteX645" fmla="*/ 1184464 w 2449768"/>
                <a:gd name="connsiteY645" fmla="*/ 540900 h 1050628"/>
                <a:gd name="connsiteX646" fmla="*/ 1160159 w 2449768"/>
                <a:gd name="connsiteY646" fmla="*/ 534824 h 1050628"/>
                <a:gd name="connsiteX647" fmla="*/ 1166235 w 2449768"/>
                <a:gd name="connsiteY647" fmla="*/ 510519 h 1050628"/>
                <a:gd name="connsiteX648" fmla="*/ 1177248 w 2449768"/>
                <a:gd name="connsiteY648" fmla="*/ 507861 h 1050628"/>
                <a:gd name="connsiteX649" fmla="*/ 1399027 w 2449768"/>
                <a:gd name="connsiteY649" fmla="*/ 504823 h 1050628"/>
                <a:gd name="connsiteX650" fmla="*/ 1412319 w 2449768"/>
                <a:gd name="connsiteY650" fmla="*/ 513557 h 1050628"/>
                <a:gd name="connsiteX651" fmla="*/ 1406243 w 2449768"/>
                <a:gd name="connsiteY651" fmla="*/ 537862 h 1050628"/>
                <a:gd name="connsiteX652" fmla="*/ 1381938 w 2449768"/>
                <a:gd name="connsiteY652" fmla="*/ 531786 h 1050628"/>
                <a:gd name="connsiteX653" fmla="*/ 1388014 w 2449768"/>
                <a:gd name="connsiteY653" fmla="*/ 507481 h 1050628"/>
                <a:gd name="connsiteX654" fmla="*/ 1399027 w 2449768"/>
                <a:gd name="connsiteY654" fmla="*/ 504823 h 1050628"/>
                <a:gd name="connsiteX655" fmla="*/ 2194999 w 2449768"/>
                <a:gd name="connsiteY655" fmla="*/ 492670 h 1050628"/>
                <a:gd name="connsiteX656" fmla="*/ 2208291 w 2449768"/>
                <a:gd name="connsiteY656" fmla="*/ 501404 h 1050628"/>
                <a:gd name="connsiteX657" fmla="*/ 2202214 w 2449768"/>
                <a:gd name="connsiteY657" fmla="*/ 525709 h 1050628"/>
                <a:gd name="connsiteX658" fmla="*/ 2177910 w 2449768"/>
                <a:gd name="connsiteY658" fmla="*/ 519633 h 1050628"/>
                <a:gd name="connsiteX659" fmla="*/ 2183986 w 2449768"/>
                <a:gd name="connsiteY659" fmla="*/ 495328 h 1050628"/>
                <a:gd name="connsiteX660" fmla="*/ 2194999 w 2449768"/>
                <a:gd name="connsiteY660" fmla="*/ 492670 h 1050628"/>
                <a:gd name="connsiteX661" fmla="*/ 1912459 w 2449768"/>
                <a:gd name="connsiteY661" fmla="*/ 480518 h 1050628"/>
                <a:gd name="connsiteX662" fmla="*/ 1925751 w 2449768"/>
                <a:gd name="connsiteY662" fmla="*/ 489252 h 1050628"/>
                <a:gd name="connsiteX663" fmla="*/ 1919675 w 2449768"/>
                <a:gd name="connsiteY663" fmla="*/ 513557 h 1050628"/>
                <a:gd name="connsiteX664" fmla="*/ 1895370 w 2449768"/>
                <a:gd name="connsiteY664" fmla="*/ 507481 h 1050628"/>
                <a:gd name="connsiteX665" fmla="*/ 1901446 w 2449768"/>
                <a:gd name="connsiteY665" fmla="*/ 483176 h 1050628"/>
                <a:gd name="connsiteX666" fmla="*/ 1912459 w 2449768"/>
                <a:gd name="connsiteY666" fmla="*/ 480518 h 1050628"/>
                <a:gd name="connsiteX667" fmla="*/ 803567 w 2449768"/>
                <a:gd name="connsiteY667" fmla="*/ 480518 h 1050628"/>
                <a:gd name="connsiteX668" fmla="*/ 816859 w 2449768"/>
                <a:gd name="connsiteY668" fmla="*/ 489252 h 1050628"/>
                <a:gd name="connsiteX669" fmla="*/ 810783 w 2449768"/>
                <a:gd name="connsiteY669" fmla="*/ 513557 h 1050628"/>
                <a:gd name="connsiteX670" fmla="*/ 786478 w 2449768"/>
                <a:gd name="connsiteY670" fmla="*/ 507481 h 1050628"/>
                <a:gd name="connsiteX671" fmla="*/ 792554 w 2449768"/>
                <a:gd name="connsiteY671" fmla="*/ 483176 h 1050628"/>
                <a:gd name="connsiteX672" fmla="*/ 803567 w 2449768"/>
                <a:gd name="connsiteY672" fmla="*/ 480518 h 1050628"/>
                <a:gd name="connsiteX673" fmla="*/ 1550930 w 2449768"/>
                <a:gd name="connsiteY673" fmla="*/ 471404 h 1050628"/>
                <a:gd name="connsiteX674" fmla="*/ 1564222 w 2449768"/>
                <a:gd name="connsiteY674" fmla="*/ 480138 h 1050628"/>
                <a:gd name="connsiteX675" fmla="*/ 1558146 w 2449768"/>
                <a:gd name="connsiteY675" fmla="*/ 504443 h 1050628"/>
                <a:gd name="connsiteX676" fmla="*/ 1533841 w 2449768"/>
                <a:gd name="connsiteY676" fmla="*/ 498367 h 1050628"/>
                <a:gd name="connsiteX677" fmla="*/ 1539917 w 2449768"/>
                <a:gd name="connsiteY677" fmla="*/ 474062 h 1050628"/>
                <a:gd name="connsiteX678" fmla="*/ 1550930 w 2449768"/>
                <a:gd name="connsiteY678" fmla="*/ 471404 h 1050628"/>
                <a:gd name="connsiteX679" fmla="*/ 2307407 w 2449768"/>
                <a:gd name="connsiteY679" fmla="*/ 465328 h 1050628"/>
                <a:gd name="connsiteX680" fmla="*/ 2320698 w 2449768"/>
                <a:gd name="connsiteY680" fmla="*/ 474062 h 1050628"/>
                <a:gd name="connsiteX681" fmla="*/ 2314622 w 2449768"/>
                <a:gd name="connsiteY681" fmla="*/ 498367 h 1050628"/>
                <a:gd name="connsiteX682" fmla="*/ 2290318 w 2449768"/>
                <a:gd name="connsiteY682" fmla="*/ 492291 h 1050628"/>
                <a:gd name="connsiteX683" fmla="*/ 2296394 w 2449768"/>
                <a:gd name="connsiteY683" fmla="*/ 467986 h 1050628"/>
                <a:gd name="connsiteX684" fmla="*/ 2307407 w 2449768"/>
                <a:gd name="connsiteY684" fmla="*/ 465328 h 1050628"/>
                <a:gd name="connsiteX685" fmla="*/ 1076992 w 2449768"/>
                <a:gd name="connsiteY685" fmla="*/ 462290 h 1050628"/>
                <a:gd name="connsiteX686" fmla="*/ 1090284 w 2449768"/>
                <a:gd name="connsiteY686" fmla="*/ 471024 h 1050628"/>
                <a:gd name="connsiteX687" fmla="*/ 1084208 w 2449768"/>
                <a:gd name="connsiteY687" fmla="*/ 495329 h 1050628"/>
                <a:gd name="connsiteX688" fmla="*/ 1059903 w 2449768"/>
                <a:gd name="connsiteY688" fmla="*/ 489253 h 1050628"/>
                <a:gd name="connsiteX689" fmla="*/ 1065979 w 2449768"/>
                <a:gd name="connsiteY689" fmla="*/ 464948 h 1050628"/>
                <a:gd name="connsiteX690" fmla="*/ 1076992 w 2449768"/>
                <a:gd name="connsiteY690" fmla="*/ 462290 h 1050628"/>
                <a:gd name="connsiteX691" fmla="*/ 2030944 w 2449768"/>
                <a:gd name="connsiteY691" fmla="*/ 456214 h 1050628"/>
                <a:gd name="connsiteX692" fmla="*/ 2044236 w 2449768"/>
                <a:gd name="connsiteY692" fmla="*/ 464948 h 1050628"/>
                <a:gd name="connsiteX693" fmla="*/ 2038160 w 2449768"/>
                <a:gd name="connsiteY693" fmla="*/ 489253 h 1050628"/>
                <a:gd name="connsiteX694" fmla="*/ 2013855 w 2449768"/>
                <a:gd name="connsiteY694" fmla="*/ 483177 h 1050628"/>
                <a:gd name="connsiteX695" fmla="*/ 2019931 w 2449768"/>
                <a:gd name="connsiteY695" fmla="*/ 458872 h 1050628"/>
                <a:gd name="connsiteX696" fmla="*/ 2030944 w 2449768"/>
                <a:gd name="connsiteY696" fmla="*/ 456214 h 1050628"/>
                <a:gd name="connsiteX697" fmla="*/ 1280542 w 2449768"/>
                <a:gd name="connsiteY697" fmla="*/ 453176 h 1050628"/>
                <a:gd name="connsiteX698" fmla="*/ 1293834 w 2449768"/>
                <a:gd name="connsiteY698" fmla="*/ 461910 h 1050628"/>
                <a:gd name="connsiteX699" fmla="*/ 1287758 w 2449768"/>
                <a:gd name="connsiteY699" fmla="*/ 486215 h 1050628"/>
                <a:gd name="connsiteX700" fmla="*/ 1263453 w 2449768"/>
                <a:gd name="connsiteY700" fmla="*/ 480139 h 1050628"/>
                <a:gd name="connsiteX701" fmla="*/ 1269529 w 2449768"/>
                <a:gd name="connsiteY701" fmla="*/ 455834 h 1050628"/>
                <a:gd name="connsiteX702" fmla="*/ 1280542 w 2449768"/>
                <a:gd name="connsiteY702" fmla="*/ 453176 h 1050628"/>
                <a:gd name="connsiteX703" fmla="*/ 679006 w 2449768"/>
                <a:gd name="connsiteY703" fmla="*/ 450138 h 1050628"/>
                <a:gd name="connsiteX704" fmla="*/ 692298 w 2449768"/>
                <a:gd name="connsiteY704" fmla="*/ 458872 h 1050628"/>
                <a:gd name="connsiteX705" fmla="*/ 686222 w 2449768"/>
                <a:gd name="connsiteY705" fmla="*/ 483177 h 1050628"/>
                <a:gd name="connsiteX706" fmla="*/ 661917 w 2449768"/>
                <a:gd name="connsiteY706" fmla="*/ 477101 h 1050628"/>
                <a:gd name="connsiteX707" fmla="*/ 667993 w 2449768"/>
                <a:gd name="connsiteY707" fmla="*/ 452796 h 1050628"/>
                <a:gd name="connsiteX708" fmla="*/ 679006 w 2449768"/>
                <a:gd name="connsiteY708" fmla="*/ 450138 h 1050628"/>
                <a:gd name="connsiteX709" fmla="*/ 1815242 w 2449768"/>
                <a:gd name="connsiteY709" fmla="*/ 447099 h 1050628"/>
                <a:gd name="connsiteX710" fmla="*/ 1828533 w 2449768"/>
                <a:gd name="connsiteY710" fmla="*/ 455833 h 1050628"/>
                <a:gd name="connsiteX711" fmla="*/ 1822457 w 2449768"/>
                <a:gd name="connsiteY711" fmla="*/ 480138 h 1050628"/>
                <a:gd name="connsiteX712" fmla="*/ 1798152 w 2449768"/>
                <a:gd name="connsiteY712" fmla="*/ 474062 h 1050628"/>
                <a:gd name="connsiteX713" fmla="*/ 1804228 w 2449768"/>
                <a:gd name="connsiteY713" fmla="*/ 449757 h 1050628"/>
                <a:gd name="connsiteX714" fmla="*/ 1815242 w 2449768"/>
                <a:gd name="connsiteY714" fmla="*/ 447099 h 1050628"/>
                <a:gd name="connsiteX715" fmla="*/ 1699795 w 2449768"/>
                <a:gd name="connsiteY715" fmla="*/ 444061 h 1050628"/>
                <a:gd name="connsiteX716" fmla="*/ 1713087 w 2449768"/>
                <a:gd name="connsiteY716" fmla="*/ 452795 h 1050628"/>
                <a:gd name="connsiteX717" fmla="*/ 1707011 w 2449768"/>
                <a:gd name="connsiteY717" fmla="*/ 477100 h 1050628"/>
                <a:gd name="connsiteX718" fmla="*/ 1682706 w 2449768"/>
                <a:gd name="connsiteY718" fmla="*/ 471024 h 1050628"/>
                <a:gd name="connsiteX719" fmla="*/ 1688782 w 2449768"/>
                <a:gd name="connsiteY719" fmla="*/ 446719 h 1050628"/>
                <a:gd name="connsiteX720" fmla="*/ 1699795 w 2449768"/>
                <a:gd name="connsiteY720" fmla="*/ 444061 h 1050628"/>
                <a:gd name="connsiteX721" fmla="*/ 888633 w 2449768"/>
                <a:gd name="connsiteY721" fmla="*/ 434947 h 1050628"/>
                <a:gd name="connsiteX722" fmla="*/ 901925 w 2449768"/>
                <a:gd name="connsiteY722" fmla="*/ 443681 h 1050628"/>
                <a:gd name="connsiteX723" fmla="*/ 895849 w 2449768"/>
                <a:gd name="connsiteY723" fmla="*/ 467986 h 1050628"/>
                <a:gd name="connsiteX724" fmla="*/ 871544 w 2449768"/>
                <a:gd name="connsiteY724" fmla="*/ 461910 h 1050628"/>
                <a:gd name="connsiteX725" fmla="*/ 877620 w 2449768"/>
                <a:gd name="connsiteY725" fmla="*/ 437605 h 1050628"/>
                <a:gd name="connsiteX726" fmla="*/ 888633 w 2449768"/>
                <a:gd name="connsiteY726" fmla="*/ 434947 h 1050628"/>
                <a:gd name="connsiteX727" fmla="*/ 2158542 w 2449768"/>
                <a:gd name="connsiteY727" fmla="*/ 407605 h 1050628"/>
                <a:gd name="connsiteX728" fmla="*/ 2171833 w 2449768"/>
                <a:gd name="connsiteY728" fmla="*/ 416339 h 1050628"/>
                <a:gd name="connsiteX729" fmla="*/ 2165757 w 2449768"/>
                <a:gd name="connsiteY729" fmla="*/ 440644 h 1050628"/>
                <a:gd name="connsiteX730" fmla="*/ 2141453 w 2449768"/>
                <a:gd name="connsiteY730" fmla="*/ 434568 h 1050628"/>
                <a:gd name="connsiteX731" fmla="*/ 2147529 w 2449768"/>
                <a:gd name="connsiteY731" fmla="*/ 410263 h 1050628"/>
                <a:gd name="connsiteX732" fmla="*/ 2158542 w 2449768"/>
                <a:gd name="connsiteY732" fmla="*/ 407605 h 1050628"/>
                <a:gd name="connsiteX733" fmla="*/ 1484092 w 2449768"/>
                <a:gd name="connsiteY733" fmla="*/ 407605 h 1050628"/>
                <a:gd name="connsiteX734" fmla="*/ 1497384 w 2449768"/>
                <a:gd name="connsiteY734" fmla="*/ 416339 h 1050628"/>
                <a:gd name="connsiteX735" fmla="*/ 1491308 w 2449768"/>
                <a:gd name="connsiteY735" fmla="*/ 440644 h 1050628"/>
                <a:gd name="connsiteX736" fmla="*/ 1467003 w 2449768"/>
                <a:gd name="connsiteY736" fmla="*/ 434568 h 1050628"/>
                <a:gd name="connsiteX737" fmla="*/ 1473079 w 2449768"/>
                <a:gd name="connsiteY737" fmla="*/ 410263 h 1050628"/>
                <a:gd name="connsiteX738" fmla="*/ 1484092 w 2449768"/>
                <a:gd name="connsiteY738" fmla="*/ 407605 h 1050628"/>
                <a:gd name="connsiteX739" fmla="*/ 1365608 w 2449768"/>
                <a:gd name="connsiteY739" fmla="*/ 404567 h 1050628"/>
                <a:gd name="connsiteX740" fmla="*/ 1378900 w 2449768"/>
                <a:gd name="connsiteY740" fmla="*/ 413301 h 1050628"/>
                <a:gd name="connsiteX741" fmla="*/ 1372824 w 2449768"/>
                <a:gd name="connsiteY741" fmla="*/ 437606 h 1050628"/>
                <a:gd name="connsiteX742" fmla="*/ 1348519 w 2449768"/>
                <a:gd name="connsiteY742" fmla="*/ 431530 h 1050628"/>
                <a:gd name="connsiteX743" fmla="*/ 1354595 w 2449768"/>
                <a:gd name="connsiteY743" fmla="*/ 407225 h 1050628"/>
                <a:gd name="connsiteX744" fmla="*/ 1365608 w 2449768"/>
                <a:gd name="connsiteY744" fmla="*/ 404567 h 1050628"/>
                <a:gd name="connsiteX745" fmla="*/ 988889 w 2449768"/>
                <a:gd name="connsiteY745" fmla="*/ 404567 h 1050628"/>
                <a:gd name="connsiteX746" fmla="*/ 1002180 w 2449768"/>
                <a:gd name="connsiteY746" fmla="*/ 413301 h 1050628"/>
                <a:gd name="connsiteX747" fmla="*/ 996104 w 2449768"/>
                <a:gd name="connsiteY747" fmla="*/ 437606 h 1050628"/>
                <a:gd name="connsiteX748" fmla="*/ 971800 w 2449768"/>
                <a:gd name="connsiteY748" fmla="*/ 431530 h 1050628"/>
                <a:gd name="connsiteX749" fmla="*/ 977876 w 2449768"/>
                <a:gd name="connsiteY749" fmla="*/ 407225 h 1050628"/>
                <a:gd name="connsiteX750" fmla="*/ 988889 w 2449768"/>
                <a:gd name="connsiteY750" fmla="*/ 404567 h 1050628"/>
                <a:gd name="connsiteX751" fmla="*/ 1182565 w 2449768"/>
                <a:gd name="connsiteY751" fmla="*/ 394312 h 1050628"/>
                <a:gd name="connsiteX752" fmla="*/ 1193578 w 2449768"/>
                <a:gd name="connsiteY752" fmla="*/ 404186 h 1050628"/>
                <a:gd name="connsiteX753" fmla="*/ 1187502 w 2449768"/>
                <a:gd name="connsiteY753" fmla="*/ 428491 h 1050628"/>
                <a:gd name="connsiteX754" fmla="*/ 1163197 w 2449768"/>
                <a:gd name="connsiteY754" fmla="*/ 422415 h 1050628"/>
                <a:gd name="connsiteX755" fmla="*/ 1169273 w 2449768"/>
                <a:gd name="connsiteY755" fmla="*/ 398110 h 1050628"/>
                <a:gd name="connsiteX756" fmla="*/ 1182565 w 2449768"/>
                <a:gd name="connsiteY756" fmla="*/ 394312 h 1050628"/>
                <a:gd name="connsiteX757" fmla="*/ 1620805 w 2449768"/>
                <a:gd name="connsiteY757" fmla="*/ 389376 h 1050628"/>
                <a:gd name="connsiteX758" fmla="*/ 1634097 w 2449768"/>
                <a:gd name="connsiteY758" fmla="*/ 398110 h 1050628"/>
                <a:gd name="connsiteX759" fmla="*/ 1628021 w 2449768"/>
                <a:gd name="connsiteY759" fmla="*/ 422415 h 1050628"/>
                <a:gd name="connsiteX760" fmla="*/ 1603716 w 2449768"/>
                <a:gd name="connsiteY760" fmla="*/ 416339 h 1050628"/>
                <a:gd name="connsiteX761" fmla="*/ 1609792 w 2449768"/>
                <a:gd name="connsiteY761" fmla="*/ 392034 h 1050628"/>
                <a:gd name="connsiteX762" fmla="*/ 1620805 w 2449768"/>
                <a:gd name="connsiteY762" fmla="*/ 389376 h 1050628"/>
                <a:gd name="connsiteX763" fmla="*/ 1961068 w 2449768"/>
                <a:gd name="connsiteY763" fmla="*/ 380262 h 1050628"/>
                <a:gd name="connsiteX764" fmla="*/ 1974360 w 2449768"/>
                <a:gd name="connsiteY764" fmla="*/ 388996 h 1050628"/>
                <a:gd name="connsiteX765" fmla="*/ 1968284 w 2449768"/>
                <a:gd name="connsiteY765" fmla="*/ 413301 h 1050628"/>
                <a:gd name="connsiteX766" fmla="*/ 1943979 w 2449768"/>
                <a:gd name="connsiteY766" fmla="*/ 407225 h 1050628"/>
                <a:gd name="connsiteX767" fmla="*/ 1950055 w 2449768"/>
                <a:gd name="connsiteY767" fmla="*/ 382920 h 1050628"/>
                <a:gd name="connsiteX768" fmla="*/ 1961068 w 2449768"/>
                <a:gd name="connsiteY768" fmla="*/ 380262 h 1050628"/>
                <a:gd name="connsiteX769" fmla="*/ 770148 w 2449768"/>
                <a:gd name="connsiteY769" fmla="*/ 380262 h 1050628"/>
                <a:gd name="connsiteX770" fmla="*/ 783440 w 2449768"/>
                <a:gd name="connsiteY770" fmla="*/ 388996 h 1050628"/>
                <a:gd name="connsiteX771" fmla="*/ 777364 w 2449768"/>
                <a:gd name="connsiteY771" fmla="*/ 413301 h 1050628"/>
                <a:gd name="connsiteX772" fmla="*/ 753059 w 2449768"/>
                <a:gd name="connsiteY772" fmla="*/ 407225 h 1050628"/>
                <a:gd name="connsiteX773" fmla="*/ 759135 w 2449768"/>
                <a:gd name="connsiteY773" fmla="*/ 382920 h 1050628"/>
                <a:gd name="connsiteX774" fmla="*/ 770148 w 2449768"/>
                <a:gd name="connsiteY774" fmla="*/ 380262 h 1050628"/>
                <a:gd name="connsiteX775" fmla="*/ 2240571 w 2449768"/>
                <a:gd name="connsiteY775" fmla="*/ 352920 h 1050628"/>
                <a:gd name="connsiteX776" fmla="*/ 2253862 w 2449768"/>
                <a:gd name="connsiteY776" fmla="*/ 361654 h 1050628"/>
                <a:gd name="connsiteX777" fmla="*/ 2247786 w 2449768"/>
                <a:gd name="connsiteY777" fmla="*/ 385959 h 1050628"/>
                <a:gd name="connsiteX778" fmla="*/ 2223481 w 2449768"/>
                <a:gd name="connsiteY778" fmla="*/ 379883 h 1050628"/>
                <a:gd name="connsiteX779" fmla="*/ 2229557 w 2449768"/>
                <a:gd name="connsiteY779" fmla="*/ 355578 h 1050628"/>
                <a:gd name="connsiteX780" fmla="*/ 2240571 w 2449768"/>
                <a:gd name="connsiteY780" fmla="*/ 352920 h 1050628"/>
                <a:gd name="connsiteX781" fmla="*/ 2082590 w 2449768"/>
                <a:gd name="connsiteY781" fmla="*/ 352920 h 1050628"/>
                <a:gd name="connsiteX782" fmla="*/ 2095882 w 2449768"/>
                <a:gd name="connsiteY782" fmla="*/ 361654 h 1050628"/>
                <a:gd name="connsiteX783" fmla="*/ 2089806 w 2449768"/>
                <a:gd name="connsiteY783" fmla="*/ 385959 h 1050628"/>
                <a:gd name="connsiteX784" fmla="*/ 2065501 w 2449768"/>
                <a:gd name="connsiteY784" fmla="*/ 379883 h 1050628"/>
                <a:gd name="connsiteX785" fmla="*/ 2071577 w 2449768"/>
                <a:gd name="connsiteY785" fmla="*/ 355578 h 1050628"/>
                <a:gd name="connsiteX786" fmla="*/ 2082590 w 2449768"/>
                <a:gd name="connsiteY786" fmla="*/ 352920 h 1050628"/>
                <a:gd name="connsiteX787" fmla="*/ 1080030 w 2449768"/>
                <a:gd name="connsiteY787" fmla="*/ 337729 h 1050628"/>
                <a:gd name="connsiteX788" fmla="*/ 1093322 w 2449768"/>
                <a:gd name="connsiteY788" fmla="*/ 346463 h 1050628"/>
                <a:gd name="connsiteX789" fmla="*/ 1087246 w 2449768"/>
                <a:gd name="connsiteY789" fmla="*/ 370768 h 1050628"/>
                <a:gd name="connsiteX790" fmla="*/ 1062941 w 2449768"/>
                <a:gd name="connsiteY790" fmla="*/ 364692 h 1050628"/>
                <a:gd name="connsiteX791" fmla="*/ 1069017 w 2449768"/>
                <a:gd name="connsiteY791" fmla="*/ 340387 h 1050628"/>
                <a:gd name="connsiteX792" fmla="*/ 1080030 w 2449768"/>
                <a:gd name="connsiteY792" fmla="*/ 337729 h 1050628"/>
                <a:gd name="connsiteX793" fmla="*/ 1787899 w 2449768"/>
                <a:gd name="connsiteY793" fmla="*/ 331653 h 1050628"/>
                <a:gd name="connsiteX794" fmla="*/ 1801191 w 2449768"/>
                <a:gd name="connsiteY794" fmla="*/ 340387 h 1050628"/>
                <a:gd name="connsiteX795" fmla="*/ 1795115 w 2449768"/>
                <a:gd name="connsiteY795" fmla="*/ 364692 h 1050628"/>
                <a:gd name="connsiteX796" fmla="*/ 1770810 w 2449768"/>
                <a:gd name="connsiteY796" fmla="*/ 358616 h 1050628"/>
                <a:gd name="connsiteX797" fmla="*/ 1776886 w 2449768"/>
                <a:gd name="connsiteY797" fmla="*/ 334311 h 1050628"/>
                <a:gd name="connsiteX798" fmla="*/ 1787899 w 2449768"/>
                <a:gd name="connsiteY798" fmla="*/ 331653 h 1050628"/>
                <a:gd name="connsiteX799" fmla="*/ 1879040 w 2449768"/>
                <a:gd name="connsiteY799" fmla="*/ 328615 h 1050628"/>
                <a:gd name="connsiteX800" fmla="*/ 1892332 w 2449768"/>
                <a:gd name="connsiteY800" fmla="*/ 337349 h 1050628"/>
                <a:gd name="connsiteX801" fmla="*/ 1886256 w 2449768"/>
                <a:gd name="connsiteY801" fmla="*/ 361654 h 1050628"/>
                <a:gd name="connsiteX802" fmla="*/ 1861951 w 2449768"/>
                <a:gd name="connsiteY802" fmla="*/ 355578 h 1050628"/>
                <a:gd name="connsiteX803" fmla="*/ 1868027 w 2449768"/>
                <a:gd name="connsiteY803" fmla="*/ 331273 h 1050628"/>
                <a:gd name="connsiteX804" fmla="*/ 1879040 w 2449768"/>
                <a:gd name="connsiteY804" fmla="*/ 328615 h 1050628"/>
                <a:gd name="connsiteX805" fmla="*/ 1265352 w 2449768"/>
                <a:gd name="connsiteY805" fmla="*/ 325577 h 1050628"/>
                <a:gd name="connsiteX806" fmla="*/ 1278644 w 2449768"/>
                <a:gd name="connsiteY806" fmla="*/ 334311 h 1050628"/>
                <a:gd name="connsiteX807" fmla="*/ 1272568 w 2449768"/>
                <a:gd name="connsiteY807" fmla="*/ 358616 h 1050628"/>
                <a:gd name="connsiteX808" fmla="*/ 1248263 w 2449768"/>
                <a:gd name="connsiteY808" fmla="*/ 352540 h 1050628"/>
                <a:gd name="connsiteX809" fmla="*/ 1254339 w 2449768"/>
                <a:gd name="connsiteY809" fmla="*/ 328235 h 1050628"/>
                <a:gd name="connsiteX810" fmla="*/ 1265352 w 2449768"/>
                <a:gd name="connsiteY810" fmla="*/ 325577 h 1050628"/>
                <a:gd name="connsiteX811" fmla="*/ 864328 w 2449768"/>
                <a:gd name="connsiteY811" fmla="*/ 319501 h 1050628"/>
                <a:gd name="connsiteX812" fmla="*/ 877620 w 2449768"/>
                <a:gd name="connsiteY812" fmla="*/ 328235 h 1050628"/>
                <a:gd name="connsiteX813" fmla="*/ 871544 w 2449768"/>
                <a:gd name="connsiteY813" fmla="*/ 352540 h 1050628"/>
                <a:gd name="connsiteX814" fmla="*/ 847239 w 2449768"/>
                <a:gd name="connsiteY814" fmla="*/ 346464 h 1050628"/>
                <a:gd name="connsiteX815" fmla="*/ 853315 w 2449768"/>
                <a:gd name="connsiteY815" fmla="*/ 322159 h 1050628"/>
                <a:gd name="connsiteX816" fmla="*/ 864328 w 2449768"/>
                <a:gd name="connsiteY816" fmla="*/ 319501 h 1050628"/>
                <a:gd name="connsiteX817" fmla="*/ 1459788 w 2449768"/>
                <a:gd name="connsiteY817" fmla="*/ 316463 h 1050628"/>
                <a:gd name="connsiteX818" fmla="*/ 1473080 w 2449768"/>
                <a:gd name="connsiteY818" fmla="*/ 325197 h 1050628"/>
                <a:gd name="connsiteX819" fmla="*/ 1467004 w 2449768"/>
                <a:gd name="connsiteY819" fmla="*/ 349502 h 1050628"/>
                <a:gd name="connsiteX820" fmla="*/ 1442699 w 2449768"/>
                <a:gd name="connsiteY820" fmla="*/ 343426 h 1050628"/>
                <a:gd name="connsiteX821" fmla="*/ 1448775 w 2449768"/>
                <a:gd name="connsiteY821" fmla="*/ 319121 h 1050628"/>
                <a:gd name="connsiteX822" fmla="*/ 1459788 w 2449768"/>
                <a:gd name="connsiteY822" fmla="*/ 316463 h 1050628"/>
                <a:gd name="connsiteX823" fmla="*/ 1702833 w 2449768"/>
                <a:gd name="connsiteY823" fmla="*/ 310387 h 1050628"/>
                <a:gd name="connsiteX824" fmla="*/ 1716125 w 2449768"/>
                <a:gd name="connsiteY824" fmla="*/ 319121 h 1050628"/>
                <a:gd name="connsiteX825" fmla="*/ 1710049 w 2449768"/>
                <a:gd name="connsiteY825" fmla="*/ 343426 h 1050628"/>
                <a:gd name="connsiteX826" fmla="*/ 1685744 w 2449768"/>
                <a:gd name="connsiteY826" fmla="*/ 337350 h 1050628"/>
                <a:gd name="connsiteX827" fmla="*/ 1691820 w 2449768"/>
                <a:gd name="connsiteY827" fmla="*/ 313045 h 1050628"/>
                <a:gd name="connsiteX828" fmla="*/ 1702833 w 2449768"/>
                <a:gd name="connsiteY828" fmla="*/ 310387 h 1050628"/>
                <a:gd name="connsiteX829" fmla="*/ 1577893 w 2449768"/>
                <a:gd name="connsiteY829" fmla="*/ 297095 h 1050628"/>
                <a:gd name="connsiteX830" fmla="*/ 1591565 w 2449768"/>
                <a:gd name="connsiteY830" fmla="*/ 306969 h 1050628"/>
                <a:gd name="connsiteX831" fmla="*/ 1585489 w 2449768"/>
                <a:gd name="connsiteY831" fmla="*/ 331274 h 1050628"/>
                <a:gd name="connsiteX832" fmla="*/ 1561184 w 2449768"/>
                <a:gd name="connsiteY832" fmla="*/ 325198 h 1050628"/>
                <a:gd name="connsiteX833" fmla="*/ 1564222 w 2449768"/>
                <a:gd name="connsiteY833" fmla="*/ 300893 h 1050628"/>
                <a:gd name="connsiteX834" fmla="*/ 1577893 w 2449768"/>
                <a:gd name="connsiteY834" fmla="*/ 297095 h 1050628"/>
                <a:gd name="connsiteX835" fmla="*/ 955470 w 2449768"/>
                <a:gd name="connsiteY835" fmla="*/ 295196 h 1050628"/>
                <a:gd name="connsiteX836" fmla="*/ 968762 w 2449768"/>
                <a:gd name="connsiteY836" fmla="*/ 303930 h 1050628"/>
                <a:gd name="connsiteX837" fmla="*/ 962686 w 2449768"/>
                <a:gd name="connsiteY837" fmla="*/ 328235 h 1050628"/>
                <a:gd name="connsiteX838" fmla="*/ 938381 w 2449768"/>
                <a:gd name="connsiteY838" fmla="*/ 322159 h 1050628"/>
                <a:gd name="connsiteX839" fmla="*/ 944457 w 2449768"/>
                <a:gd name="connsiteY839" fmla="*/ 297854 h 1050628"/>
                <a:gd name="connsiteX840" fmla="*/ 955470 w 2449768"/>
                <a:gd name="connsiteY840" fmla="*/ 295196 h 1050628"/>
                <a:gd name="connsiteX841" fmla="*/ 1365608 w 2449768"/>
                <a:gd name="connsiteY841" fmla="*/ 283044 h 1050628"/>
                <a:gd name="connsiteX842" fmla="*/ 1378900 w 2449768"/>
                <a:gd name="connsiteY842" fmla="*/ 291778 h 1050628"/>
                <a:gd name="connsiteX843" fmla="*/ 1372824 w 2449768"/>
                <a:gd name="connsiteY843" fmla="*/ 316083 h 1050628"/>
                <a:gd name="connsiteX844" fmla="*/ 1348519 w 2449768"/>
                <a:gd name="connsiteY844" fmla="*/ 310007 h 1050628"/>
                <a:gd name="connsiteX845" fmla="*/ 1354595 w 2449768"/>
                <a:gd name="connsiteY845" fmla="*/ 285702 h 1050628"/>
                <a:gd name="connsiteX846" fmla="*/ 1365608 w 2449768"/>
                <a:gd name="connsiteY846" fmla="*/ 283044 h 1050628"/>
                <a:gd name="connsiteX847" fmla="*/ 1979296 w 2449768"/>
                <a:gd name="connsiteY847" fmla="*/ 267854 h 1050628"/>
                <a:gd name="connsiteX848" fmla="*/ 1992588 w 2449768"/>
                <a:gd name="connsiteY848" fmla="*/ 276588 h 1050628"/>
                <a:gd name="connsiteX849" fmla="*/ 1986512 w 2449768"/>
                <a:gd name="connsiteY849" fmla="*/ 300893 h 1050628"/>
                <a:gd name="connsiteX850" fmla="*/ 1962207 w 2449768"/>
                <a:gd name="connsiteY850" fmla="*/ 294817 h 1050628"/>
                <a:gd name="connsiteX851" fmla="*/ 1968283 w 2449768"/>
                <a:gd name="connsiteY851" fmla="*/ 270512 h 1050628"/>
                <a:gd name="connsiteX852" fmla="*/ 1979296 w 2449768"/>
                <a:gd name="connsiteY852" fmla="*/ 267854 h 1050628"/>
                <a:gd name="connsiteX853" fmla="*/ 1173830 w 2449768"/>
                <a:gd name="connsiteY853" fmla="*/ 266714 h 1050628"/>
                <a:gd name="connsiteX854" fmla="*/ 1187502 w 2449768"/>
                <a:gd name="connsiteY854" fmla="*/ 276588 h 1050628"/>
                <a:gd name="connsiteX855" fmla="*/ 1181425 w 2449768"/>
                <a:gd name="connsiteY855" fmla="*/ 300893 h 1050628"/>
                <a:gd name="connsiteX856" fmla="*/ 1157121 w 2449768"/>
                <a:gd name="connsiteY856" fmla="*/ 294817 h 1050628"/>
                <a:gd name="connsiteX857" fmla="*/ 1160159 w 2449768"/>
                <a:gd name="connsiteY857" fmla="*/ 270512 h 1050628"/>
                <a:gd name="connsiteX858" fmla="*/ 1173830 w 2449768"/>
                <a:gd name="connsiteY858" fmla="*/ 266714 h 1050628"/>
                <a:gd name="connsiteX859" fmla="*/ 2167656 w 2449768"/>
                <a:gd name="connsiteY859" fmla="*/ 246587 h 1050628"/>
                <a:gd name="connsiteX860" fmla="*/ 2180948 w 2449768"/>
                <a:gd name="connsiteY860" fmla="*/ 255321 h 1050628"/>
                <a:gd name="connsiteX861" fmla="*/ 2174872 w 2449768"/>
                <a:gd name="connsiteY861" fmla="*/ 279626 h 1050628"/>
                <a:gd name="connsiteX862" fmla="*/ 2150567 w 2449768"/>
                <a:gd name="connsiteY862" fmla="*/ 273550 h 1050628"/>
                <a:gd name="connsiteX863" fmla="*/ 2156643 w 2449768"/>
                <a:gd name="connsiteY863" fmla="*/ 249245 h 1050628"/>
                <a:gd name="connsiteX864" fmla="*/ 2167656 w 2449768"/>
                <a:gd name="connsiteY864" fmla="*/ 246587 h 1050628"/>
                <a:gd name="connsiteX865" fmla="*/ 2073477 w 2449768"/>
                <a:gd name="connsiteY865" fmla="*/ 240511 h 1050628"/>
                <a:gd name="connsiteX866" fmla="*/ 2086768 w 2449768"/>
                <a:gd name="connsiteY866" fmla="*/ 249245 h 1050628"/>
                <a:gd name="connsiteX867" fmla="*/ 2080692 w 2449768"/>
                <a:gd name="connsiteY867" fmla="*/ 273550 h 1050628"/>
                <a:gd name="connsiteX868" fmla="*/ 2056387 w 2449768"/>
                <a:gd name="connsiteY868" fmla="*/ 267474 h 1050628"/>
                <a:gd name="connsiteX869" fmla="*/ 2062463 w 2449768"/>
                <a:gd name="connsiteY869" fmla="*/ 243169 h 1050628"/>
                <a:gd name="connsiteX870" fmla="*/ 2073477 w 2449768"/>
                <a:gd name="connsiteY870" fmla="*/ 240511 h 1050628"/>
                <a:gd name="connsiteX871" fmla="*/ 1505359 w 2449768"/>
                <a:gd name="connsiteY871" fmla="*/ 222283 h 1050628"/>
                <a:gd name="connsiteX872" fmla="*/ 1518651 w 2449768"/>
                <a:gd name="connsiteY872" fmla="*/ 231017 h 1050628"/>
                <a:gd name="connsiteX873" fmla="*/ 1512575 w 2449768"/>
                <a:gd name="connsiteY873" fmla="*/ 255322 h 1050628"/>
                <a:gd name="connsiteX874" fmla="*/ 1488270 w 2449768"/>
                <a:gd name="connsiteY874" fmla="*/ 249246 h 1050628"/>
                <a:gd name="connsiteX875" fmla="*/ 1494346 w 2449768"/>
                <a:gd name="connsiteY875" fmla="*/ 224941 h 1050628"/>
                <a:gd name="connsiteX876" fmla="*/ 1505359 w 2449768"/>
                <a:gd name="connsiteY876" fmla="*/ 222283 h 1050628"/>
                <a:gd name="connsiteX877" fmla="*/ 1007117 w 2449768"/>
                <a:gd name="connsiteY877" fmla="*/ 222283 h 1050628"/>
                <a:gd name="connsiteX878" fmla="*/ 1020409 w 2449768"/>
                <a:gd name="connsiteY878" fmla="*/ 231017 h 1050628"/>
                <a:gd name="connsiteX879" fmla="*/ 1014333 w 2449768"/>
                <a:gd name="connsiteY879" fmla="*/ 255322 h 1050628"/>
                <a:gd name="connsiteX880" fmla="*/ 990028 w 2449768"/>
                <a:gd name="connsiteY880" fmla="*/ 249246 h 1050628"/>
                <a:gd name="connsiteX881" fmla="*/ 996104 w 2449768"/>
                <a:gd name="connsiteY881" fmla="*/ 224941 h 1050628"/>
                <a:gd name="connsiteX882" fmla="*/ 1007117 w 2449768"/>
                <a:gd name="connsiteY882" fmla="*/ 222283 h 1050628"/>
                <a:gd name="connsiteX883" fmla="*/ 1298771 w 2449768"/>
                <a:gd name="connsiteY883" fmla="*/ 210131 h 1050628"/>
                <a:gd name="connsiteX884" fmla="*/ 1312063 w 2449768"/>
                <a:gd name="connsiteY884" fmla="*/ 218865 h 1050628"/>
                <a:gd name="connsiteX885" fmla="*/ 1305987 w 2449768"/>
                <a:gd name="connsiteY885" fmla="*/ 243170 h 1050628"/>
                <a:gd name="connsiteX886" fmla="*/ 1281682 w 2449768"/>
                <a:gd name="connsiteY886" fmla="*/ 237094 h 1050628"/>
                <a:gd name="connsiteX887" fmla="*/ 1287758 w 2449768"/>
                <a:gd name="connsiteY887" fmla="*/ 212789 h 1050628"/>
                <a:gd name="connsiteX888" fmla="*/ 1298771 w 2449768"/>
                <a:gd name="connsiteY888" fmla="*/ 210131 h 1050628"/>
                <a:gd name="connsiteX889" fmla="*/ 1881700 w 2449768"/>
                <a:gd name="connsiteY889" fmla="*/ 207472 h 1050628"/>
                <a:gd name="connsiteX890" fmla="*/ 1895371 w 2449768"/>
                <a:gd name="connsiteY890" fmla="*/ 218865 h 1050628"/>
                <a:gd name="connsiteX891" fmla="*/ 1889295 w 2449768"/>
                <a:gd name="connsiteY891" fmla="*/ 243170 h 1050628"/>
                <a:gd name="connsiteX892" fmla="*/ 1864990 w 2449768"/>
                <a:gd name="connsiteY892" fmla="*/ 237094 h 1050628"/>
                <a:gd name="connsiteX893" fmla="*/ 1868028 w 2449768"/>
                <a:gd name="connsiteY893" fmla="*/ 209751 h 1050628"/>
                <a:gd name="connsiteX894" fmla="*/ 1881700 w 2449768"/>
                <a:gd name="connsiteY894" fmla="*/ 207472 h 1050628"/>
                <a:gd name="connsiteX895" fmla="*/ 1657262 w 2449768"/>
                <a:gd name="connsiteY895" fmla="*/ 207093 h 1050628"/>
                <a:gd name="connsiteX896" fmla="*/ 1670554 w 2449768"/>
                <a:gd name="connsiteY896" fmla="*/ 215827 h 1050628"/>
                <a:gd name="connsiteX897" fmla="*/ 1664478 w 2449768"/>
                <a:gd name="connsiteY897" fmla="*/ 240132 h 1050628"/>
                <a:gd name="connsiteX898" fmla="*/ 1637135 w 2449768"/>
                <a:gd name="connsiteY898" fmla="*/ 234056 h 1050628"/>
                <a:gd name="connsiteX899" fmla="*/ 1646249 w 2449768"/>
                <a:gd name="connsiteY899" fmla="*/ 209751 h 1050628"/>
                <a:gd name="connsiteX900" fmla="*/ 1657262 w 2449768"/>
                <a:gd name="connsiteY900" fmla="*/ 207093 h 1050628"/>
                <a:gd name="connsiteX901" fmla="*/ 1769671 w 2449768"/>
                <a:gd name="connsiteY901" fmla="*/ 201017 h 1050628"/>
                <a:gd name="connsiteX902" fmla="*/ 1782962 w 2449768"/>
                <a:gd name="connsiteY902" fmla="*/ 209751 h 1050628"/>
                <a:gd name="connsiteX903" fmla="*/ 1776886 w 2449768"/>
                <a:gd name="connsiteY903" fmla="*/ 234056 h 1050628"/>
                <a:gd name="connsiteX904" fmla="*/ 1752581 w 2449768"/>
                <a:gd name="connsiteY904" fmla="*/ 227980 h 1050628"/>
                <a:gd name="connsiteX905" fmla="*/ 1758657 w 2449768"/>
                <a:gd name="connsiteY905" fmla="*/ 203675 h 1050628"/>
                <a:gd name="connsiteX906" fmla="*/ 1769671 w 2449768"/>
                <a:gd name="connsiteY906" fmla="*/ 201017 h 1050628"/>
                <a:gd name="connsiteX907" fmla="*/ 1089145 w 2449768"/>
                <a:gd name="connsiteY907" fmla="*/ 197978 h 1050628"/>
                <a:gd name="connsiteX908" fmla="*/ 1102437 w 2449768"/>
                <a:gd name="connsiteY908" fmla="*/ 206712 h 1050628"/>
                <a:gd name="connsiteX909" fmla="*/ 1096361 w 2449768"/>
                <a:gd name="connsiteY909" fmla="*/ 231017 h 1050628"/>
                <a:gd name="connsiteX910" fmla="*/ 1072056 w 2449768"/>
                <a:gd name="connsiteY910" fmla="*/ 224941 h 1050628"/>
                <a:gd name="connsiteX911" fmla="*/ 1078132 w 2449768"/>
                <a:gd name="connsiteY911" fmla="*/ 200636 h 1050628"/>
                <a:gd name="connsiteX912" fmla="*/ 1089145 w 2449768"/>
                <a:gd name="connsiteY912" fmla="*/ 197978 h 1050628"/>
                <a:gd name="connsiteX913" fmla="*/ 1395989 w 2449768"/>
                <a:gd name="connsiteY913" fmla="*/ 161522 h 1050628"/>
                <a:gd name="connsiteX914" fmla="*/ 1409281 w 2449768"/>
                <a:gd name="connsiteY914" fmla="*/ 170256 h 1050628"/>
                <a:gd name="connsiteX915" fmla="*/ 1403205 w 2449768"/>
                <a:gd name="connsiteY915" fmla="*/ 194561 h 1050628"/>
                <a:gd name="connsiteX916" fmla="*/ 1378900 w 2449768"/>
                <a:gd name="connsiteY916" fmla="*/ 188485 h 1050628"/>
                <a:gd name="connsiteX917" fmla="*/ 1384976 w 2449768"/>
                <a:gd name="connsiteY917" fmla="*/ 164180 h 1050628"/>
                <a:gd name="connsiteX918" fmla="*/ 1395989 w 2449768"/>
                <a:gd name="connsiteY918" fmla="*/ 161522 h 1050628"/>
                <a:gd name="connsiteX919" fmla="*/ 1967145 w 2449768"/>
                <a:gd name="connsiteY919" fmla="*/ 140255 h 1050628"/>
                <a:gd name="connsiteX920" fmla="*/ 1980436 w 2449768"/>
                <a:gd name="connsiteY920" fmla="*/ 148989 h 1050628"/>
                <a:gd name="connsiteX921" fmla="*/ 1974360 w 2449768"/>
                <a:gd name="connsiteY921" fmla="*/ 173294 h 1050628"/>
                <a:gd name="connsiteX922" fmla="*/ 1950055 w 2449768"/>
                <a:gd name="connsiteY922" fmla="*/ 170256 h 1050628"/>
                <a:gd name="connsiteX923" fmla="*/ 1956131 w 2449768"/>
                <a:gd name="connsiteY923" fmla="*/ 142913 h 1050628"/>
                <a:gd name="connsiteX924" fmla="*/ 1967145 w 2449768"/>
                <a:gd name="connsiteY924" fmla="*/ 140255 h 1050628"/>
                <a:gd name="connsiteX925" fmla="*/ 1234971 w 2449768"/>
                <a:gd name="connsiteY925" fmla="*/ 131141 h 1050628"/>
                <a:gd name="connsiteX926" fmla="*/ 1248263 w 2449768"/>
                <a:gd name="connsiteY926" fmla="*/ 139875 h 1050628"/>
                <a:gd name="connsiteX927" fmla="*/ 1242187 w 2449768"/>
                <a:gd name="connsiteY927" fmla="*/ 164180 h 1050628"/>
                <a:gd name="connsiteX928" fmla="*/ 1217882 w 2449768"/>
                <a:gd name="connsiteY928" fmla="*/ 158104 h 1050628"/>
                <a:gd name="connsiteX929" fmla="*/ 1223958 w 2449768"/>
                <a:gd name="connsiteY929" fmla="*/ 133799 h 1050628"/>
                <a:gd name="connsiteX930" fmla="*/ 1234971 w 2449768"/>
                <a:gd name="connsiteY930" fmla="*/ 131141 h 1050628"/>
                <a:gd name="connsiteX931" fmla="*/ 1149906 w 2449768"/>
                <a:gd name="connsiteY931" fmla="*/ 131141 h 1050628"/>
                <a:gd name="connsiteX932" fmla="*/ 1163198 w 2449768"/>
                <a:gd name="connsiteY932" fmla="*/ 139875 h 1050628"/>
                <a:gd name="connsiteX933" fmla="*/ 1157122 w 2449768"/>
                <a:gd name="connsiteY933" fmla="*/ 164180 h 1050628"/>
                <a:gd name="connsiteX934" fmla="*/ 1132817 w 2449768"/>
                <a:gd name="connsiteY934" fmla="*/ 158104 h 1050628"/>
                <a:gd name="connsiteX935" fmla="*/ 1138893 w 2449768"/>
                <a:gd name="connsiteY935" fmla="*/ 133799 h 1050628"/>
                <a:gd name="connsiteX936" fmla="*/ 1149906 w 2449768"/>
                <a:gd name="connsiteY936" fmla="*/ 131141 h 1050628"/>
                <a:gd name="connsiteX937" fmla="*/ 2064362 w 2449768"/>
                <a:gd name="connsiteY937" fmla="*/ 128103 h 1050628"/>
                <a:gd name="connsiteX938" fmla="*/ 2077654 w 2449768"/>
                <a:gd name="connsiteY938" fmla="*/ 136837 h 1050628"/>
                <a:gd name="connsiteX939" fmla="*/ 2071578 w 2449768"/>
                <a:gd name="connsiteY939" fmla="*/ 161142 h 1050628"/>
                <a:gd name="connsiteX940" fmla="*/ 2047273 w 2449768"/>
                <a:gd name="connsiteY940" fmla="*/ 155066 h 1050628"/>
                <a:gd name="connsiteX941" fmla="*/ 2053349 w 2449768"/>
                <a:gd name="connsiteY941" fmla="*/ 130761 h 1050628"/>
                <a:gd name="connsiteX942" fmla="*/ 2064362 w 2449768"/>
                <a:gd name="connsiteY942" fmla="*/ 128103 h 1050628"/>
                <a:gd name="connsiteX943" fmla="*/ 1496245 w 2449768"/>
                <a:gd name="connsiteY943" fmla="*/ 120887 h 1050628"/>
                <a:gd name="connsiteX944" fmla="*/ 1509537 w 2449768"/>
                <a:gd name="connsiteY944" fmla="*/ 130761 h 1050628"/>
                <a:gd name="connsiteX945" fmla="*/ 1503461 w 2449768"/>
                <a:gd name="connsiteY945" fmla="*/ 155066 h 1050628"/>
                <a:gd name="connsiteX946" fmla="*/ 1479156 w 2449768"/>
                <a:gd name="connsiteY946" fmla="*/ 148990 h 1050628"/>
                <a:gd name="connsiteX947" fmla="*/ 1485232 w 2449768"/>
                <a:gd name="connsiteY947" fmla="*/ 124685 h 1050628"/>
                <a:gd name="connsiteX948" fmla="*/ 1496245 w 2449768"/>
                <a:gd name="connsiteY948" fmla="*/ 120887 h 1050628"/>
                <a:gd name="connsiteX949" fmla="*/ 1599539 w 2449768"/>
                <a:gd name="connsiteY949" fmla="*/ 112913 h 1050628"/>
                <a:gd name="connsiteX950" fmla="*/ 1612831 w 2449768"/>
                <a:gd name="connsiteY950" fmla="*/ 121647 h 1050628"/>
                <a:gd name="connsiteX951" fmla="*/ 1606754 w 2449768"/>
                <a:gd name="connsiteY951" fmla="*/ 145952 h 1050628"/>
                <a:gd name="connsiteX952" fmla="*/ 1582450 w 2449768"/>
                <a:gd name="connsiteY952" fmla="*/ 139876 h 1050628"/>
                <a:gd name="connsiteX953" fmla="*/ 1588526 w 2449768"/>
                <a:gd name="connsiteY953" fmla="*/ 115571 h 1050628"/>
                <a:gd name="connsiteX954" fmla="*/ 1599539 w 2449768"/>
                <a:gd name="connsiteY954" fmla="*/ 112913 h 1050628"/>
                <a:gd name="connsiteX955" fmla="*/ 1836508 w 2449768"/>
                <a:gd name="connsiteY955" fmla="*/ 109875 h 1050628"/>
                <a:gd name="connsiteX956" fmla="*/ 1849800 w 2449768"/>
                <a:gd name="connsiteY956" fmla="*/ 118609 h 1050628"/>
                <a:gd name="connsiteX957" fmla="*/ 1843724 w 2449768"/>
                <a:gd name="connsiteY957" fmla="*/ 142914 h 1050628"/>
                <a:gd name="connsiteX958" fmla="*/ 1819419 w 2449768"/>
                <a:gd name="connsiteY958" fmla="*/ 136838 h 1050628"/>
                <a:gd name="connsiteX959" fmla="*/ 1825495 w 2449768"/>
                <a:gd name="connsiteY959" fmla="*/ 112533 h 1050628"/>
                <a:gd name="connsiteX960" fmla="*/ 1836508 w 2449768"/>
                <a:gd name="connsiteY960" fmla="*/ 109875 h 1050628"/>
                <a:gd name="connsiteX961" fmla="*/ 1708529 w 2449768"/>
                <a:gd name="connsiteY961" fmla="*/ 106837 h 1050628"/>
                <a:gd name="connsiteX962" fmla="*/ 1722201 w 2449768"/>
                <a:gd name="connsiteY962" fmla="*/ 115571 h 1050628"/>
                <a:gd name="connsiteX963" fmla="*/ 1716124 w 2449768"/>
                <a:gd name="connsiteY963" fmla="*/ 139876 h 1050628"/>
                <a:gd name="connsiteX964" fmla="*/ 1691820 w 2449768"/>
                <a:gd name="connsiteY964" fmla="*/ 133800 h 1050628"/>
                <a:gd name="connsiteX965" fmla="*/ 1694858 w 2449768"/>
                <a:gd name="connsiteY965" fmla="*/ 109495 h 1050628"/>
                <a:gd name="connsiteX966" fmla="*/ 1708529 w 2449768"/>
                <a:gd name="connsiteY966" fmla="*/ 106837 h 1050628"/>
                <a:gd name="connsiteX967" fmla="*/ 1301429 w 2449768"/>
                <a:gd name="connsiteY967" fmla="*/ 60126 h 1050628"/>
                <a:gd name="connsiteX968" fmla="*/ 1315101 w 2449768"/>
                <a:gd name="connsiteY968" fmla="*/ 70000 h 1050628"/>
                <a:gd name="connsiteX969" fmla="*/ 1309024 w 2449768"/>
                <a:gd name="connsiteY969" fmla="*/ 94305 h 1050628"/>
                <a:gd name="connsiteX970" fmla="*/ 1284720 w 2449768"/>
                <a:gd name="connsiteY970" fmla="*/ 88229 h 1050628"/>
                <a:gd name="connsiteX971" fmla="*/ 1287758 w 2449768"/>
                <a:gd name="connsiteY971" fmla="*/ 63924 h 1050628"/>
                <a:gd name="connsiteX972" fmla="*/ 1301429 w 2449768"/>
                <a:gd name="connsiteY972" fmla="*/ 60126 h 1050628"/>
                <a:gd name="connsiteX973" fmla="*/ 1930687 w 2449768"/>
                <a:gd name="connsiteY973" fmla="*/ 49113 h 1050628"/>
                <a:gd name="connsiteX974" fmla="*/ 1943979 w 2449768"/>
                <a:gd name="connsiteY974" fmla="*/ 57847 h 1050628"/>
                <a:gd name="connsiteX975" fmla="*/ 1937903 w 2449768"/>
                <a:gd name="connsiteY975" fmla="*/ 82152 h 1050628"/>
                <a:gd name="connsiteX976" fmla="*/ 1913598 w 2449768"/>
                <a:gd name="connsiteY976" fmla="*/ 76076 h 1050628"/>
                <a:gd name="connsiteX977" fmla="*/ 1919674 w 2449768"/>
                <a:gd name="connsiteY977" fmla="*/ 51771 h 1050628"/>
                <a:gd name="connsiteX978" fmla="*/ 1930687 w 2449768"/>
                <a:gd name="connsiteY978" fmla="*/ 49113 h 1050628"/>
                <a:gd name="connsiteX979" fmla="*/ 1402065 w 2449768"/>
                <a:gd name="connsiteY979" fmla="*/ 43037 h 1050628"/>
                <a:gd name="connsiteX980" fmla="*/ 1415357 w 2449768"/>
                <a:gd name="connsiteY980" fmla="*/ 51771 h 1050628"/>
                <a:gd name="connsiteX981" fmla="*/ 1409281 w 2449768"/>
                <a:gd name="connsiteY981" fmla="*/ 76076 h 1050628"/>
                <a:gd name="connsiteX982" fmla="*/ 1384976 w 2449768"/>
                <a:gd name="connsiteY982" fmla="*/ 70000 h 1050628"/>
                <a:gd name="connsiteX983" fmla="*/ 1391052 w 2449768"/>
                <a:gd name="connsiteY983" fmla="*/ 45695 h 1050628"/>
                <a:gd name="connsiteX984" fmla="*/ 1402065 w 2449768"/>
                <a:gd name="connsiteY984" fmla="*/ 43037 h 1050628"/>
                <a:gd name="connsiteX985" fmla="*/ 1806127 w 2449768"/>
                <a:gd name="connsiteY985" fmla="*/ 15695 h 1050628"/>
                <a:gd name="connsiteX986" fmla="*/ 1819419 w 2449768"/>
                <a:gd name="connsiteY986" fmla="*/ 24429 h 1050628"/>
                <a:gd name="connsiteX987" fmla="*/ 1813343 w 2449768"/>
                <a:gd name="connsiteY987" fmla="*/ 48734 h 1050628"/>
                <a:gd name="connsiteX988" fmla="*/ 1789038 w 2449768"/>
                <a:gd name="connsiteY988" fmla="*/ 42658 h 1050628"/>
                <a:gd name="connsiteX989" fmla="*/ 1795114 w 2449768"/>
                <a:gd name="connsiteY989" fmla="*/ 18353 h 1050628"/>
                <a:gd name="connsiteX990" fmla="*/ 1806127 w 2449768"/>
                <a:gd name="connsiteY990" fmla="*/ 15695 h 1050628"/>
                <a:gd name="connsiteX991" fmla="*/ 1499283 w 2449768"/>
                <a:gd name="connsiteY991" fmla="*/ 9619 h 1050628"/>
                <a:gd name="connsiteX992" fmla="*/ 1512575 w 2449768"/>
                <a:gd name="connsiteY992" fmla="*/ 18353 h 1050628"/>
                <a:gd name="connsiteX993" fmla="*/ 1506499 w 2449768"/>
                <a:gd name="connsiteY993" fmla="*/ 45696 h 1050628"/>
                <a:gd name="connsiteX994" fmla="*/ 1482194 w 2449768"/>
                <a:gd name="connsiteY994" fmla="*/ 39620 h 1050628"/>
                <a:gd name="connsiteX995" fmla="*/ 1488270 w 2449768"/>
                <a:gd name="connsiteY995" fmla="*/ 12277 h 1050628"/>
                <a:gd name="connsiteX996" fmla="*/ 1499283 w 2449768"/>
                <a:gd name="connsiteY996" fmla="*/ 9619 h 1050628"/>
                <a:gd name="connsiteX997" fmla="*/ 1699795 w 2449768"/>
                <a:gd name="connsiteY997" fmla="*/ 3543 h 1050628"/>
                <a:gd name="connsiteX998" fmla="*/ 1713087 w 2449768"/>
                <a:gd name="connsiteY998" fmla="*/ 12277 h 1050628"/>
                <a:gd name="connsiteX999" fmla="*/ 1707011 w 2449768"/>
                <a:gd name="connsiteY999" fmla="*/ 36582 h 1050628"/>
                <a:gd name="connsiteX1000" fmla="*/ 1682706 w 2449768"/>
                <a:gd name="connsiteY1000" fmla="*/ 30506 h 1050628"/>
                <a:gd name="connsiteX1001" fmla="*/ 1688782 w 2449768"/>
                <a:gd name="connsiteY1001" fmla="*/ 6201 h 1050628"/>
                <a:gd name="connsiteX1002" fmla="*/ 1699795 w 2449768"/>
                <a:gd name="connsiteY1002" fmla="*/ 3543 h 1050628"/>
                <a:gd name="connsiteX1003" fmla="*/ 1599539 w 2449768"/>
                <a:gd name="connsiteY1003" fmla="*/ 504 h 1050628"/>
                <a:gd name="connsiteX1004" fmla="*/ 1612831 w 2449768"/>
                <a:gd name="connsiteY1004" fmla="*/ 9238 h 1050628"/>
                <a:gd name="connsiteX1005" fmla="*/ 1606754 w 2449768"/>
                <a:gd name="connsiteY1005" fmla="*/ 33543 h 1050628"/>
                <a:gd name="connsiteX1006" fmla="*/ 1582450 w 2449768"/>
                <a:gd name="connsiteY1006" fmla="*/ 27467 h 1050628"/>
                <a:gd name="connsiteX1007" fmla="*/ 1588526 w 2449768"/>
                <a:gd name="connsiteY1007" fmla="*/ 3162 h 1050628"/>
                <a:gd name="connsiteX1008" fmla="*/ 1599539 w 2449768"/>
                <a:gd name="connsiteY1008" fmla="*/ 504 h 1050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Lst>
              <a:rect l="l" t="t" r="r" b="b"/>
              <a:pathLst>
                <a:path w="2449768" h="1050628">
                  <a:moveTo>
                    <a:pt x="1553968" y="1045598"/>
                  </a:moveTo>
                  <a:lnTo>
                    <a:pt x="1561623" y="1050628"/>
                  </a:lnTo>
                  <a:lnTo>
                    <a:pt x="1540857" y="1050628"/>
                  </a:lnTo>
                  <a:lnTo>
                    <a:pt x="1542955" y="1048256"/>
                  </a:lnTo>
                  <a:cubicBezTo>
                    <a:pt x="1545993" y="1045218"/>
                    <a:pt x="1549791" y="1044458"/>
                    <a:pt x="1553968" y="1045598"/>
                  </a:cubicBezTo>
                  <a:close/>
                  <a:moveTo>
                    <a:pt x="490647" y="1036483"/>
                  </a:moveTo>
                  <a:cubicBezTo>
                    <a:pt x="494825" y="1037622"/>
                    <a:pt x="499382" y="1040660"/>
                    <a:pt x="503939" y="1045217"/>
                  </a:cubicBezTo>
                  <a:lnTo>
                    <a:pt x="505485" y="1050628"/>
                  </a:lnTo>
                  <a:lnTo>
                    <a:pt x="470645" y="1050628"/>
                  </a:lnTo>
                  <a:lnTo>
                    <a:pt x="469761" y="1046736"/>
                  </a:lnTo>
                  <a:cubicBezTo>
                    <a:pt x="470520" y="1042939"/>
                    <a:pt x="473558" y="1040660"/>
                    <a:pt x="479634" y="1039141"/>
                  </a:cubicBezTo>
                  <a:cubicBezTo>
                    <a:pt x="482672" y="1036103"/>
                    <a:pt x="486470" y="1035343"/>
                    <a:pt x="490647" y="1036483"/>
                  </a:cubicBezTo>
                  <a:close/>
                  <a:moveTo>
                    <a:pt x="326591" y="1030407"/>
                  </a:moveTo>
                  <a:cubicBezTo>
                    <a:pt x="330769" y="1031546"/>
                    <a:pt x="335326" y="1034584"/>
                    <a:pt x="339883" y="1039141"/>
                  </a:cubicBezTo>
                  <a:lnTo>
                    <a:pt x="341999" y="1050628"/>
                  </a:lnTo>
                  <a:lnTo>
                    <a:pt x="308260" y="1050628"/>
                  </a:lnTo>
                  <a:lnTo>
                    <a:pt x="306844" y="1042939"/>
                  </a:lnTo>
                  <a:cubicBezTo>
                    <a:pt x="307983" y="1039141"/>
                    <a:pt x="311021" y="1036103"/>
                    <a:pt x="315578" y="1033065"/>
                  </a:cubicBezTo>
                  <a:cubicBezTo>
                    <a:pt x="318616" y="1030027"/>
                    <a:pt x="322414" y="1029267"/>
                    <a:pt x="326591" y="1030407"/>
                  </a:cubicBezTo>
                  <a:close/>
                  <a:moveTo>
                    <a:pt x="20886" y="1026229"/>
                  </a:moveTo>
                  <a:cubicBezTo>
                    <a:pt x="24684" y="1026989"/>
                    <a:pt x="28482" y="1030027"/>
                    <a:pt x="33039" y="1036103"/>
                  </a:cubicBezTo>
                  <a:cubicBezTo>
                    <a:pt x="37596" y="1040660"/>
                    <a:pt x="38356" y="1045218"/>
                    <a:pt x="36837" y="1049395"/>
                  </a:cubicBezTo>
                  <a:lnTo>
                    <a:pt x="35731" y="1050628"/>
                  </a:lnTo>
                  <a:lnTo>
                    <a:pt x="1976" y="1050628"/>
                  </a:lnTo>
                  <a:lnTo>
                    <a:pt x="0" y="1039901"/>
                  </a:lnTo>
                  <a:cubicBezTo>
                    <a:pt x="1139" y="1036103"/>
                    <a:pt x="4177" y="1033065"/>
                    <a:pt x="8734" y="1030027"/>
                  </a:cubicBezTo>
                  <a:cubicBezTo>
                    <a:pt x="13291" y="1026989"/>
                    <a:pt x="17089" y="1025470"/>
                    <a:pt x="20886" y="1026229"/>
                  </a:cubicBezTo>
                  <a:close/>
                  <a:moveTo>
                    <a:pt x="2100819" y="1024331"/>
                  </a:moveTo>
                  <a:cubicBezTo>
                    <a:pt x="2104997" y="1025470"/>
                    <a:pt x="2109554" y="1028508"/>
                    <a:pt x="2114111" y="1033065"/>
                  </a:cubicBezTo>
                  <a:cubicBezTo>
                    <a:pt x="2118668" y="1037622"/>
                    <a:pt x="2119428" y="1042180"/>
                    <a:pt x="2117909" y="1046357"/>
                  </a:cubicBezTo>
                  <a:lnTo>
                    <a:pt x="2114079" y="1050628"/>
                  </a:lnTo>
                  <a:lnTo>
                    <a:pt x="2083616" y="1050628"/>
                  </a:lnTo>
                  <a:lnTo>
                    <a:pt x="2081072" y="1035724"/>
                  </a:lnTo>
                  <a:cubicBezTo>
                    <a:pt x="2082211" y="1031546"/>
                    <a:pt x="2085249" y="1028508"/>
                    <a:pt x="2089806" y="1026989"/>
                  </a:cubicBezTo>
                  <a:cubicBezTo>
                    <a:pt x="2092844" y="1023951"/>
                    <a:pt x="2096642" y="1023191"/>
                    <a:pt x="2100819" y="1024331"/>
                  </a:cubicBezTo>
                  <a:close/>
                  <a:moveTo>
                    <a:pt x="1192439" y="1024331"/>
                  </a:moveTo>
                  <a:cubicBezTo>
                    <a:pt x="1196617" y="1025470"/>
                    <a:pt x="1201174" y="1028508"/>
                    <a:pt x="1205731" y="1033065"/>
                  </a:cubicBezTo>
                  <a:cubicBezTo>
                    <a:pt x="1210288" y="1037622"/>
                    <a:pt x="1211048" y="1042180"/>
                    <a:pt x="1209529" y="1046357"/>
                  </a:cubicBezTo>
                  <a:lnTo>
                    <a:pt x="1205699" y="1050628"/>
                  </a:lnTo>
                  <a:lnTo>
                    <a:pt x="1175227" y="1050628"/>
                  </a:lnTo>
                  <a:lnTo>
                    <a:pt x="1172692" y="1036863"/>
                  </a:lnTo>
                  <a:cubicBezTo>
                    <a:pt x="1173831" y="1033065"/>
                    <a:pt x="1176869" y="1030027"/>
                    <a:pt x="1181426" y="1026989"/>
                  </a:cubicBezTo>
                  <a:cubicBezTo>
                    <a:pt x="1184464" y="1023951"/>
                    <a:pt x="1188262" y="1023191"/>
                    <a:pt x="1192439" y="1024331"/>
                  </a:cubicBezTo>
                  <a:close/>
                  <a:moveTo>
                    <a:pt x="788376" y="1024331"/>
                  </a:moveTo>
                  <a:cubicBezTo>
                    <a:pt x="792554" y="1025470"/>
                    <a:pt x="797111" y="1028508"/>
                    <a:pt x="801668" y="1033065"/>
                  </a:cubicBezTo>
                  <a:cubicBezTo>
                    <a:pt x="806225" y="1037622"/>
                    <a:pt x="806985" y="1042180"/>
                    <a:pt x="805466" y="1046357"/>
                  </a:cubicBezTo>
                  <a:lnTo>
                    <a:pt x="801636" y="1050628"/>
                  </a:lnTo>
                  <a:lnTo>
                    <a:pt x="771181" y="1050628"/>
                  </a:lnTo>
                  <a:lnTo>
                    <a:pt x="768629" y="1034584"/>
                  </a:lnTo>
                  <a:cubicBezTo>
                    <a:pt x="769768" y="1030787"/>
                    <a:pt x="772806" y="1028508"/>
                    <a:pt x="777363" y="1026989"/>
                  </a:cubicBezTo>
                  <a:cubicBezTo>
                    <a:pt x="780401" y="1023951"/>
                    <a:pt x="784199" y="1023191"/>
                    <a:pt x="788376" y="1024331"/>
                  </a:cubicBezTo>
                  <a:close/>
                  <a:moveTo>
                    <a:pt x="138231" y="1024331"/>
                  </a:moveTo>
                  <a:cubicBezTo>
                    <a:pt x="142409" y="1025470"/>
                    <a:pt x="146966" y="1028508"/>
                    <a:pt x="151523" y="1033065"/>
                  </a:cubicBezTo>
                  <a:cubicBezTo>
                    <a:pt x="156080" y="1037622"/>
                    <a:pt x="156080" y="1042939"/>
                    <a:pt x="154181" y="1047496"/>
                  </a:cubicBezTo>
                  <a:lnTo>
                    <a:pt x="151411" y="1050628"/>
                  </a:lnTo>
                  <a:lnTo>
                    <a:pt x="121019" y="1050628"/>
                  </a:lnTo>
                  <a:lnTo>
                    <a:pt x="118484" y="1036863"/>
                  </a:lnTo>
                  <a:cubicBezTo>
                    <a:pt x="119623" y="1033065"/>
                    <a:pt x="122661" y="1030027"/>
                    <a:pt x="127218" y="1026989"/>
                  </a:cubicBezTo>
                  <a:cubicBezTo>
                    <a:pt x="130256" y="1023951"/>
                    <a:pt x="134054" y="1023191"/>
                    <a:pt x="138231" y="1024331"/>
                  </a:cubicBezTo>
                  <a:close/>
                  <a:moveTo>
                    <a:pt x="894709" y="1021293"/>
                  </a:moveTo>
                  <a:cubicBezTo>
                    <a:pt x="898887" y="1022432"/>
                    <a:pt x="903444" y="1025470"/>
                    <a:pt x="908001" y="1030027"/>
                  </a:cubicBezTo>
                  <a:cubicBezTo>
                    <a:pt x="912558" y="1034584"/>
                    <a:pt x="913318" y="1039142"/>
                    <a:pt x="911799" y="1043319"/>
                  </a:cubicBezTo>
                  <a:lnTo>
                    <a:pt x="905246" y="1050628"/>
                  </a:lnTo>
                  <a:lnTo>
                    <a:pt x="880920" y="1050628"/>
                  </a:lnTo>
                  <a:lnTo>
                    <a:pt x="877620" y="1048256"/>
                  </a:lnTo>
                  <a:cubicBezTo>
                    <a:pt x="871544" y="1033065"/>
                    <a:pt x="871544" y="1026989"/>
                    <a:pt x="883696" y="1023951"/>
                  </a:cubicBezTo>
                  <a:cubicBezTo>
                    <a:pt x="886734" y="1020913"/>
                    <a:pt x="890532" y="1020153"/>
                    <a:pt x="894709" y="1021293"/>
                  </a:cubicBezTo>
                  <a:close/>
                  <a:moveTo>
                    <a:pt x="694197" y="1021293"/>
                  </a:moveTo>
                  <a:cubicBezTo>
                    <a:pt x="698374" y="1022432"/>
                    <a:pt x="702931" y="1025470"/>
                    <a:pt x="707488" y="1030027"/>
                  </a:cubicBezTo>
                  <a:cubicBezTo>
                    <a:pt x="712046" y="1034584"/>
                    <a:pt x="712805" y="1039142"/>
                    <a:pt x="711286" y="1043319"/>
                  </a:cubicBezTo>
                  <a:lnTo>
                    <a:pt x="704733" y="1050628"/>
                  </a:lnTo>
                  <a:lnTo>
                    <a:pt x="680408" y="1050628"/>
                  </a:lnTo>
                  <a:lnTo>
                    <a:pt x="677108" y="1048256"/>
                  </a:lnTo>
                  <a:cubicBezTo>
                    <a:pt x="671032" y="1036103"/>
                    <a:pt x="677108" y="1030027"/>
                    <a:pt x="683184" y="1023951"/>
                  </a:cubicBezTo>
                  <a:cubicBezTo>
                    <a:pt x="686222" y="1020913"/>
                    <a:pt x="690020" y="1020153"/>
                    <a:pt x="694197" y="1021293"/>
                  </a:cubicBezTo>
                  <a:close/>
                  <a:moveTo>
                    <a:pt x="596979" y="1021293"/>
                  </a:moveTo>
                  <a:cubicBezTo>
                    <a:pt x="601157" y="1022432"/>
                    <a:pt x="605714" y="1025470"/>
                    <a:pt x="610271" y="1030027"/>
                  </a:cubicBezTo>
                  <a:cubicBezTo>
                    <a:pt x="614828" y="1034584"/>
                    <a:pt x="615588" y="1039142"/>
                    <a:pt x="614069" y="1043319"/>
                  </a:cubicBezTo>
                  <a:lnTo>
                    <a:pt x="607516" y="1050628"/>
                  </a:lnTo>
                  <a:lnTo>
                    <a:pt x="583190" y="1050628"/>
                  </a:lnTo>
                  <a:lnTo>
                    <a:pt x="579890" y="1048256"/>
                  </a:lnTo>
                  <a:cubicBezTo>
                    <a:pt x="573814" y="1033065"/>
                    <a:pt x="576852" y="1026989"/>
                    <a:pt x="585966" y="1023951"/>
                  </a:cubicBezTo>
                  <a:cubicBezTo>
                    <a:pt x="589004" y="1020913"/>
                    <a:pt x="592802" y="1020153"/>
                    <a:pt x="596979" y="1021293"/>
                  </a:cubicBezTo>
                  <a:close/>
                  <a:moveTo>
                    <a:pt x="1086106" y="1015217"/>
                  </a:moveTo>
                  <a:cubicBezTo>
                    <a:pt x="1090284" y="1016356"/>
                    <a:pt x="1094841" y="1019394"/>
                    <a:pt x="1099398" y="1023951"/>
                  </a:cubicBezTo>
                  <a:cubicBezTo>
                    <a:pt x="1108512" y="1033065"/>
                    <a:pt x="1099398" y="1045218"/>
                    <a:pt x="1093322" y="1048256"/>
                  </a:cubicBezTo>
                  <a:lnTo>
                    <a:pt x="1082478" y="1050628"/>
                  </a:lnTo>
                  <a:lnTo>
                    <a:pt x="1080771" y="1050628"/>
                  </a:lnTo>
                  <a:lnTo>
                    <a:pt x="1069017" y="1042180"/>
                  </a:lnTo>
                  <a:cubicBezTo>
                    <a:pt x="1062941" y="1030027"/>
                    <a:pt x="1065979" y="1023951"/>
                    <a:pt x="1075093" y="1017875"/>
                  </a:cubicBezTo>
                  <a:cubicBezTo>
                    <a:pt x="1078131" y="1014837"/>
                    <a:pt x="1081929" y="1014077"/>
                    <a:pt x="1086106" y="1015217"/>
                  </a:cubicBezTo>
                  <a:close/>
                  <a:moveTo>
                    <a:pt x="1313961" y="1009141"/>
                  </a:moveTo>
                  <a:cubicBezTo>
                    <a:pt x="1318139" y="1010280"/>
                    <a:pt x="1322696" y="1013318"/>
                    <a:pt x="1327253" y="1017875"/>
                  </a:cubicBezTo>
                  <a:cubicBezTo>
                    <a:pt x="1336367" y="1026989"/>
                    <a:pt x="1327253" y="1039142"/>
                    <a:pt x="1321177" y="1042180"/>
                  </a:cubicBezTo>
                  <a:cubicBezTo>
                    <a:pt x="1315101" y="1045218"/>
                    <a:pt x="1302948" y="1048256"/>
                    <a:pt x="1296872" y="1036104"/>
                  </a:cubicBezTo>
                  <a:cubicBezTo>
                    <a:pt x="1290796" y="1023951"/>
                    <a:pt x="1293834" y="1017875"/>
                    <a:pt x="1302948" y="1011799"/>
                  </a:cubicBezTo>
                  <a:cubicBezTo>
                    <a:pt x="1305986" y="1008761"/>
                    <a:pt x="1309784" y="1008001"/>
                    <a:pt x="1313961" y="1009141"/>
                  </a:cubicBezTo>
                  <a:close/>
                  <a:moveTo>
                    <a:pt x="2337788" y="996989"/>
                  </a:moveTo>
                  <a:cubicBezTo>
                    <a:pt x="2341966" y="998128"/>
                    <a:pt x="2346523" y="1001166"/>
                    <a:pt x="2351080" y="1005723"/>
                  </a:cubicBezTo>
                  <a:cubicBezTo>
                    <a:pt x="2360194" y="1014837"/>
                    <a:pt x="2354118" y="1023952"/>
                    <a:pt x="2345004" y="1030028"/>
                  </a:cubicBezTo>
                  <a:cubicBezTo>
                    <a:pt x="2338927" y="1033066"/>
                    <a:pt x="2326775" y="1036104"/>
                    <a:pt x="2320699" y="1023952"/>
                  </a:cubicBezTo>
                  <a:cubicBezTo>
                    <a:pt x="2314623" y="1008761"/>
                    <a:pt x="2317661" y="1002685"/>
                    <a:pt x="2326775" y="999647"/>
                  </a:cubicBezTo>
                  <a:cubicBezTo>
                    <a:pt x="2329813" y="996609"/>
                    <a:pt x="2333611" y="995849"/>
                    <a:pt x="2337788" y="996989"/>
                  </a:cubicBezTo>
                  <a:close/>
                  <a:moveTo>
                    <a:pt x="1429407" y="990912"/>
                  </a:moveTo>
                  <a:cubicBezTo>
                    <a:pt x="1433585" y="992051"/>
                    <a:pt x="1438142" y="995089"/>
                    <a:pt x="1442699" y="999646"/>
                  </a:cubicBezTo>
                  <a:cubicBezTo>
                    <a:pt x="1451813" y="1008760"/>
                    <a:pt x="1445737" y="1017875"/>
                    <a:pt x="1436623" y="1023951"/>
                  </a:cubicBezTo>
                  <a:cubicBezTo>
                    <a:pt x="1430547" y="1026989"/>
                    <a:pt x="1418394" y="1030027"/>
                    <a:pt x="1412318" y="1017875"/>
                  </a:cubicBezTo>
                  <a:cubicBezTo>
                    <a:pt x="1406242" y="1005722"/>
                    <a:pt x="1409280" y="996608"/>
                    <a:pt x="1418394" y="993570"/>
                  </a:cubicBezTo>
                  <a:cubicBezTo>
                    <a:pt x="1421432" y="990532"/>
                    <a:pt x="1425230" y="989772"/>
                    <a:pt x="1429407" y="990912"/>
                  </a:cubicBezTo>
                  <a:close/>
                  <a:moveTo>
                    <a:pt x="1672452" y="987874"/>
                  </a:moveTo>
                  <a:cubicBezTo>
                    <a:pt x="1676630" y="989013"/>
                    <a:pt x="1681187" y="992051"/>
                    <a:pt x="1685744" y="996608"/>
                  </a:cubicBezTo>
                  <a:cubicBezTo>
                    <a:pt x="1694858" y="1005722"/>
                    <a:pt x="1688782" y="1014837"/>
                    <a:pt x="1679668" y="1020913"/>
                  </a:cubicBezTo>
                  <a:cubicBezTo>
                    <a:pt x="1673592" y="1023951"/>
                    <a:pt x="1661439" y="1026989"/>
                    <a:pt x="1655363" y="1014837"/>
                  </a:cubicBezTo>
                  <a:cubicBezTo>
                    <a:pt x="1649287" y="1002684"/>
                    <a:pt x="1649287" y="993570"/>
                    <a:pt x="1661439" y="990532"/>
                  </a:cubicBezTo>
                  <a:cubicBezTo>
                    <a:pt x="1664477" y="987494"/>
                    <a:pt x="1668275" y="986734"/>
                    <a:pt x="1672452" y="987874"/>
                  </a:cubicBezTo>
                  <a:close/>
                  <a:moveTo>
                    <a:pt x="1803089" y="975722"/>
                  </a:moveTo>
                  <a:cubicBezTo>
                    <a:pt x="1807266" y="976861"/>
                    <a:pt x="1811824" y="979899"/>
                    <a:pt x="1816381" y="984456"/>
                  </a:cubicBezTo>
                  <a:cubicBezTo>
                    <a:pt x="1825495" y="993570"/>
                    <a:pt x="1819419" y="1002685"/>
                    <a:pt x="1810305" y="1008761"/>
                  </a:cubicBezTo>
                  <a:cubicBezTo>
                    <a:pt x="1804228" y="1011799"/>
                    <a:pt x="1792076" y="1014837"/>
                    <a:pt x="1786000" y="1002685"/>
                  </a:cubicBezTo>
                  <a:cubicBezTo>
                    <a:pt x="1779924" y="987494"/>
                    <a:pt x="1782962" y="981418"/>
                    <a:pt x="1792076" y="978380"/>
                  </a:cubicBezTo>
                  <a:cubicBezTo>
                    <a:pt x="1795114" y="975342"/>
                    <a:pt x="1798912" y="974582"/>
                    <a:pt x="1803089" y="975722"/>
                  </a:cubicBezTo>
                  <a:close/>
                  <a:moveTo>
                    <a:pt x="2030944" y="969646"/>
                  </a:moveTo>
                  <a:cubicBezTo>
                    <a:pt x="2035121" y="970785"/>
                    <a:pt x="2039679" y="973823"/>
                    <a:pt x="2044236" y="978380"/>
                  </a:cubicBezTo>
                  <a:cubicBezTo>
                    <a:pt x="2053350" y="987494"/>
                    <a:pt x="2047274" y="996609"/>
                    <a:pt x="2038160" y="1002685"/>
                  </a:cubicBezTo>
                  <a:cubicBezTo>
                    <a:pt x="2032083" y="1005723"/>
                    <a:pt x="2019931" y="1008761"/>
                    <a:pt x="2013855" y="996609"/>
                  </a:cubicBezTo>
                  <a:cubicBezTo>
                    <a:pt x="2007779" y="981418"/>
                    <a:pt x="2010817" y="975342"/>
                    <a:pt x="2019931" y="972304"/>
                  </a:cubicBezTo>
                  <a:cubicBezTo>
                    <a:pt x="2022969" y="969266"/>
                    <a:pt x="2026767" y="968506"/>
                    <a:pt x="2030944" y="969646"/>
                  </a:cubicBezTo>
                  <a:close/>
                  <a:moveTo>
                    <a:pt x="405581" y="966608"/>
                  </a:moveTo>
                  <a:cubicBezTo>
                    <a:pt x="409759" y="967747"/>
                    <a:pt x="414316" y="970785"/>
                    <a:pt x="418873" y="975342"/>
                  </a:cubicBezTo>
                  <a:cubicBezTo>
                    <a:pt x="427987" y="984456"/>
                    <a:pt x="418873" y="996609"/>
                    <a:pt x="412797" y="999647"/>
                  </a:cubicBezTo>
                  <a:cubicBezTo>
                    <a:pt x="406721" y="1002685"/>
                    <a:pt x="394568" y="1005723"/>
                    <a:pt x="388492" y="993571"/>
                  </a:cubicBezTo>
                  <a:cubicBezTo>
                    <a:pt x="382416" y="978380"/>
                    <a:pt x="385454" y="972304"/>
                    <a:pt x="394568" y="969266"/>
                  </a:cubicBezTo>
                  <a:cubicBezTo>
                    <a:pt x="397606" y="966228"/>
                    <a:pt x="401404" y="965468"/>
                    <a:pt x="405581" y="966608"/>
                  </a:cubicBezTo>
                  <a:close/>
                  <a:moveTo>
                    <a:pt x="2225380" y="957494"/>
                  </a:moveTo>
                  <a:cubicBezTo>
                    <a:pt x="2229557" y="958633"/>
                    <a:pt x="2234114" y="961671"/>
                    <a:pt x="2238671" y="966228"/>
                  </a:cubicBezTo>
                  <a:cubicBezTo>
                    <a:pt x="2247785" y="975342"/>
                    <a:pt x="2241709" y="984457"/>
                    <a:pt x="2232595" y="990533"/>
                  </a:cubicBezTo>
                  <a:cubicBezTo>
                    <a:pt x="2226519" y="993571"/>
                    <a:pt x="2214366" y="996609"/>
                    <a:pt x="2208290" y="984457"/>
                  </a:cubicBezTo>
                  <a:cubicBezTo>
                    <a:pt x="2202214" y="969266"/>
                    <a:pt x="2202214" y="963190"/>
                    <a:pt x="2214366" y="960152"/>
                  </a:cubicBezTo>
                  <a:cubicBezTo>
                    <a:pt x="2217405" y="957114"/>
                    <a:pt x="2221202" y="956354"/>
                    <a:pt x="2225380" y="957494"/>
                  </a:cubicBezTo>
                  <a:close/>
                  <a:moveTo>
                    <a:pt x="1927649" y="954456"/>
                  </a:moveTo>
                  <a:cubicBezTo>
                    <a:pt x="1931827" y="955595"/>
                    <a:pt x="1936384" y="958633"/>
                    <a:pt x="1940941" y="963190"/>
                  </a:cubicBezTo>
                  <a:cubicBezTo>
                    <a:pt x="1950055" y="972304"/>
                    <a:pt x="1940941" y="984457"/>
                    <a:pt x="1934865" y="987495"/>
                  </a:cubicBezTo>
                  <a:cubicBezTo>
                    <a:pt x="1928788" y="990533"/>
                    <a:pt x="1916636" y="993571"/>
                    <a:pt x="1910560" y="981419"/>
                  </a:cubicBezTo>
                  <a:cubicBezTo>
                    <a:pt x="1904484" y="969266"/>
                    <a:pt x="1907522" y="963190"/>
                    <a:pt x="1916636" y="957114"/>
                  </a:cubicBezTo>
                  <a:cubicBezTo>
                    <a:pt x="1919674" y="954076"/>
                    <a:pt x="1923472" y="953316"/>
                    <a:pt x="1927649" y="954456"/>
                  </a:cubicBezTo>
                  <a:close/>
                  <a:moveTo>
                    <a:pt x="244564" y="954456"/>
                  </a:moveTo>
                  <a:cubicBezTo>
                    <a:pt x="248742" y="955595"/>
                    <a:pt x="253299" y="958633"/>
                    <a:pt x="257856" y="963190"/>
                  </a:cubicBezTo>
                  <a:cubicBezTo>
                    <a:pt x="266970" y="972304"/>
                    <a:pt x="257856" y="984457"/>
                    <a:pt x="251780" y="987495"/>
                  </a:cubicBezTo>
                  <a:cubicBezTo>
                    <a:pt x="245703" y="990533"/>
                    <a:pt x="233551" y="993571"/>
                    <a:pt x="227475" y="981419"/>
                  </a:cubicBezTo>
                  <a:cubicBezTo>
                    <a:pt x="221399" y="969266"/>
                    <a:pt x="224437" y="963190"/>
                    <a:pt x="233551" y="957114"/>
                  </a:cubicBezTo>
                  <a:cubicBezTo>
                    <a:pt x="236589" y="954076"/>
                    <a:pt x="240387" y="953316"/>
                    <a:pt x="244564" y="954456"/>
                  </a:cubicBezTo>
                  <a:close/>
                  <a:moveTo>
                    <a:pt x="2431968" y="951418"/>
                  </a:moveTo>
                  <a:cubicBezTo>
                    <a:pt x="2436146" y="952557"/>
                    <a:pt x="2440703" y="955595"/>
                    <a:pt x="2445260" y="960152"/>
                  </a:cubicBezTo>
                  <a:cubicBezTo>
                    <a:pt x="2454374" y="969266"/>
                    <a:pt x="2448298" y="978381"/>
                    <a:pt x="2439184" y="984457"/>
                  </a:cubicBezTo>
                  <a:cubicBezTo>
                    <a:pt x="2433108" y="987495"/>
                    <a:pt x="2420955" y="990533"/>
                    <a:pt x="2414879" y="978381"/>
                  </a:cubicBezTo>
                  <a:cubicBezTo>
                    <a:pt x="2408803" y="963190"/>
                    <a:pt x="2411841" y="957114"/>
                    <a:pt x="2420955" y="954076"/>
                  </a:cubicBezTo>
                  <a:cubicBezTo>
                    <a:pt x="2423993" y="951038"/>
                    <a:pt x="2427791" y="950278"/>
                    <a:pt x="2431968" y="951418"/>
                  </a:cubicBezTo>
                  <a:close/>
                  <a:moveTo>
                    <a:pt x="1553968" y="948380"/>
                  </a:moveTo>
                  <a:cubicBezTo>
                    <a:pt x="1558145" y="949519"/>
                    <a:pt x="1562702" y="952557"/>
                    <a:pt x="1567259" y="957114"/>
                  </a:cubicBezTo>
                  <a:cubicBezTo>
                    <a:pt x="1576374" y="966228"/>
                    <a:pt x="1570298" y="975343"/>
                    <a:pt x="1561183" y="981419"/>
                  </a:cubicBezTo>
                  <a:cubicBezTo>
                    <a:pt x="1555107" y="984457"/>
                    <a:pt x="1542955" y="987495"/>
                    <a:pt x="1536879" y="975343"/>
                  </a:cubicBezTo>
                  <a:cubicBezTo>
                    <a:pt x="1530803" y="963190"/>
                    <a:pt x="1536879" y="957114"/>
                    <a:pt x="1542955" y="951038"/>
                  </a:cubicBezTo>
                  <a:cubicBezTo>
                    <a:pt x="1545993" y="948000"/>
                    <a:pt x="1549791" y="947240"/>
                    <a:pt x="1553968" y="948380"/>
                  </a:cubicBezTo>
                  <a:close/>
                  <a:moveTo>
                    <a:pt x="1222819" y="933189"/>
                  </a:moveTo>
                  <a:cubicBezTo>
                    <a:pt x="1226997" y="934328"/>
                    <a:pt x="1231554" y="937366"/>
                    <a:pt x="1236111" y="941923"/>
                  </a:cubicBezTo>
                  <a:cubicBezTo>
                    <a:pt x="1245225" y="951037"/>
                    <a:pt x="1239149" y="960152"/>
                    <a:pt x="1230035" y="966228"/>
                  </a:cubicBezTo>
                  <a:cubicBezTo>
                    <a:pt x="1223959" y="969266"/>
                    <a:pt x="1211806" y="972304"/>
                    <a:pt x="1205730" y="960152"/>
                  </a:cubicBezTo>
                  <a:cubicBezTo>
                    <a:pt x="1199654" y="947999"/>
                    <a:pt x="1202692" y="938885"/>
                    <a:pt x="1211806" y="935847"/>
                  </a:cubicBezTo>
                  <a:cubicBezTo>
                    <a:pt x="1214844" y="932809"/>
                    <a:pt x="1218642" y="932049"/>
                    <a:pt x="1222819" y="933189"/>
                  </a:cubicBezTo>
                  <a:close/>
                  <a:moveTo>
                    <a:pt x="1031421" y="930151"/>
                  </a:moveTo>
                  <a:cubicBezTo>
                    <a:pt x="1035599" y="931290"/>
                    <a:pt x="1040156" y="934328"/>
                    <a:pt x="1044713" y="938885"/>
                  </a:cubicBezTo>
                  <a:cubicBezTo>
                    <a:pt x="1053827" y="947999"/>
                    <a:pt x="1047751" y="957114"/>
                    <a:pt x="1038637" y="963190"/>
                  </a:cubicBezTo>
                  <a:cubicBezTo>
                    <a:pt x="1032561" y="966228"/>
                    <a:pt x="1020408" y="969266"/>
                    <a:pt x="1014332" y="957114"/>
                  </a:cubicBezTo>
                  <a:cubicBezTo>
                    <a:pt x="1008256" y="941923"/>
                    <a:pt x="1011294" y="935847"/>
                    <a:pt x="1020408" y="932809"/>
                  </a:cubicBezTo>
                  <a:cubicBezTo>
                    <a:pt x="1023446" y="929771"/>
                    <a:pt x="1027244" y="929011"/>
                    <a:pt x="1031421" y="930151"/>
                  </a:cubicBezTo>
                  <a:close/>
                  <a:moveTo>
                    <a:pt x="931165" y="930151"/>
                  </a:moveTo>
                  <a:cubicBezTo>
                    <a:pt x="935343" y="931290"/>
                    <a:pt x="939900" y="934328"/>
                    <a:pt x="944457" y="938885"/>
                  </a:cubicBezTo>
                  <a:cubicBezTo>
                    <a:pt x="953571" y="947999"/>
                    <a:pt x="947495" y="957114"/>
                    <a:pt x="938381" y="963190"/>
                  </a:cubicBezTo>
                  <a:cubicBezTo>
                    <a:pt x="932305" y="966228"/>
                    <a:pt x="920152" y="969266"/>
                    <a:pt x="914076" y="957114"/>
                  </a:cubicBezTo>
                  <a:cubicBezTo>
                    <a:pt x="908000" y="944961"/>
                    <a:pt x="911038" y="935847"/>
                    <a:pt x="920152" y="932809"/>
                  </a:cubicBezTo>
                  <a:cubicBezTo>
                    <a:pt x="923190" y="929771"/>
                    <a:pt x="926988" y="929011"/>
                    <a:pt x="931165" y="930151"/>
                  </a:cubicBezTo>
                  <a:close/>
                  <a:moveTo>
                    <a:pt x="123041" y="930151"/>
                  </a:moveTo>
                  <a:cubicBezTo>
                    <a:pt x="127219" y="931290"/>
                    <a:pt x="131776" y="934328"/>
                    <a:pt x="136333" y="938885"/>
                  </a:cubicBezTo>
                  <a:cubicBezTo>
                    <a:pt x="145447" y="947999"/>
                    <a:pt x="139371" y="957114"/>
                    <a:pt x="130257" y="963190"/>
                  </a:cubicBezTo>
                  <a:cubicBezTo>
                    <a:pt x="124181" y="966228"/>
                    <a:pt x="112028" y="969266"/>
                    <a:pt x="105952" y="957114"/>
                  </a:cubicBezTo>
                  <a:cubicBezTo>
                    <a:pt x="99876" y="944961"/>
                    <a:pt x="99876" y="935847"/>
                    <a:pt x="112028" y="932809"/>
                  </a:cubicBezTo>
                  <a:cubicBezTo>
                    <a:pt x="115066" y="929771"/>
                    <a:pt x="118864" y="929011"/>
                    <a:pt x="123041" y="930151"/>
                  </a:cubicBezTo>
                  <a:close/>
                  <a:moveTo>
                    <a:pt x="524065" y="917999"/>
                  </a:moveTo>
                  <a:cubicBezTo>
                    <a:pt x="528243" y="919138"/>
                    <a:pt x="532800" y="922176"/>
                    <a:pt x="537357" y="926733"/>
                  </a:cubicBezTo>
                  <a:cubicBezTo>
                    <a:pt x="546471" y="935847"/>
                    <a:pt x="540395" y="944962"/>
                    <a:pt x="531281" y="951038"/>
                  </a:cubicBezTo>
                  <a:cubicBezTo>
                    <a:pt x="525204" y="954076"/>
                    <a:pt x="513052" y="957114"/>
                    <a:pt x="506976" y="944962"/>
                  </a:cubicBezTo>
                  <a:cubicBezTo>
                    <a:pt x="500900" y="932809"/>
                    <a:pt x="500900" y="926733"/>
                    <a:pt x="513052" y="920657"/>
                  </a:cubicBezTo>
                  <a:cubicBezTo>
                    <a:pt x="516090" y="917619"/>
                    <a:pt x="519888" y="916859"/>
                    <a:pt x="524065" y="917999"/>
                  </a:cubicBezTo>
                  <a:close/>
                  <a:moveTo>
                    <a:pt x="824833" y="911923"/>
                  </a:moveTo>
                  <a:cubicBezTo>
                    <a:pt x="829011" y="913062"/>
                    <a:pt x="833568" y="916100"/>
                    <a:pt x="838125" y="920657"/>
                  </a:cubicBezTo>
                  <a:cubicBezTo>
                    <a:pt x="847239" y="929771"/>
                    <a:pt x="841163" y="938886"/>
                    <a:pt x="832049" y="944962"/>
                  </a:cubicBezTo>
                  <a:cubicBezTo>
                    <a:pt x="825973" y="948000"/>
                    <a:pt x="813820" y="951038"/>
                    <a:pt x="807744" y="938886"/>
                  </a:cubicBezTo>
                  <a:cubicBezTo>
                    <a:pt x="801668" y="926733"/>
                    <a:pt x="801668" y="920657"/>
                    <a:pt x="813820" y="914581"/>
                  </a:cubicBezTo>
                  <a:cubicBezTo>
                    <a:pt x="816858" y="911543"/>
                    <a:pt x="820656" y="910783"/>
                    <a:pt x="824833" y="911923"/>
                  </a:cubicBezTo>
                  <a:close/>
                  <a:moveTo>
                    <a:pt x="2137276" y="905847"/>
                  </a:moveTo>
                  <a:cubicBezTo>
                    <a:pt x="2141453" y="906986"/>
                    <a:pt x="2146010" y="910024"/>
                    <a:pt x="2150567" y="914581"/>
                  </a:cubicBezTo>
                  <a:cubicBezTo>
                    <a:pt x="2159682" y="923695"/>
                    <a:pt x="2153605" y="932810"/>
                    <a:pt x="2144491" y="938886"/>
                  </a:cubicBezTo>
                  <a:cubicBezTo>
                    <a:pt x="2138415" y="941924"/>
                    <a:pt x="2126263" y="944962"/>
                    <a:pt x="2120187" y="932810"/>
                  </a:cubicBezTo>
                  <a:cubicBezTo>
                    <a:pt x="2114111" y="917619"/>
                    <a:pt x="2120187" y="914581"/>
                    <a:pt x="2126263" y="908505"/>
                  </a:cubicBezTo>
                  <a:cubicBezTo>
                    <a:pt x="2129301" y="905467"/>
                    <a:pt x="2133099" y="904707"/>
                    <a:pt x="2137276" y="905847"/>
                  </a:cubicBezTo>
                  <a:close/>
                  <a:moveTo>
                    <a:pt x="630397" y="905847"/>
                  </a:moveTo>
                  <a:cubicBezTo>
                    <a:pt x="634575" y="906986"/>
                    <a:pt x="639132" y="910024"/>
                    <a:pt x="643689" y="914581"/>
                  </a:cubicBezTo>
                  <a:cubicBezTo>
                    <a:pt x="652803" y="923695"/>
                    <a:pt x="646727" y="932810"/>
                    <a:pt x="637613" y="938886"/>
                  </a:cubicBezTo>
                  <a:cubicBezTo>
                    <a:pt x="631537" y="941924"/>
                    <a:pt x="619384" y="944962"/>
                    <a:pt x="613308" y="932810"/>
                  </a:cubicBezTo>
                  <a:cubicBezTo>
                    <a:pt x="607232" y="917619"/>
                    <a:pt x="610270" y="911543"/>
                    <a:pt x="619384" y="908505"/>
                  </a:cubicBezTo>
                  <a:cubicBezTo>
                    <a:pt x="622422" y="905467"/>
                    <a:pt x="626220" y="904707"/>
                    <a:pt x="630397" y="905847"/>
                  </a:cubicBezTo>
                  <a:close/>
                  <a:moveTo>
                    <a:pt x="1332189" y="896733"/>
                  </a:moveTo>
                  <a:cubicBezTo>
                    <a:pt x="1336367" y="897872"/>
                    <a:pt x="1340924" y="900910"/>
                    <a:pt x="1345481" y="905467"/>
                  </a:cubicBezTo>
                  <a:cubicBezTo>
                    <a:pt x="1354595" y="914581"/>
                    <a:pt x="1348519" y="923696"/>
                    <a:pt x="1339405" y="929772"/>
                  </a:cubicBezTo>
                  <a:cubicBezTo>
                    <a:pt x="1333328" y="932810"/>
                    <a:pt x="1321176" y="935848"/>
                    <a:pt x="1315100" y="923696"/>
                  </a:cubicBezTo>
                  <a:cubicBezTo>
                    <a:pt x="1309024" y="911543"/>
                    <a:pt x="1312062" y="902429"/>
                    <a:pt x="1321176" y="899391"/>
                  </a:cubicBezTo>
                  <a:cubicBezTo>
                    <a:pt x="1324214" y="896353"/>
                    <a:pt x="1328012" y="895593"/>
                    <a:pt x="1332189" y="896733"/>
                  </a:cubicBezTo>
                  <a:close/>
                  <a:moveTo>
                    <a:pt x="724577" y="890656"/>
                  </a:moveTo>
                  <a:cubicBezTo>
                    <a:pt x="728755" y="891795"/>
                    <a:pt x="733312" y="894833"/>
                    <a:pt x="737869" y="899390"/>
                  </a:cubicBezTo>
                  <a:cubicBezTo>
                    <a:pt x="746983" y="908504"/>
                    <a:pt x="740907" y="917619"/>
                    <a:pt x="731793" y="923695"/>
                  </a:cubicBezTo>
                  <a:cubicBezTo>
                    <a:pt x="725716" y="926733"/>
                    <a:pt x="713564" y="929771"/>
                    <a:pt x="707488" y="917619"/>
                  </a:cubicBezTo>
                  <a:cubicBezTo>
                    <a:pt x="701412" y="902428"/>
                    <a:pt x="704450" y="896352"/>
                    <a:pt x="713564" y="893314"/>
                  </a:cubicBezTo>
                  <a:cubicBezTo>
                    <a:pt x="716602" y="890276"/>
                    <a:pt x="720400" y="889516"/>
                    <a:pt x="724577" y="890656"/>
                  </a:cubicBezTo>
                  <a:close/>
                  <a:moveTo>
                    <a:pt x="1435484" y="884580"/>
                  </a:moveTo>
                  <a:cubicBezTo>
                    <a:pt x="1439662" y="885719"/>
                    <a:pt x="1444219" y="888757"/>
                    <a:pt x="1448776" y="893314"/>
                  </a:cubicBezTo>
                  <a:cubicBezTo>
                    <a:pt x="1457890" y="902428"/>
                    <a:pt x="1451814" y="911543"/>
                    <a:pt x="1442700" y="917619"/>
                  </a:cubicBezTo>
                  <a:cubicBezTo>
                    <a:pt x="1436624" y="920657"/>
                    <a:pt x="1424471" y="923695"/>
                    <a:pt x="1418395" y="911543"/>
                  </a:cubicBezTo>
                  <a:cubicBezTo>
                    <a:pt x="1412319" y="899390"/>
                    <a:pt x="1415357" y="890276"/>
                    <a:pt x="1424471" y="887238"/>
                  </a:cubicBezTo>
                  <a:cubicBezTo>
                    <a:pt x="1427509" y="884200"/>
                    <a:pt x="1431307" y="883440"/>
                    <a:pt x="1435484" y="884580"/>
                  </a:cubicBezTo>
                  <a:close/>
                  <a:moveTo>
                    <a:pt x="1131677" y="884580"/>
                  </a:moveTo>
                  <a:cubicBezTo>
                    <a:pt x="1135855" y="885719"/>
                    <a:pt x="1140412" y="888757"/>
                    <a:pt x="1144969" y="893314"/>
                  </a:cubicBezTo>
                  <a:cubicBezTo>
                    <a:pt x="1154083" y="902428"/>
                    <a:pt x="1144969" y="914581"/>
                    <a:pt x="1138893" y="917619"/>
                  </a:cubicBezTo>
                  <a:cubicBezTo>
                    <a:pt x="1132817" y="920657"/>
                    <a:pt x="1120664" y="923695"/>
                    <a:pt x="1114588" y="911543"/>
                  </a:cubicBezTo>
                  <a:cubicBezTo>
                    <a:pt x="1108512" y="896352"/>
                    <a:pt x="1111550" y="890276"/>
                    <a:pt x="1120664" y="887238"/>
                  </a:cubicBezTo>
                  <a:cubicBezTo>
                    <a:pt x="1123702" y="884200"/>
                    <a:pt x="1127500" y="883440"/>
                    <a:pt x="1131677" y="884580"/>
                  </a:cubicBezTo>
                  <a:close/>
                  <a:moveTo>
                    <a:pt x="1757518" y="881542"/>
                  </a:moveTo>
                  <a:cubicBezTo>
                    <a:pt x="1761695" y="882681"/>
                    <a:pt x="1766253" y="885719"/>
                    <a:pt x="1770810" y="890276"/>
                  </a:cubicBezTo>
                  <a:cubicBezTo>
                    <a:pt x="1779924" y="899390"/>
                    <a:pt x="1773848" y="908505"/>
                    <a:pt x="1764734" y="914581"/>
                  </a:cubicBezTo>
                  <a:cubicBezTo>
                    <a:pt x="1758657" y="917619"/>
                    <a:pt x="1746505" y="920657"/>
                    <a:pt x="1740429" y="908505"/>
                  </a:cubicBezTo>
                  <a:cubicBezTo>
                    <a:pt x="1734353" y="896352"/>
                    <a:pt x="1734353" y="890276"/>
                    <a:pt x="1746505" y="884200"/>
                  </a:cubicBezTo>
                  <a:cubicBezTo>
                    <a:pt x="1749543" y="881162"/>
                    <a:pt x="1753341" y="880402"/>
                    <a:pt x="1757518" y="881542"/>
                  </a:cubicBezTo>
                  <a:close/>
                  <a:moveTo>
                    <a:pt x="1654224" y="881542"/>
                  </a:moveTo>
                  <a:cubicBezTo>
                    <a:pt x="1658402" y="882681"/>
                    <a:pt x="1662959" y="885719"/>
                    <a:pt x="1667516" y="890276"/>
                  </a:cubicBezTo>
                  <a:cubicBezTo>
                    <a:pt x="1676630" y="899390"/>
                    <a:pt x="1670554" y="908505"/>
                    <a:pt x="1661440" y="914581"/>
                  </a:cubicBezTo>
                  <a:cubicBezTo>
                    <a:pt x="1655364" y="917619"/>
                    <a:pt x="1643211" y="920657"/>
                    <a:pt x="1637135" y="908505"/>
                  </a:cubicBezTo>
                  <a:cubicBezTo>
                    <a:pt x="1631059" y="896352"/>
                    <a:pt x="1634097" y="890276"/>
                    <a:pt x="1643211" y="884200"/>
                  </a:cubicBezTo>
                  <a:cubicBezTo>
                    <a:pt x="1646249" y="881162"/>
                    <a:pt x="1650047" y="880402"/>
                    <a:pt x="1654224" y="881542"/>
                  </a:cubicBezTo>
                  <a:close/>
                  <a:moveTo>
                    <a:pt x="2346903" y="878504"/>
                  </a:moveTo>
                  <a:cubicBezTo>
                    <a:pt x="2351080" y="879643"/>
                    <a:pt x="2355637" y="882681"/>
                    <a:pt x="2360194" y="887238"/>
                  </a:cubicBezTo>
                  <a:cubicBezTo>
                    <a:pt x="2369308" y="896352"/>
                    <a:pt x="2363232" y="905467"/>
                    <a:pt x="2354118" y="911543"/>
                  </a:cubicBezTo>
                  <a:cubicBezTo>
                    <a:pt x="2348042" y="914581"/>
                    <a:pt x="2335889" y="917619"/>
                    <a:pt x="2329813" y="905467"/>
                  </a:cubicBezTo>
                  <a:cubicBezTo>
                    <a:pt x="2323737" y="893314"/>
                    <a:pt x="2326775" y="887238"/>
                    <a:pt x="2335889" y="881162"/>
                  </a:cubicBezTo>
                  <a:cubicBezTo>
                    <a:pt x="2338928" y="878124"/>
                    <a:pt x="2342725" y="877364"/>
                    <a:pt x="2346903" y="878504"/>
                  </a:cubicBezTo>
                  <a:close/>
                  <a:moveTo>
                    <a:pt x="320515" y="872428"/>
                  </a:moveTo>
                  <a:cubicBezTo>
                    <a:pt x="324693" y="873567"/>
                    <a:pt x="329250" y="876605"/>
                    <a:pt x="333807" y="881162"/>
                  </a:cubicBezTo>
                  <a:cubicBezTo>
                    <a:pt x="342921" y="890276"/>
                    <a:pt x="336845" y="899391"/>
                    <a:pt x="327731" y="905467"/>
                  </a:cubicBezTo>
                  <a:cubicBezTo>
                    <a:pt x="321654" y="908505"/>
                    <a:pt x="309502" y="911543"/>
                    <a:pt x="303426" y="899391"/>
                  </a:cubicBezTo>
                  <a:cubicBezTo>
                    <a:pt x="297350" y="887238"/>
                    <a:pt x="300388" y="881162"/>
                    <a:pt x="309502" y="875086"/>
                  </a:cubicBezTo>
                  <a:cubicBezTo>
                    <a:pt x="312540" y="872048"/>
                    <a:pt x="316338" y="871288"/>
                    <a:pt x="320515" y="872428"/>
                  </a:cubicBezTo>
                  <a:close/>
                  <a:moveTo>
                    <a:pt x="1876003" y="866352"/>
                  </a:moveTo>
                  <a:cubicBezTo>
                    <a:pt x="1880180" y="867491"/>
                    <a:pt x="1884737" y="870529"/>
                    <a:pt x="1889294" y="875086"/>
                  </a:cubicBezTo>
                  <a:cubicBezTo>
                    <a:pt x="1898408" y="884200"/>
                    <a:pt x="1889294" y="896353"/>
                    <a:pt x="1883218" y="899391"/>
                  </a:cubicBezTo>
                  <a:cubicBezTo>
                    <a:pt x="1877142" y="902429"/>
                    <a:pt x="1864989" y="905467"/>
                    <a:pt x="1858913" y="893315"/>
                  </a:cubicBezTo>
                  <a:cubicBezTo>
                    <a:pt x="1852837" y="878124"/>
                    <a:pt x="1855875" y="872048"/>
                    <a:pt x="1864989" y="869010"/>
                  </a:cubicBezTo>
                  <a:cubicBezTo>
                    <a:pt x="1868028" y="865972"/>
                    <a:pt x="1871825" y="865212"/>
                    <a:pt x="1876003" y="866352"/>
                  </a:cubicBezTo>
                  <a:close/>
                  <a:moveTo>
                    <a:pt x="2000563" y="857238"/>
                  </a:moveTo>
                  <a:cubicBezTo>
                    <a:pt x="2004740" y="858377"/>
                    <a:pt x="2009298" y="861415"/>
                    <a:pt x="2013855" y="865972"/>
                  </a:cubicBezTo>
                  <a:cubicBezTo>
                    <a:pt x="2022969" y="875086"/>
                    <a:pt x="2013855" y="887239"/>
                    <a:pt x="2007779" y="890277"/>
                  </a:cubicBezTo>
                  <a:cubicBezTo>
                    <a:pt x="2001702" y="893315"/>
                    <a:pt x="1989550" y="896353"/>
                    <a:pt x="1983474" y="884201"/>
                  </a:cubicBezTo>
                  <a:cubicBezTo>
                    <a:pt x="1977398" y="872048"/>
                    <a:pt x="1980436" y="865972"/>
                    <a:pt x="1989550" y="859896"/>
                  </a:cubicBezTo>
                  <a:cubicBezTo>
                    <a:pt x="1992588" y="856858"/>
                    <a:pt x="1996386" y="856098"/>
                    <a:pt x="2000563" y="857238"/>
                  </a:cubicBezTo>
                  <a:close/>
                  <a:moveTo>
                    <a:pt x="420771" y="857238"/>
                  </a:moveTo>
                  <a:cubicBezTo>
                    <a:pt x="424948" y="858377"/>
                    <a:pt x="429505" y="861415"/>
                    <a:pt x="434062" y="865972"/>
                  </a:cubicBezTo>
                  <a:cubicBezTo>
                    <a:pt x="443177" y="875086"/>
                    <a:pt x="437101" y="884201"/>
                    <a:pt x="427986" y="890277"/>
                  </a:cubicBezTo>
                  <a:cubicBezTo>
                    <a:pt x="421910" y="893315"/>
                    <a:pt x="409758" y="896353"/>
                    <a:pt x="403682" y="884201"/>
                  </a:cubicBezTo>
                  <a:cubicBezTo>
                    <a:pt x="397606" y="872048"/>
                    <a:pt x="403682" y="865972"/>
                    <a:pt x="409758" y="859896"/>
                  </a:cubicBezTo>
                  <a:cubicBezTo>
                    <a:pt x="412796" y="856858"/>
                    <a:pt x="416594" y="856098"/>
                    <a:pt x="420771" y="857238"/>
                  </a:cubicBezTo>
                  <a:close/>
                  <a:moveTo>
                    <a:pt x="2237532" y="848124"/>
                  </a:moveTo>
                  <a:cubicBezTo>
                    <a:pt x="2241710" y="849263"/>
                    <a:pt x="2246267" y="852301"/>
                    <a:pt x="2250824" y="856858"/>
                  </a:cubicBezTo>
                  <a:cubicBezTo>
                    <a:pt x="2259938" y="865972"/>
                    <a:pt x="2250824" y="878125"/>
                    <a:pt x="2244748" y="881163"/>
                  </a:cubicBezTo>
                  <a:cubicBezTo>
                    <a:pt x="2238672" y="884201"/>
                    <a:pt x="2226519" y="887239"/>
                    <a:pt x="2220443" y="875087"/>
                  </a:cubicBezTo>
                  <a:cubicBezTo>
                    <a:pt x="2214367" y="859896"/>
                    <a:pt x="2217405" y="853820"/>
                    <a:pt x="2226519" y="850782"/>
                  </a:cubicBezTo>
                  <a:cubicBezTo>
                    <a:pt x="2229557" y="847744"/>
                    <a:pt x="2233355" y="846984"/>
                    <a:pt x="2237532" y="848124"/>
                  </a:cubicBezTo>
                  <a:close/>
                  <a:moveTo>
                    <a:pt x="211145" y="848124"/>
                  </a:moveTo>
                  <a:cubicBezTo>
                    <a:pt x="215322" y="849263"/>
                    <a:pt x="219879" y="852301"/>
                    <a:pt x="224436" y="856858"/>
                  </a:cubicBezTo>
                  <a:cubicBezTo>
                    <a:pt x="233551" y="865972"/>
                    <a:pt x="227475" y="875087"/>
                    <a:pt x="218360" y="881163"/>
                  </a:cubicBezTo>
                  <a:cubicBezTo>
                    <a:pt x="212284" y="884201"/>
                    <a:pt x="200132" y="887239"/>
                    <a:pt x="194056" y="875087"/>
                  </a:cubicBezTo>
                  <a:cubicBezTo>
                    <a:pt x="187980" y="859896"/>
                    <a:pt x="194056" y="856858"/>
                    <a:pt x="200132" y="850782"/>
                  </a:cubicBezTo>
                  <a:cubicBezTo>
                    <a:pt x="203170" y="847744"/>
                    <a:pt x="206967" y="846984"/>
                    <a:pt x="211145" y="848124"/>
                  </a:cubicBezTo>
                  <a:close/>
                  <a:moveTo>
                    <a:pt x="1511435" y="839009"/>
                  </a:moveTo>
                  <a:cubicBezTo>
                    <a:pt x="1515613" y="840148"/>
                    <a:pt x="1520170" y="843186"/>
                    <a:pt x="1524727" y="847743"/>
                  </a:cubicBezTo>
                  <a:cubicBezTo>
                    <a:pt x="1533841" y="856857"/>
                    <a:pt x="1527765" y="865972"/>
                    <a:pt x="1518651" y="872048"/>
                  </a:cubicBezTo>
                  <a:cubicBezTo>
                    <a:pt x="1512575" y="875086"/>
                    <a:pt x="1500422" y="878124"/>
                    <a:pt x="1494346" y="865972"/>
                  </a:cubicBezTo>
                  <a:cubicBezTo>
                    <a:pt x="1488270" y="850781"/>
                    <a:pt x="1491308" y="844705"/>
                    <a:pt x="1500422" y="841667"/>
                  </a:cubicBezTo>
                  <a:cubicBezTo>
                    <a:pt x="1503460" y="838629"/>
                    <a:pt x="1507258" y="837869"/>
                    <a:pt x="1511435" y="839009"/>
                  </a:cubicBezTo>
                  <a:close/>
                  <a:moveTo>
                    <a:pt x="1253200" y="826857"/>
                  </a:moveTo>
                  <a:cubicBezTo>
                    <a:pt x="1257378" y="827996"/>
                    <a:pt x="1261935" y="831034"/>
                    <a:pt x="1266492" y="835591"/>
                  </a:cubicBezTo>
                  <a:cubicBezTo>
                    <a:pt x="1275606" y="844705"/>
                    <a:pt x="1269530" y="853820"/>
                    <a:pt x="1260416" y="859896"/>
                  </a:cubicBezTo>
                  <a:cubicBezTo>
                    <a:pt x="1254340" y="862934"/>
                    <a:pt x="1242187" y="865972"/>
                    <a:pt x="1236111" y="853820"/>
                  </a:cubicBezTo>
                  <a:cubicBezTo>
                    <a:pt x="1230035" y="841667"/>
                    <a:pt x="1233073" y="832553"/>
                    <a:pt x="1242187" y="829515"/>
                  </a:cubicBezTo>
                  <a:cubicBezTo>
                    <a:pt x="1245225" y="826477"/>
                    <a:pt x="1249023" y="825717"/>
                    <a:pt x="1253200" y="826857"/>
                  </a:cubicBezTo>
                  <a:close/>
                  <a:moveTo>
                    <a:pt x="2428930" y="814705"/>
                  </a:moveTo>
                  <a:cubicBezTo>
                    <a:pt x="2433107" y="815844"/>
                    <a:pt x="2437664" y="818882"/>
                    <a:pt x="2442221" y="823439"/>
                  </a:cubicBezTo>
                  <a:cubicBezTo>
                    <a:pt x="2451336" y="832553"/>
                    <a:pt x="2445259" y="841668"/>
                    <a:pt x="2436145" y="847744"/>
                  </a:cubicBezTo>
                  <a:cubicBezTo>
                    <a:pt x="2430069" y="850782"/>
                    <a:pt x="2417917" y="853820"/>
                    <a:pt x="2411841" y="841668"/>
                  </a:cubicBezTo>
                  <a:cubicBezTo>
                    <a:pt x="2405765" y="829515"/>
                    <a:pt x="2411841" y="823439"/>
                    <a:pt x="2417917" y="817363"/>
                  </a:cubicBezTo>
                  <a:cubicBezTo>
                    <a:pt x="2420955" y="814325"/>
                    <a:pt x="2424753" y="813565"/>
                    <a:pt x="2428930" y="814705"/>
                  </a:cubicBezTo>
                  <a:close/>
                  <a:moveTo>
                    <a:pt x="991927" y="814705"/>
                  </a:moveTo>
                  <a:cubicBezTo>
                    <a:pt x="996104" y="815844"/>
                    <a:pt x="1000661" y="818882"/>
                    <a:pt x="1005218" y="823439"/>
                  </a:cubicBezTo>
                  <a:cubicBezTo>
                    <a:pt x="1014333" y="832553"/>
                    <a:pt x="1005218" y="844706"/>
                    <a:pt x="999142" y="847744"/>
                  </a:cubicBezTo>
                  <a:cubicBezTo>
                    <a:pt x="993066" y="850782"/>
                    <a:pt x="980914" y="853820"/>
                    <a:pt x="974838" y="841668"/>
                  </a:cubicBezTo>
                  <a:cubicBezTo>
                    <a:pt x="968762" y="829515"/>
                    <a:pt x="974838" y="823439"/>
                    <a:pt x="980914" y="817363"/>
                  </a:cubicBezTo>
                  <a:cubicBezTo>
                    <a:pt x="983952" y="814325"/>
                    <a:pt x="987750" y="813565"/>
                    <a:pt x="991927" y="814705"/>
                  </a:cubicBezTo>
                  <a:close/>
                  <a:moveTo>
                    <a:pt x="894709" y="814705"/>
                  </a:moveTo>
                  <a:cubicBezTo>
                    <a:pt x="898887" y="815844"/>
                    <a:pt x="903444" y="818882"/>
                    <a:pt x="908001" y="823439"/>
                  </a:cubicBezTo>
                  <a:cubicBezTo>
                    <a:pt x="917115" y="832553"/>
                    <a:pt x="911039" y="841668"/>
                    <a:pt x="901925" y="847744"/>
                  </a:cubicBezTo>
                  <a:cubicBezTo>
                    <a:pt x="895849" y="850782"/>
                    <a:pt x="883696" y="853820"/>
                    <a:pt x="877620" y="841668"/>
                  </a:cubicBezTo>
                  <a:cubicBezTo>
                    <a:pt x="871544" y="829515"/>
                    <a:pt x="874582" y="823439"/>
                    <a:pt x="883696" y="817363"/>
                  </a:cubicBezTo>
                  <a:cubicBezTo>
                    <a:pt x="886734" y="814325"/>
                    <a:pt x="890532" y="813565"/>
                    <a:pt x="894709" y="814705"/>
                  </a:cubicBezTo>
                  <a:close/>
                  <a:moveTo>
                    <a:pt x="2088668" y="805591"/>
                  </a:moveTo>
                  <a:cubicBezTo>
                    <a:pt x="2092845" y="806730"/>
                    <a:pt x="2097402" y="809768"/>
                    <a:pt x="2101959" y="814325"/>
                  </a:cubicBezTo>
                  <a:cubicBezTo>
                    <a:pt x="2111073" y="823439"/>
                    <a:pt x="2104997" y="832554"/>
                    <a:pt x="2095883" y="838630"/>
                  </a:cubicBezTo>
                  <a:cubicBezTo>
                    <a:pt x="2089807" y="841668"/>
                    <a:pt x="2077654" y="844706"/>
                    <a:pt x="2071578" y="832554"/>
                  </a:cubicBezTo>
                  <a:cubicBezTo>
                    <a:pt x="2065502" y="817363"/>
                    <a:pt x="2068540" y="811287"/>
                    <a:pt x="2077654" y="808249"/>
                  </a:cubicBezTo>
                  <a:cubicBezTo>
                    <a:pt x="2080693" y="805211"/>
                    <a:pt x="2084490" y="804451"/>
                    <a:pt x="2088668" y="805591"/>
                  </a:cubicBezTo>
                  <a:close/>
                  <a:moveTo>
                    <a:pt x="575712" y="802553"/>
                  </a:moveTo>
                  <a:cubicBezTo>
                    <a:pt x="579890" y="803692"/>
                    <a:pt x="584447" y="806730"/>
                    <a:pt x="589004" y="811287"/>
                  </a:cubicBezTo>
                  <a:cubicBezTo>
                    <a:pt x="598118" y="820401"/>
                    <a:pt x="589004" y="832554"/>
                    <a:pt x="582928" y="835592"/>
                  </a:cubicBezTo>
                  <a:cubicBezTo>
                    <a:pt x="576852" y="838630"/>
                    <a:pt x="564699" y="841668"/>
                    <a:pt x="558623" y="829516"/>
                  </a:cubicBezTo>
                  <a:cubicBezTo>
                    <a:pt x="552547" y="817363"/>
                    <a:pt x="555585" y="811287"/>
                    <a:pt x="564699" y="805211"/>
                  </a:cubicBezTo>
                  <a:cubicBezTo>
                    <a:pt x="567737" y="802173"/>
                    <a:pt x="571535" y="801413"/>
                    <a:pt x="575712" y="802553"/>
                  </a:cubicBezTo>
                  <a:close/>
                  <a:moveTo>
                    <a:pt x="1602577" y="796477"/>
                  </a:moveTo>
                  <a:cubicBezTo>
                    <a:pt x="1606755" y="797616"/>
                    <a:pt x="1611312" y="800654"/>
                    <a:pt x="1615869" y="805211"/>
                  </a:cubicBezTo>
                  <a:cubicBezTo>
                    <a:pt x="1624983" y="814325"/>
                    <a:pt x="1615869" y="826478"/>
                    <a:pt x="1609793" y="829516"/>
                  </a:cubicBezTo>
                  <a:cubicBezTo>
                    <a:pt x="1603717" y="832554"/>
                    <a:pt x="1591564" y="835592"/>
                    <a:pt x="1585488" y="823440"/>
                  </a:cubicBezTo>
                  <a:cubicBezTo>
                    <a:pt x="1579412" y="811287"/>
                    <a:pt x="1582450" y="805211"/>
                    <a:pt x="1591564" y="799135"/>
                  </a:cubicBezTo>
                  <a:cubicBezTo>
                    <a:pt x="1594602" y="796097"/>
                    <a:pt x="1598400" y="795337"/>
                    <a:pt x="1602577" y="796477"/>
                  </a:cubicBezTo>
                  <a:close/>
                  <a:moveTo>
                    <a:pt x="1104335" y="793438"/>
                  </a:moveTo>
                  <a:cubicBezTo>
                    <a:pt x="1108513" y="794577"/>
                    <a:pt x="1113070" y="797615"/>
                    <a:pt x="1117627" y="802172"/>
                  </a:cubicBezTo>
                  <a:cubicBezTo>
                    <a:pt x="1126741" y="811286"/>
                    <a:pt x="1117627" y="823439"/>
                    <a:pt x="1111551" y="826477"/>
                  </a:cubicBezTo>
                  <a:cubicBezTo>
                    <a:pt x="1105474" y="829515"/>
                    <a:pt x="1093322" y="832553"/>
                    <a:pt x="1087246" y="820401"/>
                  </a:cubicBezTo>
                  <a:cubicBezTo>
                    <a:pt x="1081170" y="805210"/>
                    <a:pt x="1084208" y="799134"/>
                    <a:pt x="1093322" y="796096"/>
                  </a:cubicBezTo>
                  <a:cubicBezTo>
                    <a:pt x="1096360" y="793058"/>
                    <a:pt x="1100158" y="792298"/>
                    <a:pt x="1104335" y="793438"/>
                  </a:cubicBezTo>
                  <a:close/>
                  <a:moveTo>
                    <a:pt x="791415" y="793438"/>
                  </a:moveTo>
                  <a:cubicBezTo>
                    <a:pt x="795593" y="794577"/>
                    <a:pt x="800150" y="797615"/>
                    <a:pt x="804707" y="802172"/>
                  </a:cubicBezTo>
                  <a:cubicBezTo>
                    <a:pt x="813821" y="811286"/>
                    <a:pt x="807745" y="820401"/>
                    <a:pt x="798631" y="826477"/>
                  </a:cubicBezTo>
                  <a:cubicBezTo>
                    <a:pt x="792555" y="829515"/>
                    <a:pt x="780402" y="832553"/>
                    <a:pt x="774326" y="820401"/>
                  </a:cubicBezTo>
                  <a:cubicBezTo>
                    <a:pt x="768250" y="805210"/>
                    <a:pt x="771288" y="799134"/>
                    <a:pt x="780402" y="796096"/>
                  </a:cubicBezTo>
                  <a:cubicBezTo>
                    <a:pt x="783440" y="793058"/>
                    <a:pt x="787238" y="792298"/>
                    <a:pt x="791415" y="793438"/>
                  </a:cubicBezTo>
                  <a:close/>
                  <a:moveTo>
                    <a:pt x="1371684" y="784324"/>
                  </a:moveTo>
                  <a:cubicBezTo>
                    <a:pt x="1375862" y="785463"/>
                    <a:pt x="1380419" y="788501"/>
                    <a:pt x="1384976" y="793058"/>
                  </a:cubicBezTo>
                  <a:cubicBezTo>
                    <a:pt x="1394090" y="802172"/>
                    <a:pt x="1384976" y="814325"/>
                    <a:pt x="1378900" y="817363"/>
                  </a:cubicBezTo>
                  <a:cubicBezTo>
                    <a:pt x="1372824" y="820401"/>
                    <a:pt x="1360671" y="823439"/>
                    <a:pt x="1354595" y="811287"/>
                  </a:cubicBezTo>
                  <a:cubicBezTo>
                    <a:pt x="1348519" y="796096"/>
                    <a:pt x="1351557" y="790020"/>
                    <a:pt x="1360671" y="786982"/>
                  </a:cubicBezTo>
                  <a:cubicBezTo>
                    <a:pt x="1363709" y="783944"/>
                    <a:pt x="1367507" y="783184"/>
                    <a:pt x="1371684" y="784324"/>
                  </a:cubicBezTo>
                  <a:close/>
                  <a:moveTo>
                    <a:pt x="472418" y="781286"/>
                  </a:moveTo>
                  <a:cubicBezTo>
                    <a:pt x="476596" y="782425"/>
                    <a:pt x="481153" y="785463"/>
                    <a:pt x="485710" y="790020"/>
                  </a:cubicBezTo>
                  <a:cubicBezTo>
                    <a:pt x="494824" y="799134"/>
                    <a:pt x="488748" y="808249"/>
                    <a:pt x="479634" y="814325"/>
                  </a:cubicBezTo>
                  <a:cubicBezTo>
                    <a:pt x="473557" y="817363"/>
                    <a:pt x="461405" y="820401"/>
                    <a:pt x="455329" y="808249"/>
                  </a:cubicBezTo>
                  <a:cubicBezTo>
                    <a:pt x="449253" y="796096"/>
                    <a:pt x="452291" y="790020"/>
                    <a:pt x="461405" y="783944"/>
                  </a:cubicBezTo>
                  <a:cubicBezTo>
                    <a:pt x="464443" y="780906"/>
                    <a:pt x="468241" y="780146"/>
                    <a:pt x="472418" y="781286"/>
                  </a:cubicBezTo>
                  <a:close/>
                  <a:moveTo>
                    <a:pt x="1803089" y="778248"/>
                  </a:moveTo>
                  <a:cubicBezTo>
                    <a:pt x="1807266" y="779387"/>
                    <a:pt x="1811824" y="782425"/>
                    <a:pt x="1816381" y="786982"/>
                  </a:cubicBezTo>
                  <a:cubicBezTo>
                    <a:pt x="1825495" y="796096"/>
                    <a:pt x="1816381" y="808249"/>
                    <a:pt x="1810305" y="811287"/>
                  </a:cubicBezTo>
                  <a:cubicBezTo>
                    <a:pt x="1804228" y="814325"/>
                    <a:pt x="1792076" y="817363"/>
                    <a:pt x="1786000" y="805211"/>
                  </a:cubicBezTo>
                  <a:cubicBezTo>
                    <a:pt x="1779924" y="793058"/>
                    <a:pt x="1779924" y="786982"/>
                    <a:pt x="1792076" y="780906"/>
                  </a:cubicBezTo>
                  <a:cubicBezTo>
                    <a:pt x="1795114" y="777868"/>
                    <a:pt x="1798912" y="777108"/>
                    <a:pt x="1803089" y="778248"/>
                  </a:cubicBezTo>
                  <a:close/>
                  <a:moveTo>
                    <a:pt x="675968" y="772172"/>
                  </a:moveTo>
                  <a:cubicBezTo>
                    <a:pt x="680146" y="773311"/>
                    <a:pt x="684703" y="776349"/>
                    <a:pt x="689260" y="780906"/>
                  </a:cubicBezTo>
                  <a:cubicBezTo>
                    <a:pt x="698374" y="790020"/>
                    <a:pt x="689260" y="802173"/>
                    <a:pt x="683184" y="805211"/>
                  </a:cubicBezTo>
                  <a:cubicBezTo>
                    <a:pt x="677107" y="808249"/>
                    <a:pt x="664955" y="811287"/>
                    <a:pt x="658879" y="799135"/>
                  </a:cubicBezTo>
                  <a:cubicBezTo>
                    <a:pt x="652803" y="786982"/>
                    <a:pt x="652803" y="780906"/>
                    <a:pt x="664955" y="774830"/>
                  </a:cubicBezTo>
                  <a:cubicBezTo>
                    <a:pt x="667993" y="771792"/>
                    <a:pt x="671791" y="771032"/>
                    <a:pt x="675968" y="772172"/>
                  </a:cubicBezTo>
                  <a:close/>
                  <a:moveTo>
                    <a:pt x="302287" y="769134"/>
                  </a:moveTo>
                  <a:cubicBezTo>
                    <a:pt x="306465" y="770273"/>
                    <a:pt x="311022" y="773311"/>
                    <a:pt x="315579" y="777868"/>
                  </a:cubicBezTo>
                  <a:cubicBezTo>
                    <a:pt x="324693" y="786982"/>
                    <a:pt x="318617" y="796097"/>
                    <a:pt x="309503" y="802173"/>
                  </a:cubicBezTo>
                  <a:cubicBezTo>
                    <a:pt x="303427" y="805211"/>
                    <a:pt x="291274" y="808249"/>
                    <a:pt x="285198" y="796097"/>
                  </a:cubicBezTo>
                  <a:cubicBezTo>
                    <a:pt x="279122" y="780906"/>
                    <a:pt x="282160" y="774830"/>
                    <a:pt x="291274" y="771792"/>
                  </a:cubicBezTo>
                  <a:cubicBezTo>
                    <a:pt x="294312" y="768754"/>
                    <a:pt x="298110" y="767994"/>
                    <a:pt x="302287" y="769134"/>
                  </a:cubicBezTo>
                  <a:close/>
                  <a:moveTo>
                    <a:pt x="2313484" y="766096"/>
                  </a:moveTo>
                  <a:cubicBezTo>
                    <a:pt x="2317661" y="767235"/>
                    <a:pt x="2322218" y="770273"/>
                    <a:pt x="2326775" y="774830"/>
                  </a:cubicBezTo>
                  <a:cubicBezTo>
                    <a:pt x="2335890" y="783944"/>
                    <a:pt x="2329814" y="793059"/>
                    <a:pt x="2320699" y="799135"/>
                  </a:cubicBezTo>
                  <a:cubicBezTo>
                    <a:pt x="2314623" y="802173"/>
                    <a:pt x="2302471" y="805211"/>
                    <a:pt x="2296395" y="793059"/>
                  </a:cubicBezTo>
                  <a:cubicBezTo>
                    <a:pt x="2290319" y="780906"/>
                    <a:pt x="2296395" y="774830"/>
                    <a:pt x="2302471" y="768754"/>
                  </a:cubicBezTo>
                  <a:cubicBezTo>
                    <a:pt x="2305509" y="765716"/>
                    <a:pt x="2309307" y="764956"/>
                    <a:pt x="2313484" y="766096"/>
                  </a:cubicBezTo>
                  <a:close/>
                  <a:moveTo>
                    <a:pt x="1921574" y="766096"/>
                  </a:moveTo>
                  <a:cubicBezTo>
                    <a:pt x="1925751" y="767235"/>
                    <a:pt x="1930308" y="770273"/>
                    <a:pt x="1934865" y="774830"/>
                  </a:cubicBezTo>
                  <a:cubicBezTo>
                    <a:pt x="1943980" y="783944"/>
                    <a:pt x="1934865" y="796097"/>
                    <a:pt x="1928789" y="799135"/>
                  </a:cubicBezTo>
                  <a:cubicBezTo>
                    <a:pt x="1922713" y="802173"/>
                    <a:pt x="1910561" y="805211"/>
                    <a:pt x="1904485" y="793059"/>
                  </a:cubicBezTo>
                  <a:cubicBezTo>
                    <a:pt x="1898409" y="780906"/>
                    <a:pt x="1904485" y="774830"/>
                    <a:pt x="1910561" y="768754"/>
                  </a:cubicBezTo>
                  <a:cubicBezTo>
                    <a:pt x="1913599" y="765716"/>
                    <a:pt x="1917397" y="764956"/>
                    <a:pt x="1921574" y="766096"/>
                  </a:cubicBezTo>
                  <a:close/>
                  <a:moveTo>
                    <a:pt x="2176771" y="756982"/>
                  </a:moveTo>
                  <a:cubicBezTo>
                    <a:pt x="2180948" y="758121"/>
                    <a:pt x="2185505" y="761159"/>
                    <a:pt x="2190062" y="765716"/>
                  </a:cubicBezTo>
                  <a:cubicBezTo>
                    <a:pt x="2199177" y="774830"/>
                    <a:pt x="2190062" y="786983"/>
                    <a:pt x="2183986" y="790021"/>
                  </a:cubicBezTo>
                  <a:cubicBezTo>
                    <a:pt x="2177910" y="793059"/>
                    <a:pt x="2165758" y="796097"/>
                    <a:pt x="2159682" y="783945"/>
                  </a:cubicBezTo>
                  <a:cubicBezTo>
                    <a:pt x="2153606" y="771792"/>
                    <a:pt x="2159682" y="765716"/>
                    <a:pt x="2165758" y="759640"/>
                  </a:cubicBezTo>
                  <a:cubicBezTo>
                    <a:pt x="2168796" y="756602"/>
                    <a:pt x="2172594" y="755842"/>
                    <a:pt x="2176771" y="756982"/>
                  </a:cubicBezTo>
                  <a:close/>
                  <a:moveTo>
                    <a:pt x="1702833" y="750906"/>
                  </a:moveTo>
                  <a:cubicBezTo>
                    <a:pt x="1707011" y="752045"/>
                    <a:pt x="1711568" y="755083"/>
                    <a:pt x="1716125" y="759640"/>
                  </a:cubicBezTo>
                  <a:cubicBezTo>
                    <a:pt x="1725239" y="768754"/>
                    <a:pt x="1716125" y="780907"/>
                    <a:pt x="1710049" y="783945"/>
                  </a:cubicBezTo>
                  <a:cubicBezTo>
                    <a:pt x="1703973" y="786983"/>
                    <a:pt x="1691820" y="790021"/>
                    <a:pt x="1685744" y="777869"/>
                  </a:cubicBezTo>
                  <a:cubicBezTo>
                    <a:pt x="1679668" y="765716"/>
                    <a:pt x="1682706" y="759640"/>
                    <a:pt x="1691820" y="753564"/>
                  </a:cubicBezTo>
                  <a:cubicBezTo>
                    <a:pt x="1694858" y="750526"/>
                    <a:pt x="1698656" y="749766"/>
                    <a:pt x="1702833" y="750906"/>
                  </a:cubicBezTo>
                  <a:close/>
                  <a:moveTo>
                    <a:pt x="1210667" y="741791"/>
                  </a:moveTo>
                  <a:cubicBezTo>
                    <a:pt x="1214845" y="742930"/>
                    <a:pt x="1219402" y="745968"/>
                    <a:pt x="1223959" y="750525"/>
                  </a:cubicBezTo>
                  <a:cubicBezTo>
                    <a:pt x="1233073" y="759639"/>
                    <a:pt x="1226997" y="768754"/>
                    <a:pt x="1217883" y="774830"/>
                  </a:cubicBezTo>
                  <a:cubicBezTo>
                    <a:pt x="1211806" y="777868"/>
                    <a:pt x="1199654" y="780906"/>
                    <a:pt x="1193578" y="768754"/>
                  </a:cubicBezTo>
                  <a:cubicBezTo>
                    <a:pt x="1187502" y="753563"/>
                    <a:pt x="1190540" y="747487"/>
                    <a:pt x="1199654" y="744449"/>
                  </a:cubicBezTo>
                  <a:cubicBezTo>
                    <a:pt x="1202692" y="741411"/>
                    <a:pt x="1206490" y="740651"/>
                    <a:pt x="1210667" y="741791"/>
                  </a:cubicBezTo>
                  <a:close/>
                  <a:moveTo>
                    <a:pt x="1450674" y="723563"/>
                  </a:moveTo>
                  <a:cubicBezTo>
                    <a:pt x="1454852" y="724702"/>
                    <a:pt x="1459409" y="727740"/>
                    <a:pt x="1463966" y="732297"/>
                  </a:cubicBezTo>
                  <a:cubicBezTo>
                    <a:pt x="1473080" y="741411"/>
                    <a:pt x="1463966" y="753564"/>
                    <a:pt x="1457890" y="756602"/>
                  </a:cubicBezTo>
                  <a:cubicBezTo>
                    <a:pt x="1451814" y="759640"/>
                    <a:pt x="1439661" y="762678"/>
                    <a:pt x="1433585" y="750526"/>
                  </a:cubicBezTo>
                  <a:cubicBezTo>
                    <a:pt x="1427509" y="738373"/>
                    <a:pt x="1430547" y="732297"/>
                    <a:pt x="1439661" y="726221"/>
                  </a:cubicBezTo>
                  <a:cubicBezTo>
                    <a:pt x="1442699" y="723183"/>
                    <a:pt x="1446497" y="722423"/>
                    <a:pt x="1450674" y="723563"/>
                  </a:cubicBezTo>
                  <a:close/>
                  <a:moveTo>
                    <a:pt x="2021829" y="720525"/>
                  </a:moveTo>
                  <a:cubicBezTo>
                    <a:pt x="2026007" y="721664"/>
                    <a:pt x="2030564" y="724702"/>
                    <a:pt x="2035121" y="729259"/>
                  </a:cubicBezTo>
                  <a:cubicBezTo>
                    <a:pt x="2044235" y="738373"/>
                    <a:pt x="2038159" y="747488"/>
                    <a:pt x="2029045" y="753564"/>
                  </a:cubicBezTo>
                  <a:cubicBezTo>
                    <a:pt x="2022969" y="756602"/>
                    <a:pt x="2010816" y="759640"/>
                    <a:pt x="2004740" y="747488"/>
                  </a:cubicBezTo>
                  <a:cubicBezTo>
                    <a:pt x="1998664" y="735335"/>
                    <a:pt x="2001702" y="726221"/>
                    <a:pt x="2010816" y="723183"/>
                  </a:cubicBezTo>
                  <a:cubicBezTo>
                    <a:pt x="2013854" y="720145"/>
                    <a:pt x="2017652" y="719385"/>
                    <a:pt x="2021829" y="720525"/>
                  </a:cubicBezTo>
                  <a:close/>
                  <a:moveTo>
                    <a:pt x="387352" y="720525"/>
                  </a:moveTo>
                  <a:cubicBezTo>
                    <a:pt x="391530" y="721664"/>
                    <a:pt x="396087" y="724702"/>
                    <a:pt x="400644" y="729259"/>
                  </a:cubicBezTo>
                  <a:cubicBezTo>
                    <a:pt x="409758" y="738373"/>
                    <a:pt x="403682" y="747488"/>
                    <a:pt x="394568" y="753564"/>
                  </a:cubicBezTo>
                  <a:cubicBezTo>
                    <a:pt x="388492" y="756602"/>
                    <a:pt x="376339" y="759640"/>
                    <a:pt x="370263" y="747488"/>
                  </a:cubicBezTo>
                  <a:cubicBezTo>
                    <a:pt x="364187" y="732297"/>
                    <a:pt x="367225" y="726221"/>
                    <a:pt x="376339" y="723183"/>
                  </a:cubicBezTo>
                  <a:cubicBezTo>
                    <a:pt x="379377" y="720145"/>
                    <a:pt x="383175" y="719385"/>
                    <a:pt x="387352" y="720525"/>
                  </a:cubicBezTo>
                  <a:close/>
                  <a:moveTo>
                    <a:pt x="1049650" y="702297"/>
                  </a:moveTo>
                  <a:cubicBezTo>
                    <a:pt x="1053828" y="703436"/>
                    <a:pt x="1058385" y="706474"/>
                    <a:pt x="1062942" y="711031"/>
                  </a:cubicBezTo>
                  <a:cubicBezTo>
                    <a:pt x="1072056" y="720145"/>
                    <a:pt x="1062942" y="732298"/>
                    <a:pt x="1056866" y="735336"/>
                  </a:cubicBezTo>
                  <a:cubicBezTo>
                    <a:pt x="1050790" y="738374"/>
                    <a:pt x="1038637" y="741412"/>
                    <a:pt x="1032561" y="729260"/>
                  </a:cubicBezTo>
                  <a:cubicBezTo>
                    <a:pt x="1026485" y="717107"/>
                    <a:pt x="1029523" y="707993"/>
                    <a:pt x="1038637" y="704955"/>
                  </a:cubicBezTo>
                  <a:cubicBezTo>
                    <a:pt x="1041675" y="701917"/>
                    <a:pt x="1045473" y="701157"/>
                    <a:pt x="1049650" y="702297"/>
                  </a:cubicBezTo>
                  <a:close/>
                  <a:moveTo>
                    <a:pt x="931165" y="702297"/>
                  </a:moveTo>
                  <a:cubicBezTo>
                    <a:pt x="935343" y="703436"/>
                    <a:pt x="939900" y="706474"/>
                    <a:pt x="944457" y="711031"/>
                  </a:cubicBezTo>
                  <a:cubicBezTo>
                    <a:pt x="953571" y="720145"/>
                    <a:pt x="947495" y="729260"/>
                    <a:pt x="938381" y="735336"/>
                  </a:cubicBezTo>
                  <a:cubicBezTo>
                    <a:pt x="932305" y="738374"/>
                    <a:pt x="920152" y="741412"/>
                    <a:pt x="914076" y="729260"/>
                  </a:cubicBezTo>
                  <a:cubicBezTo>
                    <a:pt x="908000" y="717107"/>
                    <a:pt x="911038" y="711031"/>
                    <a:pt x="920152" y="704955"/>
                  </a:cubicBezTo>
                  <a:cubicBezTo>
                    <a:pt x="923190" y="701917"/>
                    <a:pt x="926988" y="701157"/>
                    <a:pt x="931165" y="702297"/>
                  </a:cubicBezTo>
                  <a:close/>
                  <a:moveTo>
                    <a:pt x="1547892" y="699259"/>
                  </a:moveTo>
                  <a:cubicBezTo>
                    <a:pt x="1552070" y="700398"/>
                    <a:pt x="1556627" y="703436"/>
                    <a:pt x="1561184" y="707993"/>
                  </a:cubicBezTo>
                  <a:cubicBezTo>
                    <a:pt x="1570298" y="717107"/>
                    <a:pt x="1561184" y="729260"/>
                    <a:pt x="1555108" y="732298"/>
                  </a:cubicBezTo>
                  <a:cubicBezTo>
                    <a:pt x="1549032" y="735336"/>
                    <a:pt x="1536879" y="738374"/>
                    <a:pt x="1530803" y="726222"/>
                  </a:cubicBezTo>
                  <a:cubicBezTo>
                    <a:pt x="1524727" y="711031"/>
                    <a:pt x="1527765" y="704955"/>
                    <a:pt x="1536879" y="701917"/>
                  </a:cubicBezTo>
                  <a:cubicBezTo>
                    <a:pt x="1539917" y="698879"/>
                    <a:pt x="1543715" y="698119"/>
                    <a:pt x="1547892" y="699259"/>
                  </a:cubicBezTo>
                  <a:close/>
                  <a:moveTo>
                    <a:pt x="1313961" y="699259"/>
                  </a:moveTo>
                  <a:cubicBezTo>
                    <a:pt x="1318139" y="700398"/>
                    <a:pt x="1322696" y="703436"/>
                    <a:pt x="1327253" y="707993"/>
                  </a:cubicBezTo>
                  <a:cubicBezTo>
                    <a:pt x="1336367" y="717107"/>
                    <a:pt x="1330291" y="726222"/>
                    <a:pt x="1321177" y="732298"/>
                  </a:cubicBezTo>
                  <a:cubicBezTo>
                    <a:pt x="1315101" y="735336"/>
                    <a:pt x="1302948" y="738374"/>
                    <a:pt x="1296872" y="726222"/>
                  </a:cubicBezTo>
                  <a:cubicBezTo>
                    <a:pt x="1290796" y="714069"/>
                    <a:pt x="1293834" y="707993"/>
                    <a:pt x="1302948" y="701917"/>
                  </a:cubicBezTo>
                  <a:cubicBezTo>
                    <a:pt x="1305986" y="698879"/>
                    <a:pt x="1309784" y="698119"/>
                    <a:pt x="1313961" y="699259"/>
                  </a:cubicBezTo>
                  <a:close/>
                  <a:moveTo>
                    <a:pt x="2413739" y="696220"/>
                  </a:moveTo>
                  <a:cubicBezTo>
                    <a:pt x="2417917" y="697359"/>
                    <a:pt x="2422474" y="700397"/>
                    <a:pt x="2427031" y="704954"/>
                  </a:cubicBezTo>
                  <a:cubicBezTo>
                    <a:pt x="2436145" y="714068"/>
                    <a:pt x="2430069" y="723183"/>
                    <a:pt x="2420955" y="729259"/>
                  </a:cubicBezTo>
                  <a:cubicBezTo>
                    <a:pt x="2414878" y="732297"/>
                    <a:pt x="2402726" y="735335"/>
                    <a:pt x="2396650" y="723183"/>
                  </a:cubicBezTo>
                  <a:cubicBezTo>
                    <a:pt x="2390574" y="711030"/>
                    <a:pt x="2390574" y="701916"/>
                    <a:pt x="2402726" y="698878"/>
                  </a:cubicBezTo>
                  <a:cubicBezTo>
                    <a:pt x="2405764" y="695840"/>
                    <a:pt x="2409562" y="695080"/>
                    <a:pt x="2413739" y="696220"/>
                  </a:cubicBezTo>
                  <a:close/>
                  <a:moveTo>
                    <a:pt x="551408" y="690144"/>
                  </a:moveTo>
                  <a:cubicBezTo>
                    <a:pt x="555585" y="691283"/>
                    <a:pt x="560142" y="694321"/>
                    <a:pt x="564699" y="698878"/>
                  </a:cubicBezTo>
                  <a:cubicBezTo>
                    <a:pt x="573814" y="707992"/>
                    <a:pt x="567737" y="717107"/>
                    <a:pt x="558623" y="723183"/>
                  </a:cubicBezTo>
                  <a:cubicBezTo>
                    <a:pt x="552547" y="726221"/>
                    <a:pt x="540395" y="729259"/>
                    <a:pt x="534319" y="717107"/>
                  </a:cubicBezTo>
                  <a:cubicBezTo>
                    <a:pt x="528243" y="704954"/>
                    <a:pt x="534319" y="698878"/>
                    <a:pt x="540395" y="692802"/>
                  </a:cubicBezTo>
                  <a:cubicBezTo>
                    <a:pt x="543433" y="689764"/>
                    <a:pt x="547231" y="689004"/>
                    <a:pt x="551408" y="690144"/>
                  </a:cubicBezTo>
                  <a:close/>
                  <a:moveTo>
                    <a:pt x="830909" y="684068"/>
                  </a:moveTo>
                  <a:cubicBezTo>
                    <a:pt x="835087" y="685207"/>
                    <a:pt x="839644" y="688245"/>
                    <a:pt x="844201" y="692802"/>
                  </a:cubicBezTo>
                  <a:cubicBezTo>
                    <a:pt x="853315" y="701916"/>
                    <a:pt x="844201" y="714069"/>
                    <a:pt x="838125" y="717107"/>
                  </a:cubicBezTo>
                  <a:cubicBezTo>
                    <a:pt x="832048" y="720145"/>
                    <a:pt x="819896" y="723183"/>
                    <a:pt x="813820" y="711031"/>
                  </a:cubicBezTo>
                  <a:cubicBezTo>
                    <a:pt x="807744" y="698878"/>
                    <a:pt x="810782" y="692802"/>
                    <a:pt x="819896" y="686726"/>
                  </a:cubicBezTo>
                  <a:cubicBezTo>
                    <a:pt x="822934" y="683688"/>
                    <a:pt x="826732" y="682928"/>
                    <a:pt x="830909" y="684068"/>
                  </a:cubicBezTo>
                  <a:close/>
                  <a:moveTo>
                    <a:pt x="730653" y="677992"/>
                  </a:moveTo>
                  <a:cubicBezTo>
                    <a:pt x="734831" y="679131"/>
                    <a:pt x="739388" y="682169"/>
                    <a:pt x="743945" y="686726"/>
                  </a:cubicBezTo>
                  <a:cubicBezTo>
                    <a:pt x="753059" y="695840"/>
                    <a:pt x="743945" y="707993"/>
                    <a:pt x="737869" y="711031"/>
                  </a:cubicBezTo>
                  <a:cubicBezTo>
                    <a:pt x="731793" y="714069"/>
                    <a:pt x="719640" y="717107"/>
                    <a:pt x="713564" y="704955"/>
                  </a:cubicBezTo>
                  <a:cubicBezTo>
                    <a:pt x="707488" y="692802"/>
                    <a:pt x="710526" y="686726"/>
                    <a:pt x="719640" y="680650"/>
                  </a:cubicBezTo>
                  <a:cubicBezTo>
                    <a:pt x="722678" y="677612"/>
                    <a:pt x="726476" y="676852"/>
                    <a:pt x="730653" y="677992"/>
                  </a:cubicBezTo>
                  <a:close/>
                  <a:moveTo>
                    <a:pt x="2228418" y="671916"/>
                  </a:moveTo>
                  <a:cubicBezTo>
                    <a:pt x="2232595" y="673055"/>
                    <a:pt x="2237153" y="676093"/>
                    <a:pt x="2241710" y="680650"/>
                  </a:cubicBezTo>
                  <a:cubicBezTo>
                    <a:pt x="2250824" y="689764"/>
                    <a:pt x="2244748" y="698879"/>
                    <a:pt x="2235634" y="704955"/>
                  </a:cubicBezTo>
                  <a:cubicBezTo>
                    <a:pt x="2229557" y="707993"/>
                    <a:pt x="2217405" y="711031"/>
                    <a:pt x="2211329" y="698879"/>
                  </a:cubicBezTo>
                  <a:cubicBezTo>
                    <a:pt x="2205253" y="686726"/>
                    <a:pt x="2208291" y="680650"/>
                    <a:pt x="2217405" y="674574"/>
                  </a:cubicBezTo>
                  <a:cubicBezTo>
                    <a:pt x="2220443" y="671536"/>
                    <a:pt x="2224241" y="670776"/>
                    <a:pt x="2228418" y="671916"/>
                  </a:cubicBezTo>
                  <a:close/>
                  <a:moveTo>
                    <a:pt x="1839546" y="671916"/>
                  </a:moveTo>
                  <a:cubicBezTo>
                    <a:pt x="1843724" y="673055"/>
                    <a:pt x="1848281" y="676093"/>
                    <a:pt x="1852838" y="680650"/>
                  </a:cubicBezTo>
                  <a:cubicBezTo>
                    <a:pt x="1861952" y="689764"/>
                    <a:pt x="1855876" y="698879"/>
                    <a:pt x="1846762" y="704955"/>
                  </a:cubicBezTo>
                  <a:cubicBezTo>
                    <a:pt x="1840686" y="707993"/>
                    <a:pt x="1828533" y="711031"/>
                    <a:pt x="1822457" y="698879"/>
                  </a:cubicBezTo>
                  <a:cubicBezTo>
                    <a:pt x="1816381" y="686726"/>
                    <a:pt x="1819419" y="677612"/>
                    <a:pt x="1828533" y="674574"/>
                  </a:cubicBezTo>
                  <a:cubicBezTo>
                    <a:pt x="1831571" y="671536"/>
                    <a:pt x="1835369" y="670776"/>
                    <a:pt x="1839546" y="671916"/>
                  </a:cubicBezTo>
                  <a:close/>
                  <a:moveTo>
                    <a:pt x="2109933" y="656726"/>
                  </a:moveTo>
                  <a:cubicBezTo>
                    <a:pt x="2114111" y="657865"/>
                    <a:pt x="2118668" y="660903"/>
                    <a:pt x="2123225" y="665460"/>
                  </a:cubicBezTo>
                  <a:cubicBezTo>
                    <a:pt x="2132339" y="674574"/>
                    <a:pt x="2126263" y="683689"/>
                    <a:pt x="2117149" y="689765"/>
                  </a:cubicBezTo>
                  <a:cubicBezTo>
                    <a:pt x="2111072" y="692803"/>
                    <a:pt x="2098920" y="695841"/>
                    <a:pt x="2092844" y="683689"/>
                  </a:cubicBezTo>
                  <a:cubicBezTo>
                    <a:pt x="2086768" y="671536"/>
                    <a:pt x="2089806" y="665460"/>
                    <a:pt x="2098920" y="659384"/>
                  </a:cubicBezTo>
                  <a:cubicBezTo>
                    <a:pt x="2101958" y="656346"/>
                    <a:pt x="2105756" y="655586"/>
                    <a:pt x="2109933" y="656726"/>
                  </a:cubicBezTo>
                  <a:close/>
                  <a:moveTo>
                    <a:pt x="1632957" y="656726"/>
                  </a:moveTo>
                  <a:cubicBezTo>
                    <a:pt x="1637135" y="657865"/>
                    <a:pt x="1641692" y="660903"/>
                    <a:pt x="1646249" y="665460"/>
                  </a:cubicBezTo>
                  <a:cubicBezTo>
                    <a:pt x="1655363" y="674574"/>
                    <a:pt x="1649287" y="683689"/>
                    <a:pt x="1640173" y="689765"/>
                  </a:cubicBezTo>
                  <a:cubicBezTo>
                    <a:pt x="1634097" y="692803"/>
                    <a:pt x="1621944" y="695841"/>
                    <a:pt x="1615868" y="683689"/>
                  </a:cubicBezTo>
                  <a:cubicBezTo>
                    <a:pt x="1609792" y="668498"/>
                    <a:pt x="1612830" y="662422"/>
                    <a:pt x="1621944" y="659384"/>
                  </a:cubicBezTo>
                  <a:cubicBezTo>
                    <a:pt x="1624982" y="656346"/>
                    <a:pt x="1628780" y="655586"/>
                    <a:pt x="1632957" y="656726"/>
                  </a:cubicBezTo>
                  <a:close/>
                  <a:moveTo>
                    <a:pt x="1165096" y="656726"/>
                  </a:moveTo>
                  <a:cubicBezTo>
                    <a:pt x="1169273" y="657865"/>
                    <a:pt x="1173830" y="660903"/>
                    <a:pt x="1178387" y="665460"/>
                  </a:cubicBezTo>
                  <a:cubicBezTo>
                    <a:pt x="1187502" y="674574"/>
                    <a:pt x="1178387" y="686727"/>
                    <a:pt x="1172311" y="689765"/>
                  </a:cubicBezTo>
                  <a:cubicBezTo>
                    <a:pt x="1166235" y="692803"/>
                    <a:pt x="1154083" y="695841"/>
                    <a:pt x="1148007" y="683689"/>
                  </a:cubicBezTo>
                  <a:cubicBezTo>
                    <a:pt x="1141931" y="671536"/>
                    <a:pt x="1148007" y="665460"/>
                    <a:pt x="1154083" y="659384"/>
                  </a:cubicBezTo>
                  <a:cubicBezTo>
                    <a:pt x="1157121" y="656346"/>
                    <a:pt x="1160919" y="655586"/>
                    <a:pt x="1165096" y="656726"/>
                  </a:cubicBezTo>
                  <a:close/>
                  <a:moveTo>
                    <a:pt x="1948916" y="653688"/>
                  </a:moveTo>
                  <a:cubicBezTo>
                    <a:pt x="1953094" y="654827"/>
                    <a:pt x="1957651" y="657865"/>
                    <a:pt x="1962208" y="662422"/>
                  </a:cubicBezTo>
                  <a:cubicBezTo>
                    <a:pt x="1971322" y="671536"/>
                    <a:pt x="1965246" y="680651"/>
                    <a:pt x="1956132" y="686727"/>
                  </a:cubicBezTo>
                  <a:cubicBezTo>
                    <a:pt x="1950056" y="689765"/>
                    <a:pt x="1937903" y="692803"/>
                    <a:pt x="1931827" y="680651"/>
                  </a:cubicBezTo>
                  <a:cubicBezTo>
                    <a:pt x="1925751" y="665460"/>
                    <a:pt x="1928789" y="659384"/>
                    <a:pt x="1937903" y="656346"/>
                  </a:cubicBezTo>
                  <a:cubicBezTo>
                    <a:pt x="1940941" y="653308"/>
                    <a:pt x="1944739" y="652548"/>
                    <a:pt x="1948916" y="653688"/>
                  </a:cubicBezTo>
                  <a:close/>
                  <a:moveTo>
                    <a:pt x="2328673" y="647611"/>
                  </a:moveTo>
                  <a:cubicBezTo>
                    <a:pt x="2332851" y="648750"/>
                    <a:pt x="2337408" y="651788"/>
                    <a:pt x="2341965" y="656345"/>
                  </a:cubicBezTo>
                  <a:cubicBezTo>
                    <a:pt x="2351079" y="665459"/>
                    <a:pt x="2345003" y="674574"/>
                    <a:pt x="2335889" y="680650"/>
                  </a:cubicBezTo>
                  <a:cubicBezTo>
                    <a:pt x="2329813" y="683688"/>
                    <a:pt x="2317660" y="686726"/>
                    <a:pt x="2311584" y="674574"/>
                  </a:cubicBezTo>
                  <a:cubicBezTo>
                    <a:pt x="2305508" y="662421"/>
                    <a:pt x="2308546" y="656345"/>
                    <a:pt x="2317660" y="650269"/>
                  </a:cubicBezTo>
                  <a:cubicBezTo>
                    <a:pt x="2320698" y="647231"/>
                    <a:pt x="2324496" y="646471"/>
                    <a:pt x="2328673" y="647611"/>
                  </a:cubicBezTo>
                  <a:close/>
                  <a:moveTo>
                    <a:pt x="639512" y="641535"/>
                  </a:moveTo>
                  <a:cubicBezTo>
                    <a:pt x="643690" y="642674"/>
                    <a:pt x="648247" y="645712"/>
                    <a:pt x="652804" y="650269"/>
                  </a:cubicBezTo>
                  <a:cubicBezTo>
                    <a:pt x="661918" y="659383"/>
                    <a:pt x="655842" y="668498"/>
                    <a:pt x="646728" y="674574"/>
                  </a:cubicBezTo>
                  <a:cubicBezTo>
                    <a:pt x="640651" y="677612"/>
                    <a:pt x="628499" y="680650"/>
                    <a:pt x="622423" y="668498"/>
                  </a:cubicBezTo>
                  <a:cubicBezTo>
                    <a:pt x="616347" y="653307"/>
                    <a:pt x="619385" y="647231"/>
                    <a:pt x="628499" y="644193"/>
                  </a:cubicBezTo>
                  <a:cubicBezTo>
                    <a:pt x="631537" y="641155"/>
                    <a:pt x="635335" y="640395"/>
                    <a:pt x="639512" y="641535"/>
                  </a:cubicBezTo>
                  <a:close/>
                  <a:moveTo>
                    <a:pt x="451152" y="641535"/>
                  </a:moveTo>
                  <a:cubicBezTo>
                    <a:pt x="455330" y="642674"/>
                    <a:pt x="459887" y="645712"/>
                    <a:pt x="464444" y="650269"/>
                  </a:cubicBezTo>
                  <a:cubicBezTo>
                    <a:pt x="473558" y="659383"/>
                    <a:pt x="464444" y="671536"/>
                    <a:pt x="458368" y="674574"/>
                  </a:cubicBezTo>
                  <a:cubicBezTo>
                    <a:pt x="452292" y="677612"/>
                    <a:pt x="440139" y="680650"/>
                    <a:pt x="434063" y="668498"/>
                  </a:cubicBezTo>
                  <a:cubicBezTo>
                    <a:pt x="427987" y="656345"/>
                    <a:pt x="431025" y="647231"/>
                    <a:pt x="440139" y="644193"/>
                  </a:cubicBezTo>
                  <a:cubicBezTo>
                    <a:pt x="443177" y="641155"/>
                    <a:pt x="446975" y="640395"/>
                    <a:pt x="451152" y="641535"/>
                  </a:cubicBezTo>
                  <a:close/>
                  <a:moveTo>
                    <a:pt x="1739291" y="638497"/>
                  </a:moveTo>
                  <a:cubicBezTo>
                    <a:pt x="1743468" y="639636"/>
                    <a:pt x="1748025" y="642674"/>
                    <a:pt x="1752582" y="647231"/>
                  </a:cubicBezTo>
                  <a:cubicBezTo>
                    <a:pt x="1761696" y="656345"/>
                    <a:pt x="1755620" y="665460"/>
                    <a:pt x="1746506" y="671536"/>
                  </a:cubicBezTo>
                  <a:cubicBezTo>
                    <a:pt x="1740430" y="674574"/>
                    <a:pt x="1728277" y="677612"/>
                    <a:pt x="1722201" y="665460"/>
                  </a:cubicBezTo>
                  <a:cubicBezTo>
                    <a:pt x="1716125" y="650269"/>
                    <a:pt x="1719163" y="644193"/>
                    <a:pt x="1728277" y="641155"/>
                  </a:cubicBezTo>
                  <a:cubicBezTo>
                    <a:pt x="1731316" y="638117"/>
                    <a:pt x="1735113" y="637357"/>
                    <a:pt x="1739291" y="638497"/>
                  </a:cubicBezTo>
                  <a:close/>
                  <a:moveTo>
                    <a:pt x="1429407" y="623307"/>
                  </a:moveTo>
                  <a:cubicBezTo>
                    <a:pt x="1433585" y="624446"/>
                    <a:pt x="1438142" y="627484"/>
                    <a:pt x="1442699" y="632041"/>
                  </a:cubicBezTo>
                  <a:cubicBezTo>
                    <a:pt x="1451813" y="641155"/>
                    <a:pt x="1445737" y="650270"/>
                    <a:pt x="1436623" y="656346"/>
                  </a:cubicBezTo>
                  <a:cubicBezTo>
                    <a:pt x="1430547" y="659384"/>
                    <a:pt x="1418394" y="662422"/>
                    <a:pt x="1412318" y="650270"/>
                  </a:cubicBezTo>
                  <a:cubicBezTo>
                    <a:pt x="1406242" y="638117"/>
                    <a:pt x="1409280" y="629003"/>
                    <a:pt x="1418394" y="625965"/>
                  </a:cubicBezTo>
                  <a:cubicBezTo>
                    <a:pt x="1421432" y="622927"/>
                    <a:pt x="1425230" y="622167"/>
                    <a:pt x="1429407" y="623307"/>
                  </a:cubicBezTo>
                  <a:close/>
                  <a:moveTo>
                    <a:pt x="991927" y="614193"/>
                  </a:moveTo>
                  <a:cubicBezTo>
                    <a:pt x="996105" y="615332"/>
                    <a:pt x="1000662" y="618370"/>
                    <a:pt x="1005219" y="622927"/>
                  </a:cubicBezTo>
                  <a:cubicBezTo>
                    <a:pt x="1014333" y="632041"/>
                    <a:pt x="1008257" y="641156"/>
                    <a:pt x="999143" y="647232"/>
                  </a:cubicBezTo>
                  <a:cubicBezTo>
                    <a:pt x="993067" y="650270"/>
                    <a:pt x="980914" y="653308"/>
                    <a:pt x="974838" y="641156"/>
                  </a:cubicBezTo>
                  <a:cubicBezTo>
                    <a:pt x="968762" y="629003"/>
                    <a:pt x="971800" y="619889"/>
                    <a:pt x="980914" y="616851"/>
                  </a:cubicBezTo>
                  <a:cubicBezTo>
                    <a:pt x="983952" y="613813"/>
                    <a:pt x="987750" y="613053"/>
                    <a:pt x="991927" y="614193"/>
                  </a:cubicBezTo>
                  <a:close/>
                  <a:moveTo>
                    <a:pt x="1244086" y="589888"/>
                  </a:moveTo>
                  <a:cubicBezTo>
                    <a:pt x="1248264" y="591027"/>
                    <a:pt x="1252821" y="594065"/>
                    <a:pt x="1257378" y="598622"/>
                  </a:cubicBezTo>
                  <a:cubicBezTo>
                    <a:pt x="1266492" y="607736"/>
                    <a:pt x="1260416" y="616851"/>
                    <a:pt x="1251302" y="622927"/>
                  </a:cubicBezTo>
                  <a:cubicBezTo>
                    <a:pt x="1245226" y="625965"/>
                    <a:pt x="1233073" y="629003"/>
                    <a:pt x="1226997" y="616851"/>
                  </a:cubicBezTo>
                  <a:cubicBezTo>
                    <a:pt x="1220921" y="601660"/>
                    <a:pt x="1223959" y="595584"/>
                    <a:pt x="1233073" y="592546"/>
                  </a:cubicBezTo>
                  <a:cubicBezTo>
                    <a:pt x="1236111" y="589508"/>
                    <a:pt x="1239909" y="588748"/>
                    <a:pt x="1244086" y="589888"/>
                  </a:cubicBezTo>
                  <a:close/>
                  <a:moveTo>
                    <a:pt x="1332189" y="586850"/>
                  </a:moveTo>
                  <a:cubicBezTo>
                    <a:pt x="1336367" y="587989"/>
                    <a:pt x="1340924" y="591027"/>
                    <a:pt x="1345481" y="595584"/>
                  </a:cubicBezTo>
                  <a:cubicBezTo>
                    <a:pt x="1354595" y="604698"/>
                    <a:pt x="1345481" y="616851"/>
                    <a:pt x="1339405" y="619889"/>
                  </a:cubicBezTo>
                  <a:cubicBezTo>
                    <a:pt x="1333328" y="622927"/>
                    <a:pt x="1321176" y="625965"/>
                    <a:pt x="1315100" y="613813"/>
                  </a:cubicBezTo>
                  <a:cubicBezTo>
                    <a:pt x="1309024" y="601660"/>
                    <a:pt x="1312062" y="595584"/>
                    <a:pt x="1321176" y="589508"/>
                  </a:cubicBezTo>
                  <a:cubicBezTo>
                    <a:pt x="1324214" y="586470"/>
                    <a:pt x="1328012" y="585710"/>
                    <a:pt x="1332189" y="586850"/>
                  </a:cubicBezTo>
                  <a:close/>
                  <a:moveTo>
                    <a:pt x="867366" y="583812"/>
                  </a:moveTo>
                  <a:cubicBezTo>
                    <a:pt x="871544" y="584951"/>
                    <a:pt x="876101" y="587989"/>
                    <a:pt x="880658" y="592546"/>
                  </a:cubicBezTo>
                  <a:cubicBezTo>
                    <a:pt x="889772" y="601660"/>
                    <a:pt x="880658" y="613813"/>
                    <a:pt x="874582" y="616851"/>
                  </a:cubicBezTo>
                  <a:cubicBezTo>
                    <a:pt x="868506" y="619889"/>
                    <a:pt x="856353" y="622927"/>
                    <a:pt x="850277" y="610775"/>
                  </a:cubicBezTo>
                  <a:cubicBezTo>
                    <a:pt x="844201" y="595584"/>
                    <a:pt x="847239" y="589508"/>
                    <a:pt x="856353" y="586470"/>
                  </a:cubicBezTo>
                  <a:cubicBezTo>
                    <a:pt x="859391" y="583432"/>
                    <a:pt x="863189" y="582672"/>
                    <a:pt x="867366" y="583812"/>
                  </a:cubicBezTo>
                  <a:close/>
                  <a:moveTo>
                    <a:pt x="2222342" y="576217"/>
                  </a:moveTo>
                  <a:cubicBezTo>
                    <a:pt x="2226519" y="577356"/>
                    <a:pt x="2231076" y="580394"/>
                    <a:pt x="2235633" y="586470"/>
                  </a:cubicBezTo>
                  <a:cubicBezTo>
                    <a:pt x="2244748" y="595584"/>
                    <a:pt x="2238672" y="604698"/>
                    <a:pt x="2229557" y="610775"/>
                  </a:cubicBezTo>
                  <a:cubicBezTo>
                    <a:pt x="2223481" y="613813"/>
                    <a:pt x="2211329" y="616851"/>
                    <a:pt x="2205253" y="604698"/>
                  </a:cubicBezTo>
                  <a:cubicBezTo>
                    <a:pt x="2199177" y="589508"/>
                    <a:pt x="2205253" y="580394"/>
                    <a:pt x="2211329" y="577356"/>
                  </a:cubicBezTo>
                  <a:cubicBezTo>
                    <a:pt x="2214367" y="575837"/>
                    <a:pt x="2218165" y="575077"/>
                    <a:pt x="2222342" y="576217"/>
                  </a:cubicBezTo>
                  <a:close/>
                  <a:moveTo>
                    <a:pt x="1092183" y="571660"/>
                  </a:moveTo>
                  <a:cubicBezTo>
                    <a:pt x="1096361" y="572799"/>
                    <a:pt x="1100918" y="575837"/>
                    <a:pt x="1105475" y="580394"/>
                  </a:cubicBezTo>
                  <a:cubicBezTo>
                    <a:pt x="1114589" y="589508"/>
                    <a:pt x="1108513" y="598623"/>
                    <a:pt x="1099399" y="604699"/>
                  </a:cubicBezTo>
                  <a:cubicBezTo>
                    <a:pt x="1093322" y="607737"/>
                    <a:pt x="1081170" y="610775"/>
                    <a:pt x="1075094" y="598623"/>
                  </a:cubicBezTo>
                  <a:cubicBezTo>
                    <a:pt x="1069018" y="586470"/>
                    <a:pt x="1069018" y="580394"/>
                    <a:pt x="1081170" y="574318"/>
                  </a:cubicBezTo>
                  <a:cubicBezTo>
                    <a:pt x="1084208" y="571280"/>
                    <a:pt x="1088006" y="570520"/>
                    <a:pt x="1092183" y="571660"/>
                  </a:cubicBezTo>
                  <a:close/>
                  <a:moveTo>
                    <a:pt x="2000563" y="568622"/>
                  </a:moveTo>
                  <a:cubicBezTo>
                    <a:pt x="2004740" y="569761"/>
                    <a:pt x="2009298" y="572799"/>
                    <a:pt x="2013855" y="577356"/>
                  </a:cubicBezTo>
                  <a:cubicBezTo>
                    <a:pt x="2022969" y="586470"/>
                    <a:pt x="2016893" y="595585"/>
                    <a:pt x="2007779" y="601661"/>
                  </a:cubicBezTo>
                  <a:cubicBezTo>
                    <a:pt x="2001702" y="604699"/>
                    <a:pt x="1989550" y="607737"/>
                    <a:pt x="1983474" y="595585"/>
                  </a:cubicBezTo>
                  <a:cubicBezTo>
                    <a:pt x="1977398" y="583432"/>
                    <a:pt x="1980436" y="577356"/>
                    <a:pt x="1989550" y="571280"/>
                  </a:cubicBezTo>
                  <a:cubicBezTo>
                    <a:pt x="1992588" y="568242"/>
                    <a:pt x="1996386" y="567482"/>
                    <a:pt x="2000563" y="568622"/>
                  </a:cubicBezTo>
                  <a:close/>
                  <a:moveTo>
                    <a:pt x="745844" y="568622"/>
                  </a:moveTo>
                  <a:cubicBezTo>
                    <a:pt x="750022" y="569761"/>
                    <a:pt x="754579" y="572799"/>
                    <a:pt x="759136" y="577356"/>
                  </a:cubicBezTo>
                  <a:cubicBezTo>
                    <a:pt x="768250" y="586470"/>
                    <a:pt x="759136" y="598623"/>
                    <a:pt x="753060" y="601661"/>
                  </a:cubicBezTo>
                  <a:cubicBezTo>
                    <a:pt x="746984" y="604699"/>
                    <a:pt x="734831" y="607737"/>
                    <a:pt x="728755" y="595585"/>
                  </a:cubicBezTo>
                  <a:cubicBezTo>
                    <a:pt x="722679" y="580394"/>
                    <a:pt x="725717" y="574318"/>
                    <a:pt x="734831" y="571280"/>
                  </a:cubicBezTo>
                  <a:cubicBezTo>
                    <a:pt x="737869" y="568242"/>
                    <a:pt x="741667" y="567482"/>
                    <a:pt x="745844" y="568622"/>
                  </a:cubicBezTo>
                  <a:close/>
                  <a:moveTo>
                    <a:pt x="533179" y="568622"/>
                  </a:moveTo>
                  <a:cubicBezTo>
                    <a:pt x="537357" y="569761"/>
                    <a:pt x="541914" y="572799"/>
                    <a:pt x="546471" y="577356"/>
                  </a:cubicBezTo>
                  <a:cubicBezTo>
                    <a:pt x="555585" y="586470"/>
                    <a:pt x="549509" y="595585"/>
                    <a:pt x="540395" y="601661"/>
                  </a:cubicBezTo>
                  <a:cubicBezTo>
                    <a:pt x="534318" y="604699"/>
                    <a:pt x="522166" y="607737"/>
                    <a:pt x="516090" y="595585"/>
                  </a:cubicBezTo>
                  <a:cubicBezTo>
                    <a:pt x="510014" y="580394"/>
                    <a:pt x="513052" y="574318"/>
                    <a:pt x="522166" y="571280"/>
                  </a:cubicBezTo>
                  <a:cubicBezTo>
                    <a:pt x="525204" y="568242"/>
                    <a:pt x="529002" y="567482"/>
                    <a:pt x="533179" y="568622"/>
                  </a:cubicBezTo>
                  <a:close/>
                  <a:moveTo>
                    <a:pt x="1866889" y="565584"/>
                  </a:moveTo>
                  <a:cubicBezTo>
                    <a:pt x="1871066" y="566723"/>
                    <a:pt x="1875623" y="569761"/>
                    <a:pt x="1880180" y="574318"/>
                  </a:cubicBezTo>
                  <a:cubicBezTo>
                    <a:pt x="1889295" y="583432"/>
                    <a:pt x="1883218" y="592547"/>
                    <a:pt x="1874104" y="598623"/>
                  </a:cubicBezTo>
                  <a:cubicBezTo>
                    <a:pt x="1868028" y="601661"/>
                    <a:pt x="1855876" y="604699"/>
                    <a:pt x="1849800" y="592547"/>
                  </a:cubicBezTo>
                  <a:cubicBezTo>
                    <a:pt x="1843724" y="577356"/>
                    <a:pt x="1849800" y="574318"/>
                    <a:pt x="1855876" y="568242"/>
                  </a:cubicBezTo>
                  <a:cubicBezTo>
                    <a:pt x="1858914" y="565204"/>
                    <a:pt x="1862712" y="564444"/>
                    <a:pt x="1866889" y="565584"/>
                  </a:cubicBezTo>
                  <a:close/>
                  <a:moveTo>
                    <a:pt x="1508397" y="565584"/>
                  </a:moveTo>
                  <a:cubicBezTo>
                    <a:pt x="1512575" y="566723"/>
                    <a:pt x="1517132" y="569761"/>
                    <a:pt x="1521689" y="574318"/>
                  </a:cubicBezTo>
                  <a:cubicBezTo>
                    <a:pt x="1530803" y="583432"/>
                    <a:pt x="1524727" y="592547"/>
                    <a:pt x="1515613" y="598623"/>
                  </a:cubicBezTo>
                  <a:cubicBezTo>
                    <a:pt x="1509537" y="601661"/>
                    <a:pt x="1497384" y="604699"/>
                    <a:pt x="1491308" y="592547"/>
                  </a:cubicBezTo>
                  <a:cubicBezTo>
                    <a:pt x="1485232" y="577356"/>
                    <a:pt x="1488270" y="571280"/>
                    <a:pt x="1497384" y="568242"/>
                  </a:cubicBezTo>
                  <a:cubicBezTo>
                    <a:pt x="1500422" y="565204"/>
                    <a:pt x="1504220" y="564444"/>
                    <a:pt x="1508397" y="565584"/>
                  </a:cubicBezTo>
                  <a:close/>
                  <a:moveTo>
                    <a:pt x="2365130" y="556470"/>
                  </a:moveTo>
                  <a:cubicBezTo>
                    <a:pt x="2369307" y="557609"/>
                    <a:pt x="2373865" y="560647"/>
                    <a:pt x="2378422" y="565204"/>
                  </a:cubicBezTo>
                  <a:cubicBezTo>
                    <a:pt x="2387536" y="574318"/>
                    <a:pt x="2381460" y="583433"/>
                    <a:pt x="2372346" y="589509"/>
                  </a:cubicBezTo>
                  <a:cubicBezTo>
                    <a:pt x="2366269" y="592547"/>
                    <a:pt x="2354117" y="595585"/>
                    <a:pt x="2348041" y="583433"/>
                  </a:cubicBezTo>
                  <a:cubicBezTo>
                    <a:pt x="2341965" y="568242"/>
                    <a:pt x="2345003" y="562166"/>
                    <a:pt x="2354117" y="559128"/>
                  </a:cubicBezTo>
                  <a:cubicBezTo>
                    <a:pt x="2357155" y="556090"/>
                    <a:pt x="2360953" y="555330"/>
                    <a:pt x="2365130" y="556470"/>
                  </a:cubicBezTo>
                  <a:close/>
                  <a:moveTo>
                    <a:pt x="1620805" y="550394"/>
                  </a:moveTo>
                  <a:cubicBezTo>
                    <a:pt x="1624983" y="551533"/>
                    <a:pt x="1629540" y="554571"/>
                    <a:pt x="1634097" y="559128"/>
                  </a:cubicBezTo>
                  <a:cubicBezTo>
                    <a:pt x="1643211" y="568242"/>
                    <a:pt x="1637135" y="577357"/>
                    <a:pt x="1628021" y="583433"/>
                  </a:cubicBezTo>
                  <a:cubicBezTo>
                    <a:pt x="1621944" y="586471"/>
                    <a:pt x="1609792" y="589509"/>
                    <a:pt x="1603716" y="577357"/>
                  </a:cubicBezTo>
                  <a:cubicBezTo>
                    <a:pt x="1597640" y="562166"/>
                    <a:pt x="1597640" y="556090"/>
                    <a:pt x="1609792" y="553052"/>
                  </a:cubicBezTo>
                  <a:cubicBezTo>
                    <a:pt x="1612830" y="550014"/>
                    <a:pt x="1616628" y="549254"/>
                    <a:pt x="1620805" y="550394"/>
                  </a:cubicBezTo>
                  <a:close/>
                  <a:moveTo>
                    <a:pt x="2097781" y="544317"/>
                  </a:moveTo>
                  <a:cubicBezTo>
                    <a:pt x="2101959" y="545456"/>
                    <a:pt x="2106516" y="548494"/>
                    <a:pt x="2111073" y="553051"/>
                  </a:cubicBezTo>
                  <a:cubicBezTo>
                    <a:pt x="2120187" y="562165"/>
                    <a:pt x="2114111" y="571280"/>
                    <a:pt x="2104997" y="577356"/>
                  </a:cubicBezTo>
                  <a:cubicBezTo>
                    <a:pt x="2098921" y="580394"/>
                    <a:pt x="2086768" y="583432"/>
                    <a:pt x="2080692" y="571280"/>
                  </a:cubicBezTo>
                  <a:cubicBezTo>
                    <a:pt x="2074616" y="559127"/>
                    <a:pt x="2074616" y="553051"/>
                    <a:pt x="2086768" y="546975"/>
                  </a:cubicBezTo>
                  <a:cubicBezTo>
                    <a:pt x="2089806" y="543937"/>
                    <a:pt x="2093604" y="543177"/>
                    <a:pt x="2097781" y="544317"/>
                  </a:cubicBezTo>
                  <a:close/>
                  <a:moveTo>
                    <a:pt x="1745366" y="538241"/>
                  </a:moveTo>
                  <a:cubicBezTo>
                    <a:pt x="1749544" y="539380"/>
                    <a:pt x="1754101" y="542418"/>
                    <a:pt x="1758658" y="546975"/>
                  </a:cubicBezTo>
                  <a:cubicBezTo>
                    <a:pt x="1767772" y="556089"/>
                    <a:pt x="1761696" y="565204"/>
                    <a:pt x="1752582" y="571280"/>
                  </a:cubicBezTo>
                  <a:cubicBezTo>
                    <a:pt x="1746505" y="574318"/>
                    <a:pt x="1734353" y="577356"/>
                    <a:pt x="1728277" y="565204"/>
                  </a:cubicBezTo>
                  <a:cubicBezTo>
                    <a:pt x="1722201" y="553051"/>
                    <a:pt x="1725239" y="546975"/>
                    <a:pt x="1734353" y="540899"/>
                  </a:cubicBezTo>
                  <a:cubicBezTo>
                    <a:pt x="1737391" y="537861"/>
                    <a:pt x="1741189" y="537101"/>
                    <a:pt x="1745366" y="538241"/>
                  </a:cubicBezTo>
                  <a:close/>
                  <a:moveTo>
                    <a:pt x="624322" y="529127"/>
                  </a:moveTo>
                  <a:cubicBezTo>
                    <a:pt x="628499" y="530266"/>
                    <a:pt x="633056" y="533304"/>
                    <a:pt x="637613" y="537861"/>
                  </a:cubicBezTo>
                  <a:cubicBezTo>
                    <a:pt x="646728" y="546975"/>
                    <a:pt x="640651" y="556090"/>
                    <a:pt x="631537" y="562166"/>
                  </a:cubicBezTo>
                  <a:cubicBezTo>
                    <a:pt x="625461" y="565204"/>
                    <a:pt x="613309" y="568242"/>
                    <a:pt x="607233" y="556090"/>
                  </a:cubicBezTo>
                  <a:cubicBezTo>
                    <a:pt x="601157" y="540899"/>
                    <a:pt x="607233" y="537861"/>
                    <a:pt x="613309" y="531785"/>
                  </a:cubicBezTo>
                  <a:cubicBezTo>
                    <a:pt x="616347" y="528747"/>
                    <a:pt x="620145" y="527987"/>
                    <a:pt x="624322" y="529127"/>
                  </a:cubicBezTo>
                  <a:close/>
                  <a:moveTo>
                    <a:pt x="958508" y="523051"/>
                  </a:moveTo>
                  <a:cubicBezTo>
                    <a:pt x="962686" y="524190"/>
                    <a:pt x="967243" y="527228"/>
                    <a:pt x="971800" y="531785"/>
                  </a:cubicBezTo>
                  <a:cubicBezTo>
                    <a:pt x="980914" y="540899"/>
                    <a:pt x="974838" y="550014"/>
                    <a:pt x="965724" y="556090"/>
                  </a:cubicBezTo>
                  <a:cubicBezTo>
                    <a:pt x="959648" y="559128"/>
                    <a:pt x="947495" y="562166"/>
                    <a:pt x="941419" y="550014"/>
                  </a:cubicBezTo>
                  <a:cubicBezTo>
                    <a:pt x="935343" y="534823"/>
                    <a:pt x="938381" y="528747"/>
                    <a:pt x="947495" y="525709"/>
                  </a:cubicBezTo>
                  <a:cubicBezTo>
                    <a:pt x="950533" y="522671"/>
                    <a:pt x="954331" y="521911"/>
                    <a:pt x="958508" y="523051"/>
                  </a:cubicBezTo>
                  <a:close/>
                  <a:moveTo>
                    <a:pt x="1177248" y="507861"/>
                  </a:moveTo>
                  <a:cubicBezTo>
                    <a:pt x="1181426" y="509000"/>
                    <a:pt x="1185983" y="512038"/>
                    <a:pt x="1190540" y="516595"/>
                  </a:cubicBezTo>
                  <a:cubicBezTo>
                    <a:pt x="1199654" y="525709"/>
                    <a:pt x="1190540" y="537862"/>
                    <a:pt x="1184464" y="540900"/>
                  </a:cubicBezTo>
                  <a:cubicBezTo>
                    <a:pt x="1178388" y="543938"/>
                    <a:pt x="1166235" y="546976"/>
                    <a:pt x="1160159" y="534824"/>
                  </a:cubicBezTo>
                  <a:cubicBezTo>
                    <a:pt x="1154083" y="522671"/>
                    <a:pt x="1157121" y="516595"/>
                    <a:pt x="1166235" y="510519"/>
                  </a:cubicBezTo>
                  <a:cubicBezTo>
                    <a:pt x="1169273" y="507481"/>
                    <a:pt x="1173071" y="506721"/>
                    <a:pt x="1177248" y="507861"/>
                  </a:cubicBezTo>
                  <a:close/>
                  <a:moveTo>
                    <a:pt x="1399027" y="504823"/>
                  </a:moveTo>
                  <a:cubicBezTo>
                    <a:pt x="1403205" y="505962"/>
                    <a:pt x="1407762" y="509000"/>
                    <a:pt x="1412319" y="513557"/>
                  </a:cubicBezTo>
                  <a:cubicBezTo>
                    <a:pt x="1421433" y="522671"/>
                    <a:pt x="1412319" y="534824"/>
                    <a:pt x="1406243" y="537862"/>
                  </a:cubicBezTo>
                  <a:cubicBezTo>
                    <a:pt x="1400167" y="540900"/>
                    <a:pt x="1388014" y="543938"/>
                    <a:pt x="1381938" y="531786"/>
                  </a:cubicBezTo>
                  <a:cubicBezTo>
                    <a:pt x="1375862" y="516595"/>
                    <a:pt x="1378900" y="510519"/>
                    <a:pt x="1388014" y="507481"/>
                  </a:cubicBezTo>
                  <a:cubicBezTo>
                    <a:pt x="1391052" y="504443"/>
                    <a:pt x="1394850" y="503683"/>
                    <a:pt x="1399027" y="504823"/>
                  </a:cubicBezTo>
                  <a:close/>
                  <a:moveTo>
                    <a:pt x="2194999" y="492670"/>
                  </a:moveTo>
                  <a:cubicBezTo>
                    <a:pt x="2199176" y="493809"/>
                    <a:pt x="2203734" y="496847"/>
                    <a:pt x="2208291" y="501404"/>
                  </a:cubicBezTo>
                  <a:cubicBezTo>
                    <a:pt x="2217405" y="510518"/>
                    <a:pt x="2208291" y="522671"/>
                    <a:pt x="2202214" y="525709"/>
                  </a:cubicBezTo>
                  <a:cubicBezTo>
                    <a:pt x="2196138" y="528747"/>
                    <a:pt x="2183986" y="531785"/>
                    <a:pt x="2177910" y="519633"/>
                  </a:cubicBezTo>
                  <a:cubicBezTo>
                    <a:pt x="2174872" y="504442"/>
                    <a:pt x="2174872" y="498366"/>
                    <a:pt x="2183986" y="495328"/>
                  </a:cubicBezTo>
                  <a:cubicBezTo>
                    <a:pt x="2187024" y="492290"/>
                    <a:pt x="2190822" y="491530"/>
                    <a:pt x="2194999" y="492670"/>
                  </a:cubicBezTo>
                  <a:close/>
                  <a:moveTo>
                    <a:pt x="1912459" y="480518"/>
                  </a:moveTo>
                  <a:cubicBezTo>
                    <a:pt x="1916637" y="481657"/>
                    <a:pt x="1921194" y="484695"/>
                    <a:pt x="1925751" y="489252"/>
                  </a:cubicBezTo>
                  <a:cubicBezTo>
                    <a:pt x="1934865" y="498366"/>
                    <a:pt x="1925751" y="510519"/>
                    <a:pt x="1919675" y="513557"/>
                  </a:cubicBezTo>
                  <a:cubicBezTo>
                    <a:pt x="1913598" y="516595"/>
                    <a:pt x="1901446" y="519633"/>
                    <a:pt x="1895370" y="507481"/>
                  </a:cubicBezTo>
                  <a:cubicBezTo>
                    <a:pt x="1889294" y="495328"/>
                    <a:pt x="1892332" y="486214"/>
                    <a:pt x="1901446" y="483176"/>
                  </a:cubicBezTo>
                  <a:cubicBezTo>
                    <a:pt x="1904484" y="480138"/>
                    <a:pt x="1908282" y="479378"/>
                    <a:pt x="1912459" y="480518"/>
                  </a:cubicBezTo>
                  <a:close/>
                  <a:moveTo>
                    <a:pt x="803567" y="480518"/>
                  </a:moveTo>
                  <a:cubicBezTo>
                    <a:pt x="807745" y="481657"/>
                    <a:pt x="812302" y="484695"/>
                    <a:pt x="816859" y="489252"/>
                  </a:cubicBezTo>
                  <a:cubicBezTo>
                    <a:pt x="825973" y="498366"/>
                    <a:pt x="816859" y="510519"/>
                    <a:pt x="810783" y="513557"/>
                  </a:cubicBezTo>
                  <a:cubicBezTo>
                    <a:pt x="804706" y="516595"/>
                    <a:pt x="792554" y="519633"/>
                    <a:pt x="786478" y="507481"/>
                  </a:cubicBezTo>
                  <a:cubicBezTo>
                    <a:pt x="780402" y="495328"/>
                    <a:pt x="780402" y="489252"/>
                    <a:pt x="792554" y="483176"/>
                  </a:cubicBezTo>
                  <a:cubicBezTo>
                    <a:pt x="795592" y="480138"/>
                    <a:pt x="799390" y="479378"/>
                    <a:pt x="803567" y="480518"/>
                  </a:cubicBezTo>
                  <a:close/>
                  <a:moveTo>
                    <a:pt x="1550930" y="471404"/>
                  </a:moveTo>
                  <a:cubicBezTo>
                    <a:pt x="1555108" y="472543"/>
                    <a:pt x="1559665" y="475581"/>
                    <a:pt x="1564222" y="480138"/>
                  </a:cubicBezTo>
                  <a:cubicBezTo>
                    <a:pt x="1573336" y="489252"/>
                    <a:pt x="1564222" y="501405"/>
                    <a:pt x="1558146" y="504443"/>
                  </a:cubicBezTo>
                  <a:cubicBezTo>
                    <a:pt x="1552070" y="507481"/>
                    <a:pt x="1539917" y="510519"/>
                    <a:pt x="1533841" y="498367"/>
                  </a:cubicBezTo>
                  <a:cubicBezTo>
                    <a:pt x="1527765" y="486214"/>
                    <a:pt x="1530803" y="480138"/>
                    <a:pt x="1539917" y="474062"/>
                  </a:cubicBezTo>
                  <a:cubicBezTo>
                    <a:pt x="1542955" y="471024"/>
                    <a:pt x="1546753" y="470264"/>
                    <a:pt x="1550930" y="471404"/>
                  </a:cubicBezTo>
                  <a:close/>
                  <a:moveTo>
                    <a:pt x="2307407" y="465328"/>
                  </a:moveTo>
                  <a:cubicBezTo>
                    <a:pt x="2311584" y="466467"/>
                    <a:pt x="2316141" y="469505"/>
                    <a:pt x="2320698" y="474062"/>
                  </a:cubicBezTo>
                  <a:cubicBezTo>
                    <a:pt x="2329813" y="483176"/>
                    <a:pt x="2323736" y="492291"/>
                    <a:pt x="2314622" y="498367"/>
                  </a:cubicBezTo>
                  <a:cubicBezTo>
                    <a:pt x="2308546" y="501405"/>
                    <a:pt x="2296394" y="504443"/>
                    <a:pt x="2290318" y="492291"/>
                  </a:cubicBezTo>
                  <a:cubicBezTo>
                    <a:pt x="2284242" y="480138"/>
                    <a:pt x="2290318" y="474062"/>
                    <a:pt x="2296394" y="467986"/>
                  </a:cubicBezTo>
                  <a:cubicBezTo>
                    <a:pt x="2299432" y="464948"/>
                    <a:pt x="2303230" y="464188"/>
                    <a:pt x="2307407" y="465328"/>
                  </a:cubicBezTo>
                  <a:close/>
                  <a:moveTo>
                    <a:pt x="1076992" y="462290"/>
                  </a:moveTo>
                  <a:cubicBezTo>
                    <a:pt x="1081170" y="463429"/>
                    <a:pt x="1085727" y="466467"/>
                    <a:pt x="1090284" y="471024"/>
                  </a:cubicBezTo>
                  <a:cubicBezTo>
                    <a:pt x="1099398" y="480138"/>
                    <a:pt x="1093322" y="489253"/>
                    <a:pt x="1084208" y="495329"/>
                  </a:cubicBezTo>
                  <a:cubicBezTo>
                    <a:pt x="1078132" y="498367"/>
                    <a:pt x="1065979" y="501405"/>
                    <a:pt x="1059903" y="489253"/>
                  </a:cubicBezTo>
                  <a:cubicBezTo>
                    <a:pt x="1053827" y="474062"/>
                    <a:pt x="1056865" y="467986"/>
                    <a:pt x="1065979" y="464948"/>
                  </a:cubicBezTo>
                  <a:cubicBezTo>
                    <a:pt x="1069017" y="461910"/>
                    <a:pt x="1072815" y="461150"/>
                    <a:pt x="1076992" y="462290"/>
                  </a:cubicBezTo>
                  <a:close/>
                  <a:moveTo>
                    <a:pt x="2030944" y="456214"/>
                  </a:moveTo>
                  <a:cubicBezTo>
                    <a:pt x="2035121" y="457353"/>
                    <a:pt x="2039679" y="460391"/>
                    <a:pt x="2044236" y="464948"/>
                  </a:cubicBezTo>
                  <a:cubicBezTo>
                    <a:pt x="2053350" y="474062"/>
                    <a:pt x="2044236" y="486215"/>
                    <a:pt x="2038160" y="489253"/>
                  </a:cubicBezTo>
                  <a:cubicBezTo>
                    <a:pt x="2032083" y="492291"/>
                    <a:pt x="2019931" y="495329"/>
                    <a:pt x="2013855" y="483177"/>
                  </a:cubicBezTo>
                  <a:cubicBezTo>
                    <a:pt x="2007779" y="471024"/>
                    <a:pt x="2007779" y="464948"/>
                    <a:pt x="2019931" y="458872"/>
                  </a:cubicBezTo>
                  <a:cubicBezTo>
                    <a:pt x="2022969" y="455834"/>
                    <a:pt x="2026767" y="455074"/>
                    <a:pt x="2030944" y="456214"/>
                  </a:cubicBezTo>
                  <a:close/>
                  <a:moveTo>
                    <a:pt x="1280542" y="453176"/>
                  </a:moveTo>
                  <a:cubicBezTo>
                    <a:pt x="1284720" y="454315"/>
                    <a:pt x="1289277" y="457353"/>
                    <a:pt x="1293834" y="461910"/>
                  </a:cubicBezTo>
                  <a:cubicBezTo>
                    <a:pt x="1302948" y="471024"/>
                    <a:pt x="1296872" y="480139"/>
                    <a:pt x="1287758" y="486215"/>
                  </a:cubicBezTo>
                  <a:cubicBezTo>
                    <a:pt x="1281682" y="489253"/>
                    <a:pt x="1269529" y="492291"/>
                    <a:pt x="1263453" y="480139"/>
                  </a:cubicBezTo>
                  <a:cubicBezTo>
                    <a:pt x="1257377" y="467986"/>
                    <a:pt x="1257377" y="461910"/>
                    <a:pt x="1269529" y="455834"/>
                  </a:cubicBezTo>
                  <a:cubicBezTo>
                    <a:pt x="1272567" y="452796"/>
                    <a:pt x="1276365" y="452036"/>
                    <a:pt x="1280542" y="453176"/>
                  </a:cubicBezTo>
                  <a:close/>
                  <a:moveTo>
                    <a:pt x="679006" y="450138"/>
                  </a:moveTo>
                  <a:cubicBezTo>
                    <a:pt x="683184" y="451277"/>
                    <a:pt x="687741" y="454315"/>
                    <a:pt x="692298" y="458872"/>
                  </a:cubicBezTo>
                  <a:cubicBezTo>
                    <a:pt x="701412" y="467986"/>
                    <a:pt x="695336" y="477101"/>
                    <a:pt x="686222" y="483177"/>
                  </a:cubicBezTo>
                  <a:cubicBezTo>
                    <a:pt x="680146" y="486215"/>
                    <a:pt x="667993" y="489253"/>
                    <a:pt x="661917" y="477101"/>
                  </a:cubicBezTo>
                  <a:cubicBezTo>
                    <a:pt x="655841" y="464948"/>
                    <a:pt x="658879" y="458872"/>
                    <a:pt x="667993" y="452796"/>
                  </a:cubicBezTo>
                  <a:cubicBezTo>
                    <a:pt x="671031" y="449758"/>
                    <a:pt x="674829" y="448998"/>
                    <a:pt x="679006" y="450138"/>
                  </a:cubicBezTo>
                  <a:close/>
                  <a:moveTo>
                    <a:pt x="1815242" y="447099"/>
                  </a:moveTo>
                  <a:cubicBezTo>
                    <a:pt x="1819419" y="448238"/>
                    <a:pt x="1823976" y="451276"/>
                    <a:pt x="1828533" y="455833"/>
                  </a:cubicBezTo>
                  <a:cubicBezTo>
                    <a:pt x="1837647" y="464947"/>
                    <a:pt x="1828533" y="477100"/>
                    <a:pt x="1822457" y="480138"/>
                  </a:cubicBezTo>
                  <a:cubicBezTo>
                    <a:pt x="1816381" y="483176"/>
                    <a:pt x="1804228" y="486214"/>
                    <a:pt x="1798152" y="474062"/>
                  </a:cubicBezTo>
                  <a:cubicBezTo>
                    <a:pt x="1792076" y="458871"/>
                    <a:pt x="1795114" y="452795"/>
                    <a:pt x="1804228" y="449757"/>
                  </a:cubicBezTo>
                  <a:cubicBezTo>
                    <a:pt x="1807267" y="446719"/>
                    <a:pt x="1811064" y="445959"/>
                    <a:pt x="1815242" y="447099"/>
                  </a:cubicBezTo>
                  <a:close/>
                  <a:moveTo>
                    <a:pt x="1699795" y="444061"/>
                  </a:moveTo>
                  <a:cubicBezTo>
                    <a:pt x="1703973" y="445200"/>
                    <a:pt x="1708530" y="448238"/>
                    <a:pt x="1713087" y="452795"/>
                  </a:cubicBezTo>
                  <a:cubicBezTo>
                    <a:pt x="1722201" y="461909"/>
                    <a:pt x="1716125" y="471024"/>
                    <a:pt x="1707011" y="477100"/>
                  </a:cubicBezTo>
                  <a:cubicBezTo>
                    <a:pt x="1700934" y="480138"/>
                    <a:pt x="1688782" y="483176"/>
                    <a:pt x="1682706" y="471024"/>
                  </a:cubicBezTo>
                  <a:cubicBezTo>
                    <a:pt x="1676630" y="458871"/>
                    <a:pt x="1679668" y="449757"/>
                    <a:pt x="1688782" y="446719"/>
                  </a:cubicBezTo>
                  <a:cubicBezTo>
                    <a:pt x="1691820" y="443681"/>
                    <a:pt x="1695618" y="442921"/>
                    <a:pt x="1699795" y="444061"/>
                  </a:cubicBezTo>
                  <a:close/>
                  <a:moveTo>
                    <a:pt x="888633" y="434947"/>
                  </a:moveTo>
                  <a:cubicBezTo>
                    <a:pt x="892811" y="436086"/>
                    <a:pt x="897368" y="439124"/>
                    <a:pt x="901925" y="443681"/>
                  </a:cubicBezTo>
                  <a:cubicBezTo>
                    <a:pt x="911039" y="452795"/>
                    <a:pt x="901925" y="464948"/>
                    <a:pt x="895849" y="467986"/>
                  </a:cubicBezTo>
                  <a:cubicBezTo>
                    <a:pt x="889773" y="471024"/>
                    <a:pt x="877620" y="474062"/>
                    <a:pt x="871544" y="461910"/>
                  </a:cubicBezTo>
                  <a:cubicBezTo>
                    <a:pt x="865468" y="446719"/>
                    <a:pt x="868506" y="440643"/>
                    <a:pt x="877620" y="437605"/>
                  </a:cubicBezTo>
                  <a:cubicBezTo>
                    <a:pt x="880658" y="434567"/>
                    <a:pt x="884456" y="433807"/>
                    <a:pt x="888633" y="434947"/>
                  </a:cubicBezTo>
                  <a:close/>
                  <a:moveTo>
                    <a:pt x="2158542" y="407605"/>
                  </a:moveTo>
                  <a:cubicBezTo>
                    <a:pt x="2162719" y="408744"/>
                    <a:pt x="2167276" y="411782"/>
                    <a:pt x="2171833" y="416339"/>
                  </a:cubicBezTo>
                  <a:cubicBezTo>
                    <a:pt x="2180948" y="425453"/>
                    <a:pt x="2174872" y="434568"/>
                    <a:pt x="2165757" y="440644"/>
                  </a:cubicBezTo>
                  <a:cubicBezTo>
                    <a:pt x="2159681" y="443682"/>
                    <a:pt x="2147529" y="446720"/>
                    <a:pt x="2141453" y="434568"/>
                  </a:cubicBezTo>
                  <a:cubicBezTo>
                    <a:pt x="2135377" y="422415"/>
                    <a:pt x="2141453" y="416339"/>
                    <a:pt x="2147529" y="410263"/>
                  </a:cubicBezTo>
                  <a:cubicBezTo>
                    <a:pt x="2150567" y="407225"/>
                    <a:pt x="2154365" y="406465"/>
                    <a:pt x="2158542" y="407605"/>
                  </a:cubicBezTo>
                  <a:close/>
                  <a:moveTo>
                    <a:pt x="1484092" y="407605"/>
                  </a:moveTo>
                  <a:cubicBezTo>
                    <a:pt x="1488270" y="408744"/>
                    <a:pt x="1492827" y="411782"/>
                    <a:pt x="1497384" y="416339"/>
                  </a:cubicBezTo>
                  <a:cubicBezTo>
                    <a:pt x="1506498" y="425453"/>
                    <a:pt x="1500422" y="434568"/>
                    <a:pt x="1491308" y="440644"/>
                  </a:cubicBezTo>
                  <a:cubicBezTo>
                    <a:pt x="1485231" y="443682"/>
                    <a:pt x="1473079" y="446720"/>
                    <a:pt x="1467003" y="434568"/>
                  </a:cubicBezTo>
                  <a:cubicBezTo>
                    <a:pt x="1460927" y="422415"/>
                    <a:pt x="1463965" y="413301"/>
                    <a:pt x="1473079" y="410263"/>
                  </a:cubicBezTo>
                  <a:cubicBezTo>
                    <a:pt x="1476117" y="407225"/>
                    <a:pt x="1479915" y="406465"/>
                    <a:pt x="1484092" y="407605"/>
                  </a:cubicBezTo>
                  <a:close/>
                  <a:moveTo>
                    <a:pt x="1365608" y="404567"/>
                  </a:moveTo>
                  <a:cubicBezTo>
                    <a:pt x="1369786" y="405706"/>
                    <a:pt x="1374343" y="408744"/>
                    <a:pt x="1378900" y="413301"/>
                  </a:cubicBezTo>
                  <a:cubicBezTo>
                    <a:pt x="1388014" y="422415"/>
                    <a:pt x="1381938" y="431530"/>
                    <a:pt x="1372824" y="437606"/>
                  </a:cubicBezTo>
                  <a:cubicBezTo>
                    <a:pt x="1366748" y="440644"/>
                    <a:pt x="1354595" y="443682"/>
                    <a:pt x="1348519" y="431530"/>
                  </a:cubicBezTo>
                  <a:cubicBezTo>
                    <a:pt x="1342443" y="419377"/>
                    <a:pt x="1345481" y="410263"/>
                    <a:pt x="1354595" y="407225"/>
                  </a:cubicBezTo>
                  <a:cubicBezTo>
                    <a:pt x="1357633" y="404187"/>
                    <a:pt x="1361431" y="403427"/>
                    <a:pt x="1365608" y="404567"/>
                  </a:cubicBezTo>
                  <a:close/>
                  <a:moveTo>
                    <a:pt x="988889" y="404567"/>
                  </a:moveTo>
                  <a:cubicBezTo>
                    <a:pt x="993066" y="405706"/>
                    <a:pt x="997623" y="408744"/>
                    <a:pt x="1002180" y="413301"/>
                  </a:cubicBezTo>
                  <a:cubicBezTo>
                    <a:pt x="1011295" y="422415"/>
                    <a:pt x="1005218" y="431530"/>
                    <a:pt x="996104" y="437606"/>
                  </a:cubicBezTo>
                  <a:cubicBezTo>
                    <a:pt x="990028" y="440644"/>
                    <a:pt x="977876" y="443682"/>
                    <a:pt x="971800" y="431530"/>
                  </a:cubicBezTo>
                  <a:cubicBezTo>
                    <a:pt x="965724" y="419377"/>
                    <a:pt x="971800" y="413301"/>
                    <a:pt x="977876" y="407225"/>
                  </a:cubicBezTo>
                  <a:cubicBezTo>
                    <a:pt x="980914" y="404187"/>
                    <a:pt x="984712" y="403427"/>
                    <a:pt x="988889" y="404567"/>
                  </a:cubicBezTo>
                  <a:close/>
                  <a:moveTo>
                    <a:pt x="1182565" y="394312"/>
                  </a:moveTo>
                  <a:cubicBezTo>
                    <a:pt x="1186742" y="395072"/>
                    <a:pt x="1190540" y="398110"/>
                    <a:pt x="1193578" y="404186"/>
                  </a:cubicBezTo>
                  <a:cubicBezTo>
                    <a:pt x="1202692" y="413300"/>
                    <a:pt x="1196616" y="422415"/>
                    <a:pt x="1187502" y="428491"/>
                  </a:cubicBezTo>
                  <a:cubicBezTo>
                    <a:pt x="1181425" y="431529"/>
                    <a:pt x="1169273" y="434567"/>
                    <a:pt x="1163197" y="422415"/>
                  </a:cubicBezTo>
                  <a:cubicBezTo>
                    <a:pt x="1157121" y="410262"/>
                    <a:pt x="1160159" y="404186"/>
                    <a:pt x="1169273" y="398110"/>
                  </a:cubicBezTo>
                  <a:cubicBezTo>
                    <a:pt x="1173830" y="395072"/>
                    <a:pt x="1178387" y="393553"/>
                    <a:pt x="1182565" y="394312"/>
                  </a:cubicBezTo>
                  <a:close/>
                  <a:moveTo>
                    <a:pt x="1620805" y="389376"/>
                  </a:moveTo>
                  <a:cubicBezTo>
                    <a:pt x="1624983" y="390515"/>
                    <a:pt x="1629540" y="393553"/>
                    <a:pt x="1634097" y="398110"/>
                  </a:cubicBezTo>
                  <a:cubicBezTo>
                    <a:pt x="1643211" y="407224"/>
                    <a:pt x="1637135" y="416339"/>
                    <a:pt x="1628021" y="422415"/>
                  </a:cubicBezTo>
                  <a:cubicBezTo>
                    <a:pt x="1621944" y="425453"/>
                    <a:pt x="1609792" y="428491"/>
                    <a:pt x="1603716" y="416339"/>
                  </a:cubicBezTo>
                  <a:cubicBezTo>
                    <a:pt x="1597640" y="401148"/>
                    <a:pt x="1600678" y="395072"/>
                    <a:pt x="1609792" y="392034"/>
                  </a:cubicBezTo>
                  <a:cubicBezTo>
                    <a:pt x="1612830" y="388996"/>
                    <a:pt x="1616628" y="388236"/>
                    <a:pt x="1620805" y="389376"/>
                  </a:cubicBezTo>
                  <a:close/>
                  <a:moveTo>
                    <a:pt x="1961068" y="380262"/>
                  </a:moveTo>
                  <a:cubicBezTo>
                    <a:pt x="1965246" y="381401"/>
                    <a:pt x="1969803" y="384439"/>
                    <a:pt x="1974360" y="388996"/>
                  </a:cubicBezTo>
                  <a:cubicBezTo>
                    <a:pt x="1983474" y="398110"/>
                    <a:pt x="1974360" y="410263"/>
                    <a:pt x="1968284" y="413301"/>
                  </a:cubicBezTo>
                  <a:cubicBezTo>
                    <a:pt x="1962208" y="416339"/>
                    <a:pt x="1950055" y="419377"/>
                    <a:pt x="1943979" y="407225"/>
                  </a:cubicBezTo>
                  <a:cubicBezTo>
                    <a:pt x="1937903" y="395072"/>
                    <a:pt x="1940941" y="388996"/>
                    <a:pt x="1950055" y="382920"/>
                  </a:cubicBezTo>
                  <a:cubicBezTo>
                    <a:pt x="1953093" y="379882"/>
                    <a:pt x="1956891" y="379122"/>
                    <a:pt x="1961068" y="380262"/>
                  </a:cubicBezTo>
                  <a:close/>
                  <a:moveTo>
                    <a:pt x="770148" y="380262"/>
                  </a:moveTo>
                  <a:cubicBezTo>
                    <a:pt x="774326" y="381401"/>
                    <a:pt x="778883" y="384439"/>
                    <a:pt x="783440" y="388996"/>
                  </a:cubicBezTo>
                  <a:cubicBezTo>
                    <a:pt x="792554" y="398110"/>
                    <a:pt x="786478" y="407225"/>
                    <a:pt x="777364" y="413301"/>
                  </a:cubicBezTo>
                  <a:cubicBezTo>
                    <a:pt x="771287" y="416339"/>
                    <a:pt x="759135" y="419377"/>
                    <a:pt x="753059" y="407225"/>
                  </a:cubicBezTo>
                  <a:cubicBezTo>
                    <a:pt x="746983" y="395072"/>
                    <a:pt x="746983" y="385958"/>
                    <a:pt x="759135" y="382920"/>
                  </a:cubicBezTo>
                  <a:cubicBezTo>
                    <a:pt x="762173" y="379882"/>
                    <a:pt x="765971" y="379122"/>
                    <a:pt x="770148" y="380262"/>
                  </a:cubicBezTo>
                  <a:close/>
                  <a:moveTo>
                    <a:pt x="2240571" y="352920"/>
                  </a:moveTo>
                  <a:cubicBezTo>
                    <a:pt x="2244748" y="354059"/>
                    <a:pt x="2249305" y="357097"/>
                    <a:pt x="2253862" y="361654"/>
                  </a:cubicBezTo>
                  <a:cubicBezTo>
                    <a:pt x="2262976" y="370768"/>
                    <a:pt x="2256900" y="379883"/>
                    <a:pt x="2247786" y="385959"/>
                  </a:cubicBezTo>
                  <a:cubicBezTo>
                    <a:pt x="2241710" y="388997"/>
                    <a:pt x="2229557" y="392035"/>
                    <a:pt x="2223481" y="379883"/>
                  </a:cubicBezTo>
                  <a:cubicBezTo>
                    <a:pt x="2217405" y="367730"/>
                    <a:pt x="2220443" y="361654"/>
                    <a:pt x="2229557" y="355578"/>
                  </a:cubicBezTo>
                  <a:cubicBezTo>
                    <a:pt x="2232596" y="352540"/>
                    <a:pt x="2236393" y="351780"/>
                    <a:pt x="2240571" y="352920"/>
                  </a:cubicBezTo>
                  <a:close/>
                  <a:moveTo>
                    <a:pt x="2082590" y="352920"/>
                  </a:moveTo>
                  <a:cubicBezTo>
                    <a:pt x="2086768" y="354059"/>
                    <a:pt x="2091325" y="357097"/>
                    <a:pt x="2095882" y="361654"/>
                  </a:cubicBezTo>
                  <a:cubicBezTo>
                    <a:pt x="2104996" y="370768"/>
                    <a:pt x="2095882" y="382921"/>
                    <a:pt x="2089806" y="385959"/>
                  </a:cubicBezTo>
                  <a:cubicBezTo>
                    <a:pt x="2083730" y="388997"/>
                    <a:pt x="2071577" y="392035"/>
                    <a:pt x="2065501" y="379883"/>
                  </a:cubicBezTo>
                  <a:cubicBezTo>
                    <a:pt x="2059425" y="367730"/>
                    <a:pt x="2062463" y="361654"/>
                    <a:pt x="2071577" y="355578"/>
                  </a:cubicBezTo>
                  <a:cubicBezTo>
                    <a:pt x="2074615" y="352540"/>
                    <a:pt x="2078413" y="351780"/>
                    <a:pt x="2082590" y="352920"/>
                  </a:cubicBezTo>
                  <a:close/>
                  <a:moveTo>
                    <a:pt x="1080030" y="337729"/>
                  </a:moveTo>
                  <a:cubicBezTo>
                    <a:pt x="1084208" y="338868"/>
                    <a:pt x="1088765" y="341906"/>
                    <a:pt x="1093322" y="346463"/>
                  </a:cubicBezTo>
                  <a:cubicBezTo>
                    <a:pt x="1102436" y="355577"/>
                    <a:pt x="1093322" y="367730"/>
                    <a:pt x="1087246" y="370768"/>
                  </a:cubicBezTo>
                  <a:cubicBezTo>
                    <a:pt x="1081170" y="373806"/>
                    <a:pt x="1069017" y="376844"/>
                    <a:pt x="1062941" y="364692"/>
                  </a:cubicBezTo>
                  <a:cubicBezTo>
                    <a:pt x="1056865" y="352539"/>
                    <a:pt x="1059903" y="346463"/>
                    <a:pt x="1069017" y="340387"/>
                  </a:cubicBezTo>
                  <a:cubicBezTo>
                    <a:pt x="1072055" y="337349"/>
                    <a:pt x="1075853" y="336589"/>
                    <a:pt x="1080030" y="337729"/>
                  </a:cubicBezTo>
                  <a:close/>
                  <a:moveTo>
                    <a:pt x="1787899" y="331653"/>
                  </a:moveTo>
                  <a:cubicBezTo>
                    <a:pt x="1792076" y="332792"/>
                    <a:pt x="1796634" y="335830"/>
                    <a:pt x="1801191" y="340387"/>
                  </a:cubicBezTo>
                  <a:cubicBezTo>
                    <a:pt x="1810305" y="349501"/>
                    <a:pt x="1801191" y="361654"/>
                    <a:pt x="1795115" y="364692"/>
                  </a:cubicBezTo>
                  <a:cubicBezTo>
                    <a:pt x="1789038" y="367730"/>
                    <a:pt x="1776886" y="370768"/>
                    <a:pt x="1770810" y="358616"/>
                  </a:cubicBezTo>
                  <a:cubicBezTo>
                    <a:pt x="1764734" y="346463"/>
                    <a:pt x="1767772" y="340387"/>
                    <a:pt x="1776886" y="334311"/>
                  </a:cubicBezTo>
                  <a:cubicBezTo>
                    <a:pt x="1779924" y="331273"/>
                    <a:pt x="1783722" y="330513"/>
                    <a:pt x="1787899" y="331653"/>
                  </a:cubicBezTo>
                  <a:close/>
                  <a:moveTo>
                    <a:pt x="1879040" y="328615"/>
                  </a:moveTo>
                  <a:cubicBezTo>
                    <a:pt x="1883217" y="329754"/>
                    <a:pt x="1887775" y="332792"/>
                    <a:pt x="1892332" y="337349"/>
                  </a:cubicBezTo>
                  <a:cubicBezTo>
                    <a:pt x="1901446" y="346463"/>
                    <a:pt x="1895370" y="355578"/>
                    <a:pt x="1886256" y="361654"/>
                  </a:cubicBezTo>
                  <a:cubicBezTo>
                    <a:pt x="1880179" y="364692"/>
                    <a:pt x="1868027" y="367730"/>
                    <a:pt x="1861951" y="355578"/>
                  </a:cubicBezTo>
                  <a:cubicBezTo>
                    <a:pt x="1855875" y="343425"/>
                    <a:pt x="1858913" y="334311"/>
                    <a:pt x="1868027" y="331273"/>
                  </a:cubicBezTo>
                  <a:cubicBezTo>
                    <a:pt x="1871065" y="328235"/>
                    <a:pt x="1874863" y="327475"/>
                    <a:pt x="1879040" y="328615"/>
                  </a:cubicBezTo>
                  <a:close/>
                  <a:moveTo>
                    <a:pt x="1265352" y="325577"/>
                  </a:moveTo>
                  <a:cubicBezTo>
                    <a:pt x="1269530" y="326716"/>
                    <a:pt x="1274087" y="329754"/>
                    <a:pt x="1278644" y="334311"/>
                  </a:cubicBezTo>
                  <a:cubicBezTo>
                    <a:pt x="1287758" y="343425"/>
                    <a:pt x="1278644" y="355578"/>
                    <a:pt x="1272568" y="358616"/>
                  </a:cubicBezTo>
                  <a:cubicBezTo>
                    <a:pt x="1266492" y="361654"/>
                    <a:pt x="1254339" y="364692"/>
                    <a:pt x="1248263" y="352540"/>
                  </a:cubicBezTo>
                  <a:cubicBezTo>
                    <a:pt x="1242187" y="337349"/>
                    <a:pt x="1245225" y="331273"/>
                    <a:pt x="1254339" y="328235"/>
                  </a:cubicBezTo>
                  <a:cubicBezTo>
                    <a:pt x="1257377" y="325197"/>
                    <a:pt x="1261175" y="324437"/>
                    <a:pt x="1265352" y="325577"/>
                  </a:cubicBezTo>
                  <a:close/>
                  <a:moveTo>
                    <a:pt x="864328" y="319501"/>
                  </a:moveTo>
                  <a:cubicBezTo>
                    <a:pt x="868506" y="320640"/>
                    <a:pt x="873063" y="323678"/>
                    <a:pt x="877620" y="328235"/>
                  </a:cubicBezTo>
                  <a:cubicBezTo>
                    <a:pt x="886734" y="337349"/>
                    <a:pt x="877620" y="349502"/>
                    <a:pt x="871544" y="352540"/>
                  </a:cubicBezTo>
                  <a:cubicBezTo>
                    <a:pt x="865468" y="355578"/>
                    <a:pt x="853315" y="358616"/>
                    <a:pt x="847239" y="346464"/>
                  </a:cubicBezTo>
                  <a:cubicBezTo>
                    <a:pt x="841163" y="334311"/>
                    <a:pt x="844201" y="325197"/>
                    <a:pt x="853315" y="322159"/>
                  </a:cubicBezTo>
                  <a:cubicBezTo>
                    <a:pt x="856353" y="319121"/>
                    <a:pt x="860151" y="318361"/>
                    <a:pt x="864328" y="319501"/>
                  </a:cubicBezTo>
                  <a:close/>
                  <a:moveTo>
                    <a:pt x="1459788" y="316463"/>
                  </a:moveTo>
                  <a:cubicBezTo>
                    <a:pt x="1463966" y="317602"/>
                    <a:pt x="1468523" y="320640"/>
                    <a:pt x="1473080" y="325197"/>
                  </a:cubicBezTo>
                  <a:cubicBezTo>
                    <a:pt x="1482194" y="334311"/>
                    <a:pt x="1476118" y="343426"/>
                    <a:pt x="1467004" y="349502"/>
                  </a:cubicBezTo>
                  <a:cubicBezTo>
                    <a:pt x="1460928" y="352540"/>
                    <a:pt x="1448775" y="355578"/>
                    <a:pt x="1442699" y="343426"/>
                  </a:cubicBezTo>
                  <a:cubicBezTo>
                    <a:pt x="1436623" y="328235"/>
                    <a:pt x="1439661" y="322159"/>
                    <a:pt x="1448775" y="319121"/>
                  </a:cubicBezTo>
                  <a:cubicBezTo>
                    <a:pt x="1451813" y="316083"/>
                    <a:pt x="1455611" y="315323"/>
                    <a:pt x="1459788" y="316463"/>
                  </a:cubicBezTo>
                  <a:close/>
                  <a:moveTo>
                    <a:pt x="1702833" y="310387"/>
                  </a:moveTo>
                  <a:cubicBezTo>
                    <a:pt x="1707011" y="311526"/>
                    <a:pt x="1711568" y="314564"/>
                    <a:pt x="1716125" y="319121"/>
                  </a:cubicBezTo>
                  <a:cubicBezTo>
                    <a:pt x="1725239" y="328235"/>
                    <a:pt x="1716125" y="340388"/>
                    <a:pt x="1710049" y="343426"/>
                  </a:cubicBezTo>
                  <a:cubicBezTo>
                    <a:pt x="1703973" y="346464"/>
                    <a:pt x="1691820" y="349502"/>
                    <a:pt x="1685744" y="337350"/>
                  </a:cubicBezTo>
                  <a:cubicBezTo>
                    <a:pt x="1679668" y="322159"/>
                    <a:pt x="1682706" y="316083"/>
                    <a:pt x="1691820" y="313045"/>
                  </a:cubicBezTo>
                  <a:cubicBezTo>
                    <a:pt x="1694858" y="310007"/>
                    <a:pt x="1698656" y="309247"/>
                    <a:pt x="1702833" y="310387"/>
                  </a:cubicBezTo>
                  <a:close/>
                  <a:moveTo>
                    <a:pt x="1577893" y="297095"/>
                  </a:moveTo>
                  <a:cubicBezTo>
                    <a:pt x="1582450" y="297855"/>
                    <a:pt x="1587008" y="300893"/>
                    <a:pt x="1591565" y="306969"/>
                  </a:cubicBezTo>
                  <a:cubicBezTo>
                    <a:pt x="1600679" y="316083"/>
                    <a:pt x="1594603" y="325198"/>
                    <a:pt x="1585489" y="331274"/>
                  </a:cubicBezTo>
                  <a:cubicBezTo>
                    <a:pt x="1579412" y="334312"/>
                    <a:pt x="1567260" y="337350"/>
                    <a:pt x="1561184" y="325198"/>
                  </a:cubicBezTo>
                  <a:cubicBezTo>
                    <a:pt x="1555108" y="313045"/>
                    <a:pt x="1558146" y="303931"/>
                    <a:pt x="1564222" y="300893"/>
                  </a:cubicBezTo>
                  <a:cubicBezTo>
                    <a:pt x="1568779" y="297855"/>
                    <a:pt x="1573336" y="296336"/>
                    <a:pt x="1577893" y="297095"/>
                  </a:cubicBezTo>
                  <a:close/>
                  <a:moveTo>
                    <a:pt x="955470" y="295196"/>
                  </a:moveTo>
                  <a:cubicBezTo>
                    <a:pt x="959648" y="296335"/>
                    <a:pt x="964205" y="299373"/>
                    <a:pt x="968762" y="303930"/>
                  </a:cubicBezTo>
                  <a:cubicBezTo>
                    <a:pt x="977876" y="313044"/>
                    <a:pt x="971800" y="322159"/>
                    <a:pt x="962686" y="328235"/>
                  </a:cubicBezTo>
                  <a:cubicBezTo>
                    <a:pt x="956610" y="331273"/>
                    <a:pt x="944457" y="334311"/>
                    <a:pt x="938381" y="322159"/>
                  </a:cubicBezTo>
                  <a:cubicBezTo>
                    <a:pt x="932305" y="310006"/>
                    <a:pt x="935343" y="303930"/>
                    <a:pt x="944457" y="297854"/>
                  </a:cubicBezTo>
                  <a:cubicBezTo>
                    <a:pt x="947495" y="294816"/>
                    <a:pt x="951293" y="294056"/>
                    <a:pt x="955470" y="295196"/>
                  </a:cubicBezTo>
                  <a:close/>
                  <a:moveTo>
                    <a:pt x="1365608" y="283044"/>
                  </a:moveTo>
                  <a:cubicBezTo>
                    <a:pt x="1369786" y="284183"/>
                    <a:pt x="1374343" y="287221"/>
                    <a:pt x="1378900" y="291778"/>
                  </a:cubicBezTo>
                  <a:cubicBezTo>
                    <a:pt x="1388014" y="300892"/>
                    <a:pt x="1381938" y="310007"/>
                    <a:pt x="1372824" y="316083"/>
                  </a:cubicBezTo>
                  <a:cubicBezTo>
                    <a:pt x="1366748" y="319121"/>
                    <a:pt x="1354595" y="322159"/>
                    <a:pt x="1348519" y="310007"/>
                  </a:cubicBezTo>
                  <a:cubicBezTo>
                    <a:pt x="1342443" y="297854"/>
                    <a:pt x="1345481" y="291778"/>
                    <a:pt x="1354595" y="285702"/>
                  </a:cubicBezTo>
                  <a:cubicBezTo>
                    <a:pt x="1357633" y="282664"/>
                    <a:pt x="1361431" y="281904"/>
                    <a:pt x="1365608" y="283044"/>
                  </a:cubicBezTo>
                  <a:close/>
                  <a:moveTo>
                    <a:pt x="1979296" y="267854"/>
                  </a:moveTo>
                  <a:cubicBezTo>
                    <a:pt x="1983474" y="268993"/>
                    <a:pt x="1988031" y="272031"/>
                    <a:pt x="1992588" y="276588"/>
                  </a:cubicBezTo>
                  <a:cubicBezTo>
                    <a:pt x="2001702" y="285702"/>
                    <a:pt x="1995626" y="294817"/>
                    <a:pt x="1986512" y="300893"/>
                  </a:cubicBezTo>
                  <a:cubicBezTo>
                    <a:pt x="1980436" y="303931"/>
                    <a:pt x="1968283" y="306969"/>
                    <a:pt x="1962207" y="294817"/>
                  </a:cubicBezTo>
                  <a:cubicBezTo>
                    <a:pt x="1956131" y="279626"/>
                    <a:pt x="1959169" y="273550"/>
                    <a:pt x="1968283" y="270512"/>
                  </a:cubicBezTo>
                  <a:cubicBezTo>
                    <a:pt x="1971321" y="267474"/>
                    <a:pt x="1975119" y="266714"/>
                    <a:pt x="1979296" y="267854"/>
                  </a:cubicBezTo>
                  <a:close/>
                  <a:moveTo>
                    <a:pt x="1173830" y="266714"/>
                  </a:moveTo>
                  <a:cubicBezTo>
                    <a:pt x="1178387" y="267474"/>
                    <a:pt x="1182945" y="270512"/>
                    <a:pt x="1187502" y="276588"/>
                  </a:cubicBezTo>
                  <a:cubicBezTo>
                    <a:pt x="1196616" y="285702"/>
                    <a:pt x="1190540" y="294817"/>
                    <a:pt x="1181425" y="300893"/>
                  </a:cubicBezTo>
                  <a:cubicBezTo>
                    <a:pt x="1175349" y="303931"/>
                    <a:pt x="1163197" y="306969"/>
                    <a:pt x="1157121" y="294817"/>
                  </a:cubicBezTo>
                  <a:cubicBezTo>
                    <a:pt x="1151045" y="282664"/>
                    <a:pt x="1154083" y="273550"/>
                    <a:pt x="1160159" y="270512"/>
                  </a:cubicBezTo>
                  <a:cubicBezTo>
                    <a:pt x="1164716" y="267474"/>
                    <a:pt x="1169273" y="265955"/>
                    <a:pt x="1173830" y="266714"/>
                  </a:cubicBezTo>
                  <a:close/>
                  <a:moveTo>
                    <a:pt x="2167656" y="246587"/>
                  </a:moveTo>
                  <a:cubicBezTo>
                    <a:pt x="2171833" y="247726"/>
                    <a:pt x="2176391" y="250764"/>
                    <a:pt x="2180948" y="255321"/>
                  </a:cubicBezTo>
                  <a:cubicBezTo>
                    <a:pt x="2190062" y="264435"/>
                    <a:pt x="2183986" y="273550"/>
                    <a:pt x="2174872" y="279626"/>
                  </a:cubicBezTo>
                  <a:cubicBezTo>
                    <a:pt x="2168795" y="282664"/>
                    <a:pt x="2156643" y="285702"/>
                    <a:pt x="2150567" y="273550"/>
                  </a:cubicBezTo>
                  <a:cubicBezTo>
                    <a:pt x="2144491" y="258359"/>
                    <a:pt x="2147529" y="252283"/>
                    <a:pt x="2156643" y="249245"/>
                  </a:cubicBezTo>
                  <a:cubicBezTo>
                    <a:pt x="2159681" y="246207"/>
                    <a:pt x="2163479" y="245447"/>
                    <a:pt x="2167656" y="246587"/>
                  </a:cubicBezTo>
                  <a:close/>
                  <a:moveTo>
                    <a:pt x="2073477" y="240511"/>
                  </a:moveTo>
                  <a:cubicBezTo>
                    <a:pt x="2077654" y="241650"/>
                    <a:pt x="2082211" y="244688"/>
                    <a:pt x="2086768" y="249245"/>
                  </a:cubicBezTo>
                  <a:cubicBezTo>
                    <a:pt x="2095882" y="258359"/>
                    <a:pt x="2089806" y="267474"/>
                    <a:pt x="2080692" y="273550"/>
                  </a:cubicBezTo>
                  <a:cubicBezTo>
                    <a:pt x="2074616" y="276588"/>
                    <a:pt x="2062463" y="279626"/>
                    <a:pt x="2056387" y="267474"/>
                  </a:cubicBezTo>
                  <a:cubicBezTo>
                    <a:pt x="2050311" y="252283"/>
                    <a:pt x="2053349" y="246207"/>
                    <a:pt x="2062463" y="243169"/>
                  </a:cubicBezTo>
                  <a:cubicBezTo>
                    <a:pt x="2065502" y="240131"/>
                    <a:pt x="2069299" y="239371"/>
                    <a:pt x="2073477" y="240511"/>
                  </a:cubicBezTo>
                  <a:close/>
                  <a:moveTo>
                    <a:pt x="1505359" y="222283"/>
                  </a:moveTo>
                  <a:cubicBezTo>
                    <a:pt x="1509537" y="223422"/>
                    <a:pt x="1514094" y="226460"/>
                    <a:pt x="1518651" y="231017"/>
                  </a:cubicBezTo>
                  <a:cubicBezTo>
                    <a:pt x="1527765" y="240131"/>
                    <a:pt x="1521689" y="249246"/>
                    <a:pt x="1512575" y="255322"/>
                  </a:cubicBezTo>
                  <a:cubicBezTo>
                    <a:pt x="1506499" y="258360"/>
                    <a:pt x="1494346" y="261398"/>
                    <a:pt x="1488270" y="249246"/>
                  </a:cubicBezTo>
                  <a:cubicBezTo>
                    <a:pt x="1482194" y="234055"/>
                    <a:pt x="1485232" y="227979"/>
                    <a:pt x="1494346" y="224941"/>
                  </a:cubicBezTo>
                  <a:cubicBezTo>
                    <a:pt x="1497384" y="221903"/>
                    <a:pt x="1501182" y="221143"/>
                    <a:pt x="1505359" y="222283"/>
                  </a:cubicBezTo>
                  <a:close/>
                  <a:moveTo>
                    <a:pt x="1007117" y="222283"/>
                  </a:moveTo>
                  <a:cubicBezTo>
                    <a:pt x="1011295" y="223422"/>
                    <a:pt x="1015852" y="226460"/>
                    <a:pt x="1020409" y="231017"/>
                  </a:cubicBezTo>
                  <a:cubicBezTo>
                    <a:pt x="1029523" y="240131"/>
                    <a:pt x="1020409" y="252284"/>
                    <a:pt x="1014333" y="255322"/>
                  </a:cubicBezTo>
                  <a:cubicBezTo>
                    <a:pt x="1008257" y="258360"/>
                    <a:pt x="996104" y="261398"/>
                    <a:pt x="990028" y="249246"/>
                  </a:cubicBezTo>
                  <a:cubicBezTo>
                    <a:pt x="983952" y="237093"/>
                    <a:pt x="986990" y="231017"/>
                    <a:pt x="996104" y="224941"/>
                  </a:cubicBezTo>
                  <a:cubicBezTo>
                    <a:pt x="999142" y="221903"/>
                    <a:pt x="1002940" y="221143"/>
                    <a:pt x="1007117" y="222283"/>
                  </a:cubicBezTo>
                  <a:close/>
                  <a:moveTo>
                    <a:pt x="1298771" y="210131"/>
                  </a:moveTo>
                  <a:cubicBezTo>
                    <a:pt x="1302948" y="211270"/>
                    <a:pt x="1307506" y="214308"/>
                    <a:pt x="1312063" y="218865"/>
                  </a:cubicBezTo>
                  <a:cubicBezTo>
                    <a:pt x="1321177" y="227979"/>
                    <a:pt x="1312063" y="240132"/>
                    <a:pt x="1305987" y="243170"/>
                  </a:cubicBezTo>
                  <a:cubicBezTo>
                    <a:pt x="1299910" y="246208"/>
                    <a:pt x="1287758" y="249246"/>
                    <a:pt x="1281682" y="237094"/>
                  </a:cubicBezTo>
                  <a:cubicBezTo>
                    <a:pt x="1275606" y="224941"/>
                    <a:pt x="1275606" y="215827"/>
                    <a:pt x="1287758" y="212789"/>
                  </a:cubicBezTo>
                  <a:cubicBezTo>
                    <a:pt x="1290796" y="209751"/>
                    <a:pt x="1294594" y="208991"/>
                    <a:pt x="1298771" y="210131"/>
                  </a:cubicBezTo>
                  <a:close/>
                  <a:moveTo>
                    <a:pt x="1881700" y="207472"/>
                  </a:moveTo>
                  <a:cubicBezTo>
                    <a:pt x="1886257" y="208991"/>
                    <a:pt x="1890814" y="212789"/>
                    <a:pt x="1895371" y="218865"/>
                  </a:cubicBezTo>
                  <a:cubicBezTo>
                    <a:pt x="1904485" y="227979"/>
                    <a:pt x="1898409" y="237094"/>
                    <a:pt x="1889295" y="243170"/>
                  </a:cubicBezTo>
                  <a:cubicBezTo>
                    <a:pt x="1883218" y="246208"/>
                    <a:pt x="1871066" y="249246"/>
                    <a:pt x="1864990" y="237094"/>
                  </a:cubicBezTo>
                  <a:cubicBezTo>
                    <a:pt x="1858914" y="221903"/>
                    <a:pt x="1861952" y="215827"/>
                    <a:pt x="1868028" y="209751"/>
                  </a:cubicBezTo>
                  <a:cubicBezTo>
                    <a:pt x="1872585" y="206713"/>
                    <a:pt x="1877142" y="205953"/>
                    <a:pt x="1881700" y="207472"/>
                  </a:cubicBezTo>
                  <a:close/>
                  <a:moveTo>
                    <a:pt x="1657262" y="207093"/>
                  </a:moveTo>
                  <a:cubicBezTo>
                    <a:pt x="1661440" y="208232"/>
                    <a:pt x="1665997" y="211270"/>
                    <a:pt x="1670554" y="215827"/>
                  </a:cubicBezTo>
                  <a:cubicBezTo>
                    <a:pt x="1679668" y="224941"/>
                    <a:pt x="1673592" y="234056"/>
                    <a:pt x="1664478" y="240132"/>
                  </a:cubicBezTo>
                  <a:cubicBezTo>
                    <a:pt x="1655363" y="246208"/>
                    <a:pt x="1643211" y="249246"/>
                    <a:pt x="1637135" y="234056"/>
                  </a:cubicBezTo>
                  <a:cubicBezTo>
                    <a:pt x="1631059" y="221903"/>
                    <a:pt x="1634097" y="215827"/>
                    <a:pt x="1646249" y="209751"/>
                  </a:cubicBezTo>
                  <a:cubicBezTo>
                    <a:pt x="1649287" y="206713"/>
                    <a:pt x="1653085" y="205953"/>
                    <a:pt x="1657262" y="207093"/>
                  </a:cubicBezTo>
                  <a:close/>
                  <a:moveTo>
                    <a:pt x="1769671" y="201017"/>
                  </a:moveTo>
                  <a:cubicBezTo>
                    <a:pt x="1773848" y="202156"/>
                    <a:pt x="1778405" y="205194"/>
                    <a:pt x="1782962" y="209751"/>
                  </a:cubicBezTo>
                  <a:cubicBezTo>
                    <a:pt x="1792076" y="218865"/>
                    <a:pt x="1786000" y="227980"/>
                    <a:pt x="1776886" y="234056"/>
                  </a:cubicBezTo>
                  <a:cubicBezTo>
                    <a:pt x="1770810" y="240132"/>
                    <a:pt x="1758657" y="240132"/>
                    <a:pt x="1752581" y="227980"/>
                  </a:cubicBezTo>
                  <a:cubicBezTo>
                    <a:pt x="1746505" y="215827"/>
                    <a:pt x="1749543" y="209751"/>
                    <a:pt x="1758657" y="203675"/>
                  </a:cubicBezTo>
                  <a:cubicBezTo>
                    <a:pt x="1761696" y="200637"/>
                    <a:pt x="1765493" y="199877"/>
                    <a:pt x="1769671" y="201017"/>
                  </a:cubicBezTo>
                  <a:close/>
                  <a:moveTo>
                    <a:pt x="1089145" y="197978"/>
                  </a:moveTo>
                  <a:cubicBezTo>
                    <a:pt x="1093323" y="199117"/>
                    <a:pt x="1097880" y="202155"/>
                    <a:pt x="1102437" y="206712"/>
                  </a:cubicBezTo>
                  <a:cubicBezTo>
                    <a:pt x="1111551" y="215826"/>
                    <a:pt x="1105475" y="224941"/>
                    <a:pt x="1096361" y="231017"/>
                  </a:cubicBezTo>
                  <a:cubicBezTo>
                    <a:pt x="1090284" y="234055"/>
                    <a:pt x="1078132" y="237093"/>
                    <a:pt x="1072056" y="224941"/>
                  </a:cubicBezTo>
                  <a:cubicBezTo>
                    <a:pt x="1065980" y="212788"/>
                    <a:pt x="1069018" y="203674"/>
                    <a:pt x="1078132" y="200636"/>
                  </a:cubicBezTo>
                  <a:cubicBezTo>
                    <a:pt x="1081170" y="197598"/>
                    <a:pt x="1084968" y="196838"/>
                    <a:pt x="1089145" y="197978"/>
                  </a:cubicBezTo>
                  <a:close/>
                  <a:moveTo>
                    <a:pt x="1395989" y="161522"/>
                  </a:moveTo>
                  <a:cubicBezTo>
                    <a:pt x="1400167" y="162661"/>
                    <a:pt x="1404724" y="165699"/>
                    <a:pt x="1409281" y="170256"/>
                  </a:cubicBezTo>
                  <a:cubicBezTo>
                    <a:pt x="1418395" y="179370"/>
                    <a:pt x="1412319" y="188485"/>
                    <a:pt x="1403205" y="194561"/>
                  </a:cubicBezTo>
                  <a:cubicBezTo>
                    <a:pt x="1397129" y="197599"/>
                    <a:pt x="1384976" y="200637"/>
                    <a:pt x="1378900" y="188485"/>
                  </a:cubicBezTo>
                  <a:cubicBezTo>
                    <a:pt x="1372824" y="176332"/>
                    <a:pt x="1375862" y="170256"/>
                    <a:pt x="1384976" y="164180"/>
                  </a:cubicBezTo>
                  <a:cubicBezTo>
                    <a:pt x="1388014" y="161142"/>
                    <a:pt x="1391812" y="160382"/>
                    <a:pt x="1395989" y="161522"/>
                  </a:cubicBezTo>
                  <a:close/>
                  <a:moveTo>
                    <a:pt x="1967145" y="140255"/>
                  </a:moveTo>
                  <a:cubicBezTo>
                    <a:pt x="1971322" y="141394"/>
                    <a:pt x="1975879" y="144432"/>
                    <a:pt x="1980436" y="148989"/>
                  </a:cubicBezTo>
                  <a:cubicBezTo>
                    <a:pt x="1989550" y="158103"/>
                    <a:pt x="1983474" y="167218"/>
                    <a:pt x="1974360" y="173294"/>
                  </a:cubicBezTo>
                  <a:cubicBezTo>
                    <a:pt x="1968284" y="179370"/>
                    <a:pt x="1956131" y="182408"/>
                    <a:pt x="1950055" y="170256"/>
                  </a:cubicBezTo>
                  <a:cubicBezTo>
                    <a:pt x="1943979" y="155065"/>
                    <a:pt x="1947017" y="148989"/>
                    <a:pt x="1956131" y="142913"/>
                  </a:cubicBezTo>
                  <a:cubicBezTo>
                    <a:pt x="1959170" y="139875"/>
                    <a:pt x="1962967" y="139115"/>
                    <a:pt x="1967145" y="140255"/>
                  </a:cubicBezTo>
                  <a:close/>
                  <a:moveTo>
                    <a:pt x="1234971" y="131141"/>
                  </a:moveTo>
                  <a:cubicBezTo>
                    <a:pt x="1239149" y="132280"/>
                    <a:pt x="1243706" y="135318"/>
                    <a:pt x="1248263" y="139875"/>
                  </a:cubicBezTo>
                  <a:cubicBezTo>
                    <a:pt x="1257377" y="148989"/>
                    <a:pt x="1251301" y="158104"/>
                    <a:pt x="1242187" y="164180"/>
                  </a:cubicBezTo>
                  <a:cubicBezTo>
                    <a:pt x="1236111" y="167218"/>
                    <a:pt x="1223958" y="170256"/>
                    <a:pt x="1217882" y="158104"/>
                  </a:cubicBezTo>
                  <a:cubicBezTo>
                    <a:pt x="1211806" y="142913"/>
                    <a:pt x="1214844" y="136837"/>
                    <a:pt x="1223958" y="133799"/>
                  </a:cubicBezTo>
                  <a:cubicBezTo>
                    <a:pt x="1226996" y="130761"/>
                    <a:pt x="1230794" y="130001"/>
                    <a:pt x="1234971" y="131141"/>
                  </a:cubicBezTo>
                  <a:close/>
                  <a:moveTo>
                    <a:pt x="1149906" y="131141"/>
                  </a:moveTo>
                  <a:cubicBezTo>
                    <a:pt x="1154084" y="132280"/>
                    <a:pt x="1158641" y="135318"/>
                    <a:pt x="1163198" y="139875"/>
                  </a:cubicBezTo>
                  <a:cubicBezTo>
                    <a:pt x="1172312" y="148989"/>
                    <a:pt x="1166236" y="158104"/>
                    <a:pt x="1157122" y="164180"/>
                  </a:cubicBezTo>
                  <a:cubicBezTo>
                    <a:pt x="1151045" y="167218"/>
                    <a:pt x="1138893" y="170256"/>
                    <a:pt x="1132817" y="158104"/>
                  </a:cubicBezTo>
                  <a:cubicBezTo>
                    <a:pt x="1126741" y="145951"/>
                    <a:pt x="1129779" y="139875"/>
                    <a:pt x="1138893" y="133799"/>
                  </a:cubicBezTo>
                  <a:cubicBezTo>
                    <a:pt x="1141931" y="130761"/>
                    <a:pt x="1145729" y="130001"/>
                    <a:pt x="1149906" y="131141"/>
                  </a:cubicBezTo>
                  <a:close/>
                  <a:moveTo>
                    <a:pt x="2064362" y="128103"/>
                  </a:moveTo>
                  <a:cubicBezTo>
                    <a:pt x="2068540" y="129242"/>
                    <a:pt x="2073097" y="132280"/>
                    <a:pt x="2077654" y="136837"/>
                  </a:cubicBezTo>
                  <a:cubicBezTo>
                    <a:pt x="2086768" y="145951"/>
                    <a:pt x="2080692" y="155066"/>
                    <a:pt x="2071578" y="161142"/>
                  </a:cubicBezTo>
                  <a:cubicBezTo>
                    <a:pt x="2065501" y="164180"/>
                    <a:pt x="2053349" y="167218"/>
                    <a:pt x="2047273" y="155066"/>
                  </a:cubicBezTo>
                  <a:cubicBezTo>
                    <a:pt x="2041197" y="139875"/>
                    <a:pt x="2044235" y="133799"/>
                    <a:pt x="2053349" y="130761"/>
                  </a:cubicBezTo>
                  <a:cubicBezTo>
                    <a:pt x="2056387" y="127723"/>
                    <a:pt x="2060185" y="126963"/>
                    <a:pt x="2064362" y="128103"/>
                  </a:cubicBezTo>
                  <a:close/>
                  <a:moveTo>
                    <a:pt x="1496245" y="120887"/>
                  </a:moveTo>
                  <a:cubicBezTo>
                    <a:pt x="1500423" y="121647"/>
                    <a:pt x="1504980" y="124685"/>
                    <a:pt x="1509537" y="130761"/>
                  </a:cubicBezTo>
                  <a:cubicBezTo>
                    <a:pt x="1518651" y="139875"/>
                    <a:pt x="1512575" y="148990"/>
                    <a:pt x="1503461" y="155066"/>
                  </a:cubicBezTo>
                  <a:cubicBezTo>
                    <a:pt x="1497385" y="158104"/>
                    <a:pt x="1485232" y="161142"/>
                    <a:pt x="1479156" y="148990"/>
                  </a:cubicBezTo>
                  <a:cubicBezTo>
                    <a:pt x="1473080" y="136837"/>
                    <a:pt x="1476118" y="130761"/>
                    <a:pt x="1485232" y="124685"/>
                  </a:cubicBezTo>
                  <a:cubicBezTo>
                    <a:pt x="1488270" y="121647"/>
                    <a:pt x="1492068" y="120128"/>
                    <a:pt x="1496245" y="120887"/>
                  </a:cubicBezTo>
                  <a:close/>
                  <a:moveTo>
                    <a:pt x="1599539" y="112913"/>
                  </a:moveTo>
                  <a:cubicBezTo>
                    <a:pt x="1603716" y="114052"/>
                    <a:pt x="1608274" y="117090"/>
                    <a:pt x="1612831" y="121647"/>
                  </a:cubicBezTo>
                  <a:cubicBezTo>
                    <a:pt x="1621945" y="130761"/>
                    <a:pt x="1615869" y="139876"/>
                    <a:pt x="1606754" y="145952"/>
                  </a:cubicBezTo>
                  <a:cubicBezTo>
                    <a:pt x="1600678" y="148990"/>
                    <a:pt x="1588526" y="152028"/>
                    <a:pt x="1582450" y="139876"/>
                  </a:cubicBezTo>
                  <a:cubicBezTo>
                    <a:pt x="1579412" y="127723"/>
                    <a:pt x="1579412" y="121647"/>
                    <a:pt x="1588526" y="115571"/>
                  </a:cubicBezTo>
                  <a:cubicBezTo>
                    <a:pt x="1591564" y="112533"/>
                    <a:pt x="1595362" y="111773"/>
                    <a:pt x="1599539" y="112913"/>
                  </a:cubicBezTo>
                  <a:close/>
                  <a:moveTo>
                    <a:pt x="1836508" y="109875"/>
                  </a:moveTo>
                  <a:cubicBezTo>
                    <a:pt x="1840686" y="111014"/>
                    <a:pt x="1845243" y="114052"/>
                    <a:pt x="1849800" y="118609"/>
                  </a:cubicBezTo>
                  <a:cubicBezTo>
                    <a:pt x="1858914" y="127723"/>
                    <a:pt x="1852838" y="136838"/>
                    <a:pt x="1843724" y="142914"/>
                  </a:cubicBezTo>
                  <a:cubicBezTo>
                    <a:pt x="1837647" y="145952"/>
                    <a:pt x="1825495" y="148990"/>
                    <a:pt x="1819419" y="136838"/>
                  </a:cubicBezTo>
                  <a:cubicBezTo>
                    <a:pt x="1813343" y="124685"/>
                    <a:pt x="1816381" y="118609"/>
                    <a:pt x="1825495" y="112533"/>
                  </a:cubicBezTo>
                  <a:cubicBezTo>
                    <a:pt x="1828533" y="109495"/>
                    <a:pt x="1832331" y="108735"/>
                    <a:pt x="1836508" y="109875"/>
                  </a:cubicBezTo>
                  <a:close/>
                  <a:moveTo>
                    <a:pt x="1708529" y="106837"/>
                  </a:moveTo>
                  <a:cubicBezTo>
                    <a:pt x="1713086" y="107976"/>
                    <a:pt x="1717644" y="111014"/>
                    <a:pt x="1722201" y="115571"/>
                  </a:cubicBezTo>
                  <a:cubicBezTo>
                    <a:pt x="1731315" y="124685"/>
                    <a:pt x="1725239" y="133800"/>
                    <a:pt x="1716124" y="139876"/>
                  </a:cubicBezTo>
                  <a:cubicBezTo>
                    <a:pt x="1710048" y="142914"/>
                    <a:pt x="1697896" y="145952"/>
                    <a:pt x="1691820" y="133800"/>
                  </a:cubicBezTo>
                  <a:cubicBezTo>
                    <a:pt x="1685744" y="121647"/>
                    <a:pt x="1688782" y="112533"/>
                    <a:pt x="1694858" y="109495"/>
                  </a:cubicBezTo>
                  <a:cubicBezTo>
                    <a:pt x="1699415" y="106457"/>
                    <a:pt x="1703972" y="105697"/>
                    <a:pt x="1708529" y="106837"/>
                  </a:cubicBezTo>
                  <a:close/>
                  <a:moveTo>
                    <a:pt x="1301429" y="60126"/>
                  </a:moveTo>
                  <a:cubicBezTo>
                    <a:pt x="1305986" y="60886"/>
                    <a:pt x="1310544" y="63924"/>
                    <a:pt x="1315101" y="70000"/>
                  </a:cubicBezTo>
                  <a:cubicBezTo>
                    <a:pt x="1324215" y="79114"/>
                    <a:pt x="1318139" y="88229"/>
                    <a:pt x="1309024" y="94305"/>
                  </a:cubicBezTo>
                  <a:cubicBezTo>
                    <a:pt x="1302948" y="97343"/>
                    <a:pt x="1290796" y="100381"/>
                    <a:pt x="1284720" y="88229"/>
                  </a:cubicBezTo>
                  <a:cubicBezTo>
                    <a:pt x="1278644" y="76076"/>
                    <a:pt x="1281682" y="70000"/>
                    <a:pt x="1287758" y="63924"/>
                  </a:cubicBezTo>
                  <a:cubicBezTo>
                    <a:pt x="1292315" y="60886"/>
                    <a:pt x="1296872" y="59367"/>
                    <a:pt x="1301429" y="60126"/>
                  </a:cubicBezTo>
                  <a:close/>
                  <a:moveTo>
                    <a:pt x="1930687" y="49113"/>
                  </a:moveTo>
                  <a:cubicBezTo>
                    <a:pt x="1934865" y="50252"/>
                    <a:pt x="1939422" y="53290"/>
                    <a:pt x="1943979" y="57847"/>
                  </a:cubicBezTo>
                  <a:cubicBezTo>
                    <a:pt x="1953093" y="66961"/>
                    <a:pt x="1943979" y="79114"/>
                    <a:pt x="1937903" y="82152"/>
                  </a:cubicBezTo>
                  <a:cubicBezTo>
                    <a:pt x="1931827" y="85190"/>
                    <a:pt x="1919674" y="88228"/>
                    <a:pt x="1913598" y="76076"/>
                  </a:cubicBezTo>
                  <a:cubicBezTo>
                    <a:pt x="1907522" y="60885"/>
                    <a:pt x="1910560" y="54809"/>
                    <a:pt x="1919674" y="51771"/>
                  </a:cubicBezTo>
                  <a:cubicBezTo>
                    <a:pt x="1922712" y="48733"/>
                    <a:pt x="1926510" y="47973"/>
                    <a:pt x="1930687" y="49113"/>
                  </a:cubicBezTo>
                  <a:close/>
                  <a:moveTo>
                    <a:pt x="1402065" y="43037"/>
                  </a:moveTo>
                  <a:cubicBezTo>
                    <a:pt x="1406243" y="44176"/>
                    <a:pt x="1410800" y="47214"/>
                    <a:pt x="1415357" y="51771"/>
                  </a:cubicBezTo>
                  <a:cubicBezTo>
                    <a:pt x="1424471" y="60885"/>
                    <a:pt x="1418395" y="70000"/>
                    <a:pt x="1409281" y="76076"/>
                  </a:cubicBezTo>
                  <a:cubicBezTo>
                    <a:pt x="1403205" y="79114"/>
                    <a:pt x="1391052" y="82152"/>
                    <a:pt x="1384976" y="70000"/>
                  </a:cubicBezTo>
                  <a:cubicBezTo>
                    <a:pt x="1378900" y="54809"/>
                    <a:pt x="1381938" y="48733"/>
                    <a:pt x="1391052" y="45695"/>
                  </a:cubicBezTo>
                  <a:cubicBezTo>
                    <a:pt x="1394090" y="42657"/>
                    <a:pt x="1397888" y="41897"/>
                    <a:pt x="1402065" y="43037"/>
                  </a:cubicBezTo>
                  <a:close/>
                  <a:moveTo>
                    <a:pt x="1806127" y="15695"/>
                  </a:moveTo>
                  <a:cubicBezTo>
                    <a:pt x="1810305" y="16834"/>
                    <a:pt x="1814862" y="19872"/>
                    <a:pt x="1819419" y="24429"/>
                  </a:cubicBezTo>
                  <a:cubicBezTo>
                    <a:pt x="1828533" y="33543"/>
                    <a:pt x="1819419" y="45696"/>
                    <a:pt x="1813343" y="48734"/>
                  </a:cubicBezTo>
                  <a:cubicBezTo>
                    <a:pt x="1807266" y="51772"/>
                    <a:pt x="1795114" y="54810"/>
                    <a:pt x="1789038" y="42658"/>
                  </a:cubicBezTo>
                  <a:cubicBezTo>
                    <a:pt x="1782962" y="30505"/>
                    <a:pt x="1786000" y="24429"/>
                    <a:pt x="1795114" y="18353"/>
                  </a:cubicBezTo>
                  <a:cubicBezTo>
                    <a:pt x="1798152" y="15315"/>
                    <a:pt x="1801950" y="14555"/>
                    <a:pt x="1806127" y="15695"/>
                  </a:cubicBezTo>
                  <a:close/>
                  <a:moveTo>
                    <a:pt x="1499283" y="9619"/>
                  </a:moveTo>
                  <a:cubicBezTo>
                    <a:pt x="1503461" y="10758"/>
                    <a:pt x="1508018" y="13796"/>
                    <a:pt x="1512575" y="18353"/>
                  </a:cubicBezTo>
                  <a:cubicBezTo>
                    <a:pt x="1521689" y="27467"/>
                    <a:pt x="1512575" y="42658"/>
                    <a:pt x="1506499" y="45696"/>
                  </a:cubicBezTo>
                  <a:cubicBezTo>
                    <a:pt x="1500422" y="48734"/>
                    <a:pt x="1488270" y="51772"/>
                    <a:pt x="1482194" y="39620"/>
                  </a:cubicBezTo>
                  <a:cubicBezTo>
                    <a:pt x="1476118" y="24429"/>
                    <a:pt x="1476118" y="18353"/>
                    <a:pt x="1488270" y="12277"/>
                  </a:cubicBezTo>
                  <a:cubicBezTo>
                    <a:pt x="1491308" y="9239"/>
                    <a:pt x="1495106" y="8479"/>
                    <a:pt x="1499283" y="9619"/>
                  </a:cubicBezTo>
                  <a:close/>
                  <a:moveTo>
                    <a:pt x="1699795" y="3543"/>
                  </a:moveTo>
                  <a:cubicBezTo>
                    <a:pt x="1703973" y="4682"/>
                    <a:pt x="1708530" y="7720"/>
                    <a:pt x="1713087" y="12277"/>
                  </a:cubicBezTo>
                  <a:cubicBezTo>
                    <a:pt x="1722201" y="21391"/>
                    <a:pt x="1716125" y="30506"/>
                    <a:pt x="1707011" y="36582"/>
                  </a:cubicBezTo>
                  <a:cubicBezTo>
                    <a:pt x="1700934" y="39620"/>
                    <a:pt x="1688782" y="42658"/>
                    <a:pt x="1682706" y="30506"/>
                  </a:cubicBezTo>
                  <a:cubicBezTo>
                    <a:pt x="1676630" y="15315"/>
                    <a:pt x="1679668" y="9239"/>
                    <a:pt x="1688782" y="6201"/>
                  </a:cubicBezTo>
                  <a:cubicBezTo>
                    <a:pt x="1691820" y="3163"/>
                    <a:pt x="1695618" y="2403"/>
                    <a:pt x="1699795" y="3543"/>
                  </a:cubicBezTo>
                  <a:close/>
                  <a:moveTo>
                    <a:pt x="1599539" y="504"/>
                  </a:moveTo>
                  <a:cubicBezTo>
                    <a:pt x="1603716" y="1643"/>
                    <a:pt x="1608274" y="4681"/>
                    <a:pt x="1612831" y="9238"/>
                  </a:cubicBezTo>
                  <a:cubicBezTo>
                    <a:pt x="1621945" y="18352"/>
                    <a:pt x="1615869" y="27467"/>
                    <a:pt x="1606754" y="33543"/>
                  </a:cubicBezTo>
                  <a:cubicBezTo>
                    <a:pt x="1600678" y="36581"/>
                    <a:pt x="1588526" y="39619"/>
                    <a:pt x="1582450" y="27467"/>
                  </a:cubicBezTo>
                  <a:cubicBezTo>
                    <a:pt x="1579412" y="12276"/>
                    <a:pt x="1579412" y="6200"/>
                    <a:pt x="1588526" y="3162"/>
                  </a:cubicBezTo>
                  <a:cubicBezTo>
                    <a:pt x="1591564" y="124"/>
                    <a:pt x="1595362" y="-636"/>
                    <a:pt x="1599539" y="50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Freeform: Shape 18">
              <a:extLst>
                <a:ext uri="{FF2B5EF4-FFF2-40B4-BE49-F238E27FC236}">
                  <a16:creationId xmlns:a16="http://schemas.microsoft.com/office/drawing/2014/main" id="{57A70BD2-76FC-4BDD-9E64-3B93D5EF3692}"/>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3474720" y="0"/>
              <a:ext cx="6177282" cy="1778750"/>
            </a:xfrm>
            <a:custGeom>
              <a:avLst/>
              <a:gdLst>
                <a:gd name="connsiteX0" fmla="*/ 4421987 w 6386648"/>
                <a:gd name="connsiteY0" fmla="*/ 1813377 h 1849426"/>
                <a:gd name="connsiteX1" fmla="*/ 4440012 w 6386648"/>
                <a:gd name="connsiteY1" fmla="*/ 1831401 h 1849426"/>
                <a:gd name="connsiteX2" fmla="*/ 4421987 w 6386648"/>
                <a:gd name="connsiteY2" fmla="*/ 1849426 h 1849426"/>
                <a:gd name="connsiteX3" fmla="*/ 4403963 w 6386648"/>
                <a:gd name="connsiteY3" fmla="*/ 1831401 h 1849426"/>
                <a:gd name="connsiteX4" fmla="*/ 4421987 w 6386648"/>
                <a:gd name="connsiteY4" fmla="*/ 1813377 h 1849426"/>
                <a:gd name="connsiteX5" fmla="*/ 4235735 w 6386648"/>
                <a:gd name="connsiteY5" fmla="*/ 1807369 h 1849426"/>
                <a:gd name="connsiteX6" fmla="*/ 4253760 w 6386648"/>
                <a:gd name="connsiteY6" fmla="*/ 1825393 h 1849426"/>
                <a:gd name="connsiteX7" fmla="*/ 4235735 w 6386648"/>
                <a:gd name="connsiteY7" fmla="*/ 1843418 h 1849426"/>
                <a:gd name="connsiteX8" fmla="*/ 4217711 w 6386648"/>
                <a:gd name="connsiteY8" fmla="*/ 1825393 h 1849426"/>
                <a:gd name="connsiteX9" fmla="*/ 4235735 w 6386648"/>
                <a:gd name="connsiteY9" fmla="*/ 1807369 h 1849426"/>
                <a:gd name="connsiteX10" fmla="*/ 4566182 w 6386648"/>
                <a:gd name="connsiteY10" fmla="*/ 1795353 h 1849426"/>
                <a:gd name="connsiteX11" fmla="*/ 4584207 w 6386648"/>
                <a:gd name="connsiteY11" fmla="*/ 1813377 h 1849426"/>
                <a:gd name="connsiteX12" fmla="*/ 4566182 w 6386648"/>
                <a:gd name="connsiteY12" fmla="*/ 1831402 h 1849426"/>
                <a:gd name="connsiteX13" fmla="*/ 4548158 w 6386648"/>
                <a:gd name="connsiteY13" fmla="*/ 1813377 h 1849426"/>
                <a:gd name="connsiteX14" fmla="*/ 4566182 w 6386648"/>
                <a:gd name="connsiteY14" fmla="*/ 1795353 h 1849426"/>
                <a:gd name="connsiteX15" fmla="*/ 4698361 w 6386648"/>
                <a:gd name="connsiteY15" fmla="*/ 1777329 h 1849426"/>
                <a:gd name="connsiteX16" fmla="*/ 4716386 w 6386648"/>
                <a:gd name="connsiteY16" fmla="*/ 1795353 h 1849426"/>
                <a:gd name="connsiteX17" fmla="*/ 4698361 w 6386648"/>
                <a:gd name="connsiteY17" fmla="*/ 1813378 h 1849426"/>
                <a:gd name="connsiteX18" fmla="*/ 4680336 w 6386648"/>
                <a:gd name="connsiteY18" fmla="*/ 1795353 h 1849426"/>
                <a:gd name="connsiteX19" fmla="*/ 4698361 w 6386648"/>
                <a:gd name="connsiteY19" fmla="*/ 1777329 h 1849426"/>
                <a:gd name="connsiteX20" fmla="*/ 4085531 w 6386648"/>
                <a:gd name="connsiteY20" fmla="*/ 1759304 h 1849426"/>
                <a:gd name="connsiteX21" fmla="*/ 4103556 w 6386648"/>
                <a:gd name="connsiteY21" fmla="*/ 1777329 h 1849426"/>
                <a:gd name="connsiteX22" fmla="*/ 4085531 w 6386648"/>
                <a:gd name="connsiteY22" fmla="*/ 1795353 h 1849426"/>
                <a:gd name="connsiteX23" fmla="*/ 4067507 w 6386648"/>
                <a:gd name="connsiteY23" fmla="*/ 1777329 h 1849426"/>
                <a:gd name="connsiteX24" fmla="*/ 4085531 w 6386648"/>
                <a:gd name="connsiteY24" fmla="*/ 1759304 h 1849426"/>
                <a:gd name="connsiteX25" fmla="*/ 4301824 w 6386648"/>
                <a:gd name="connsiteY25" fmla="*/ 1723255 h 1849426"/>
                <a:gd name="connsiteX26" fmla="*/ 4319849 w 6386648"/>
                <a:gd name="connsiteY26" fmla="*/ 1741279 h 1849426"/>
                <a:gd name="connsiteX27" fmla="*/ 4301824 w 6386648"/>
                <a:gd name="connsiteY27" fmla="*/ 1759304 h 1849426"/>
                <a:gd name="connsiteX28" fmla="*/ 4283800 w 6386648"/>
                <a:gd name="connsiteY28" fmla="*/ 1741279 h 1849426"/>
                <a:gd name="connsiteX29" fmla="*/ 4301824 w 6386648"/>
                <a:gd name="connsiteY29" fmla="*/ 1723255 h 1849426"/>
                <a:gd name="connsiteX30" fmla="*/ 4440011 w 6386648"/>
                <a:gd name="connsiteY30" fmla="*/ 1717247 h 1849426"/>
                <a:gd name="connsiteX31" fmla="*/ 4458036 w 6386648"/>
                <a:gd name="connsiteY31" fmla="*/ 1735271 h 1849426"/>
                <a:gd name="connsiteX32" fmla="*/ 4440011 w 6386648"/>
                <a:gd name="connsiteY32" fmla="*/ 1753296 h 1849426"/>
                <a:gd name="connsiteX33" fmla="*/ 4421987 w 6386648"/>
                <a:gd name="connsiteY33" fmla="*/ 1735271 h 1849426"/>
                <a:gd name="connsiteX34" fmla="*/ 4440011 w 6386648"/>
                <a:gd name="connsiteY34" fmla="*/ 1717247 h 1849426"/>
                <a:gd name="connsiteX35" fmla="*/ 3965369 w 6386648"/>
                <a:gd name="connsiteY35" fmla="*/ 1711239 h 1849426"/>
                <a:gd name="connsiteX36" fmla="*/ 3983394 w 6386648"/>
                <a:gd name="connsiteY36" fmla="*/ 1729263 h 1849426"/>
                <a:gd name="connsiteX37" fmla="*/ 3965369 w 6386648"/>
                <a:gd name="connsiteY37" fmla="*/ 1747288 h 1849426"/>
                <a:gd name="connsiteX38" fmla="*/ 3947345 w 6386648"/>
                <a:gd name="connsiteY38" fmla="*/ 1729263 h 1849426"/>
                <a:gd name="connsiteX39" fmla="*/ 3965369 w 6386648"/>
                <a:gd name="connsiteY39" fmla="*/ 1711239 h 1849426"/>
                <a:gd name="connsiteX40" fmla="*/ 4836548 w 6386648"/>
                <a:gd name="connsiteY40" fmla="*/ 1705231 h 1849426"/>
                <a:gd name="connsiteX41" fmla="*/ 4854573 w 6386648"/>
                <a:gd name="connsiteY41" fmla="*/ 1723255 h 1849426"/>
                <a:gd name="connsiteX42" fmla="*/ 4836548 w 6386648"/>
                <a:gd name="connsiteY42" fmla="*/ 1741280 h 1849426"/>
                <a:gd name="connsiteX43" fmla="*/ 4818524 w 6386648"/>
                <a:gd name="connsiteY43" fmla="*/ 1723255 h 1849426"/>
                <a:gd name="connsiteX44" fmla="*/ 4836548 w 6386648"/>
                <a:gd name="connsiteY44" fmla="*/ 1705231 h 1849426"/>
                <a:gd name="connsiteX45" fmla="*/ 4175653 w 6386648"/>
                <a:gd name="connsiteY45" fmla="*/ 1681198 h 1849426"/>
                <a:gd name="connsiteX46" fmla="*/ 4193678 w 6386648"/>
                <a:gd name="connsiteY46" fmla="*/ 1699222 h 1849426"/>
                <a:gd name="connsiteX47" fmla="*/ 4175653 w 6386648"/>
                <a:gd name="connsiteY47" fmla="*/ 1717247 h 1849426"/>
                <a:gd name="connsiteX48" fmla="*/ 4157629 w 6386648"/>
                <a:gd name="connsiteY48" fmla="*/ 1699222 h 1849426"/>
                <a:gd name="connsiteX49" fmla="*/ 4175653 w 6386648"/>
                <a:gd name="connsiteY49" fmla="*/ 1681198 h 1849426"/>
                <a:gd name="connsiteX50" fmla="*/ 4602231 w 6386648"/>
                <a:gd name="connsiteY50" fmla="*/ 1675190 h 1849426"/>
                <a:gd name="connsiteX51" fmla="*/ 4620256 w 6386648"/>
                <a:gd name="connsiteY51" fmla="*/ 1693214 h 1849426"/>
                <a:gd name="connsiteX52" fmla="*/ 4602231 w 6386648"/>
                <a:gd name="connsiteY52" fmla="*/ 1711239 h 1849426"/>
                <a:gd name="connsiteX53" fmla="*/ 4584207 w 6386648"/>
                <a:gd name="connsiteY53" fmla="*/ 1693214 h 1849426"/>
                <a:gd name="connsiteX54" fmla="*/ 4602231 w 6386648"/>
                <a:gd name="connsiteY54" fmla="*/ 1675190 h 1849426"/>
                <a:gd name="connsiteX55" fmla="*/ 4734410 w 6386648"/>
                <a:gd name="connsiteY55" fmla="*/ 1663174 h 1849426"/>
                <a:gd name="connsiteX56" fmla="*/ 4752435 w 6386648"/>
                <a:gd name="connsiteY56" fmla="*/ 1681198 h 1849426"/>
                <a:gd name="connsiteX57" fmla="*/ 4734410 w 6386648"/>
                <a:gd name="connsiteY57" fmla="*/ 1699223 h 1849426"/>
                <a:gd name="connsiteX58" fmla="*/ 4716386 w 6386648"/>
                <a:gd name="connsiteY58" fmla="*/ 1681198 h 1849426"/>
                <a:gd name="connsiteX59" fmla="*/ 4734410 w 6386648"/>
                <a:gd name="connsiteY59" fmla="*/ 1663174 h 1849426"/>
                <a:gd name="connsiteX60" fmla="*/ 3851214 w 6386648"/>
                <a:gd name="connsiteY60" fmla="*/ 1663174 h 1849426"/>
                <a:gd name="connsiteX61" fmla="*/ 3869239 w 6386648"/>
                <a:gd name="connsiteY61" fmla="*/ 1681198 h 1849426"/>
                <a:gd name="connsiteX62" fmla="*/ 3851214 w 6386648"/>
                <a:gd name="connsiteY62" fmla="*/ 1699223 h 1849426"/>
                <a:gd name="connsiteX63" fmla="*/ 3833190 w 6386648"/>
                <a:gd name="connsiteY63" fmla="*/ 1681198 h 1849426"/>
                <a:gd name="connsiteX64" fmla="*/ 3851214 w 6386648"/>
                <a:gd name="connsiteY64" fmla="*/ 1663174 h 1849426"/>
                <a:gd name="connsiteX65" fmla="*/ 4061499 w 6386648"/>
                <a:gd name="connsiteY65" fmla="*/ 1627125 h 1849426"/>
                <a:gd name="connsiteX66" fmla="*/ 4079524 w 6386648"/>
                <a:gd name="connsiteY66" fmla="*/ 1645149 h 1849426"/>
                <a:gd name="connsiteX67" fmla="*/ 4061499 w 6386648"/>
                <a:gd name="connsiteY67" fmla="*/ 1663174 h 1849426"/>
                <a:gd name="connsiteX68" fmla="*/ 4043475 w 6386648"/>
                <a:gd name="connsiteY68" fmla="*/ 1645149 h 1849426"/>
                <a:gd name="connsiteX69" fmla="*/ 4061499 w 6386648"/>
                <a:gd name="connsiteY69" fmla="*/ 1627125 h 1849426"/>
                <a:gd name="connsiteX70" fmla="*/ 4482068 w 6386648"/>
                <a:gd name="connsiteY70" fmla="*/ 1621117 h 1849426"/>
                <a:gd name="connsiteX71" fmla="*/ 4500093 w 6386648"/>
                <a:gd name="connsiteY71" fmla="*/ 1639141 h 1849426"/>
                <a:gd name="connsiteX72" fmla="*/ 4482068 w 6386648"/>
                <a:gd name="connsiteY72" fmla="*/ 1657166 h 1849426"/>
                <a:gd name="connsiteX73" fmla="*/ 4464044 w 6386648"/>
                <a:gd name="connsiteY73" fmla="*/ 1639141 h 1849426"/>
                <a:gd name="connsiteX74" fmla="*/ 4482068 w 6386648"/>
                <a:gd name="connsiteY74" fmla="*/ 1621117 h 1849426"/>
                <a:gd name="connsiteX75" fmla="*/ 4926670 w 6386648"/>
                <a:gd name="connsiteY75" fmla="*/ 1615109 h 1849426"/>
                <a:gd name="connsiteX76" fmla="*/ 4944695 w 6386648"/>
                <a:gd name="connsiteY76" fmla="*/ 1633133 h 1849426"/>
                <a:gd name="connsiteX77" fmla="*/ 4926670 w 6386648"/>
                <a:gd name="connsiteY77" fmla="*/ 1651158 h 1849426"/>
                <a:gd name="connsiteX78" fmla="*/ 4908646 w 6386648"/>
                <a:gd name="connsiteY78" fmla="*/ 1633133 h 1849426"/>
                <a:gd name="connsiteX79" fmla="*/ 4926670 w 6386648"/>
                <a:gd name="connsiteY79" fmla="*/ 1615109 h 1849426"/>
                <a:gd name="connsiteX80" fmla="*/ 3719035 w 6386648"/>
                <a:gd name="connsiteY80" fmla="*/ 1615109 h 1849426"/>
                <a:gd name="connsiteX81" fmla="*/ 3737060 w 6386648"/>
                <a:gd name="connsiteY81" fmla="*/ 1633133 h 1849426"/>
                <a:gd name="connsiteX82" fmla="*/ 3719035 w 6386648"/>
                <a:gd name="connsiteY82" fmla="*/ 1651158 h 1849426"/>
                <a:gd name="connsiteX83" fmla="*/ 3701011 w 6386648"/>
                <a:gd name="connsiteY83" fmla="*/ 1633133 h 1849426"/>
                <a:gd name="connsiteX84" fmla="*/ 3719035 w 6386648"/>
                <a:gd name="connsiteY84" fmla="*/ 1615109 h 1849426"/>
                <a:gd name="connsiteX85" fmla="*/ 4343881 w 6386648"/>
                <a:gd name="connsiteY85" fmla="*/ 1603093 h 1849426"/>
                <a:gd name="connsiteX86" fmla="*/ 4361906 w 6386648"/>
                <a:gd name="connsiteY86" fmla="*/ 1621117 h 1849426"/>
                <a:gd name="connsiteX87" fmla="*/ 4343881 w 6386648"/>
                <a:gd name="connsiteY87" fmla="*/ 1639142 h 1849426"/>
                <a:gd name="connsiteX88" fmla="*/ 4325857 w 6386648"/>
                <a:gd name="connsiteY88" fmla="*/ 1621117 h 1849426"/>
                <a:gd name="connsiteX89" fmla="*/ 4343881 w 6386648"/>
                <a:gd name="connsiteY89" fmla="*/ 1603093 h 1849426"/>
                <a:gd name="connsiteX90" fmla="*/ 4235735 w 6386648"/>
                <a:gd name="connsiteY90" fmla="*/ 1579060 h 1849426"/>
                <a:gd name="connsiteX91" fmla="*/ 4253760 w 6386648"/>
                <a:gd name="connsiteY91" fmla="*/ 1597085 h 1849426"/>
                <a:gd name="connsiteX92" fmla="*/ 4235735 w 6386648"/>
                <a:gd name="connsiteY92" fmla="*/ 1615109 h 1849426"/>
                <a:gd name="connsiteX93" fmla="*/ 4217711 w 6386648"/>
                <a:gd name="connsiteY93" fmla="*/ 1597085 h 1849426"/>
                <a:gd name="connsiteX94" fmla="*/ 4235735 w 6386648"/>
                <a:gd name="connsiteY94" fmla="*/ 1579060 h 1849426"/>
                <a:gd name="connsiteX95" fmla="*/ 3941336 w 6386648"/>
                <a:gd name="connsiteY95" fmla="*/ 1573052 h 1849426"/>
                <a:gd name="connsiteX96" fmla="*/ 3959361 w 6386648"/>
                <a:gd name="connsiteY96" fmla="*/ 1591076 h 1849426"/>
                <a:gd name="connsiteX97" fmla="*/ 3941336 w 6386648"/>
                <a:gd name="connsiteY97" fmla="*/ 1609101 h 1849426"/>
                <a:gd name="connsiteX98" fmla="*/ 3923312 w 6386648"/>
                <a:gd name="connsiteY98" fmla="*/ 1591076 h 1849426"/>
                <a:gd name="connsiteX99" fmla="*/ 3941336 w 6386648"/>
                <a:gd name="connsiteY99" fmla="*/ 1573052 h 1849426"/>
                <a:gd name="connsiteX100" fmla="*/ 1057431 w 6386648"/>
                <a:gd name="connsiteY100" fmla="*/ 1567044 h 1849426"/>
                <a:gd name="connsiteX101" fmla="*/ 1075456 w 6386648"/>
                <a:gd name="connsiteY101" fmla="*/ 1585068 h 1849426"/>
                <a:gd name="connsiteX102" fmla="*/ 1057431 w 6386648"/>
                <a:gd name="connsiteY102" fmla="*/ 1603093 h 1849426"/>
                <a:gd name="connsiteX103" fmla="*/ 1039407 w 6386648"/>
                <a:gd name="connsiteY103" fmla="*/ 1585068 h 1849426"/>
                <a:gd name="connsiteX104" fmla="*/ 1057431 w 6386648"/>
                <a:gd name="connsiteY104" fmla="*/ 1567044 h 1849426"/>
                <a:gd name="connsiteX105" fmla="*/ 1201626 w 6386648"/>
                <a:gd name="connsiteY105" fmla="*/ 1561036 h 1849426"/>
                <a:gd name="connsiteX106" fmla="*/ 1219651 w 6386648"/>
                <a:gd name="connsiteY106" fmla="*/ 1579060 h 1849426"/>
                <a:gd name="connsiteX107" fmla="*/ 1201626 w 6386648"/>
                <a:gd name="connsiteY107" fmla="*/ 1597085 h 1849426"/>
                <a:gd name="connsiteX108" fmla="*/ 1183602 w 6386648"/>
                <a:gd name="connsiteY108" fmla="*/ 1579060 h 1849426"/>
                <a:gd name="connsiteX109" fmla="*/ 1201626 w 6386648"/>
                <a:gd name="connsiteY109" fmla="*/ 1561036 h 1849426"/>
                <a:gd name="connsiteX110" fmla="*/ 4716385 w 6386648"/>
                <a:gd name="connsiteY110" fmla="*/ 1555028 h 1849426"/>
                <a:gd name="connsiteX111" fmla="*/ 4734410 w 6386648"/>
                <a:gd name="connsiteY111" fmla="*/ 1573052 h 1849426"/>
                <a:gd name="connsiteX112" fmla="*/ 4716385 w 6386648"/>
                <a:gd name="connsiteY112" fmla="*/ 1591077 h 1849426"/>
                <a:gd name="connsiteX113" fmla="*/ 4698361 w 6386648"/>
                <a:gd name="connsiteY113" fmla="*/ 1573052 h 1849426"/>
                <a:gd name="connsiteX114" fmla="*/ 4716385 w 6386648"/>
                <a:gd name="connsiteY114" fmla="*/ 1555028 h 1849426"/>
                <a:gd name="connsiteX115" fmla="*/ 4578198 w 6386648"/>
                <a:gd name="connsiteY115" fmla="*/ 1555028 h 1849426"/>
                <a:gd name="connsiteX116" fmla="*/ 4596223 w 6386648"/>
                <a:gd name="connsiteY116" fmla="*/ 1573052 h 1849426"/>
                <a:gd name="connsiteX117" fmla="*/ 4578198 w 6386648"/>
                <a:gd name="connsiteY117" fmla="*/ 1591077 h 1849426"/>
                <a:gd name="connsiteX118" fmla="*/ 4560173 w 6386648"/>
                <a:gd name="connsiteY118" fmla="*/ 1573052 h 1849426"/>
                <a:gd name="connsiteX119" fmla="*/ 4578198 w 6386648"/>
                <a:gd name="connsiteY119" fmla="*/ 1555028 h 1849426"/>
                <a:gd name="connsiteX120" fmla="*/ 1333805 w 6386648"/>
                <a:gd name="connsiteY120" fmla="*/ 1555028 h 1849426"/>
                <a:gd name="connsiteX121" fmla="*/ 1351830 w 6386648"/>
                <a:gd name="connsiteY121" fmla="*/ 1573052 h 1849426"/>
                <a:gd name="connsiteX122" fmla="*/ 1333805 w 6386648"/>
                <a:gd name="connsiteY122" fmla="*/ 1591077 h 1849426"/>
                <a:gd name="connsiteX123" fmla="*/ 1315781 w 6386648"/>
                <a:gd name="connsiteY123" fmla="*/ 1573052 h 1849426"/>
                <a:gd name="connsiteX124" fmla="*/ 1333805 w 6386648"/>
                <a:gd name="connsiteY124" fmla="*/ 1555028 h 1849426"/>
                <a:gd name="connsiteX125" fmla="*/ 4842556 w 6386648"/>
                <a:gd name="connsiteY125" fmla="*/ 1543011 h 1849426"/>
                <a:gd name="connsiteX126" fmla="*/ 4860581 w 6386648"/>
                <a:gd name="connsiteY126" fmla="*/ 1561035 h 1849426"/>
                <a:gd name="connsiteX127" fmla="*/ 4842556 w 6386648"/>
                <a:gd name="connsiteY127" fmla="*/ 1579060 h 1849426"/>
                <a:gd name="connsiteX128" fmla="*/ 4824532 w 6386648"/>
                <a:gd name="connsiteY128" fmla="*/ 1561035 h 1849426"/>
                <a:gd name="connsiteX129" fmla="*/ 4842556 w 6386648"/>
                <a:gd name="connsiteY129" fmla="*/ 1543011 h 1849426"/>
                <a:gd name="connsiteX130" fmla="*/ 3803149 w 6386648"/>
                <a:gd name="connsiteY130" fmla="*/ 1537003 h 1849426"/>
                <a:gd name="connsiteX131" fmla="*/ 3821174 w 6386648"/>
                <a:gd name="connsiteY131" fmla="*/ 1555027 h 1849426"/>
                <a:gd name="connsiteX132" fmla="*/ 3803149 w 6386648"/>
                <a:gd name="connsiteY132" fmla="*/ 1573052 h 1849426"/>
                <a:gd name="connsiteX133" fmla="*/ 3785125 w 6386648"/>
                <a:gd name="connsiteY133" fmla="*/ 1555027 h 1849426"/>
                <a:gd name="connsiteX134" fmla="*/ 3803149 w 6386648"/>
                <a:gd name="connsiteY134" fmla="*/ 1537003 h 1849426"/>
                <a:gd name="connsiteX135" fmla="*/ 4127588 w 6386648"/>
                <a:gd name="connsiteY135" fmla="*/ 1530995 h 1849426"/>
                <a:gd name="connsiteX136" fmla="*/ 4145613 w 6386648"/>
                <a:gd name="connsiteY136" fmla="*/ 1549019 h 1849426"/>
                <a:gd name="connsiteX137" fmla="*/ 4127588 w 6386648"/>
                <a:gd name="connsiteY137" fmla="*/ 1567044 h 1849426"/>
                <a:gd name="connsiteX138" fmla="*/ 4109563 w 6386648"/>
                <a:gd name="connsiteY138" fmla="*/ 1549019 h 1849426"/>
                <a:gd name="connsiteX139" fmla="*/ 4127588 w 6386648"/>
                <a:gd name="connsiteY139" fmla="*/ 1530995 h 1849426"/>
                <a:gd name="connsiteX140" fmla="*/ 3634921 w 6386648"/>
                <a:gd name="connsiteY140" fmla="*/ 1530995 h 1849426"/>
                <a:gd name="connsiteX141" fmla="*/ 3652946 w 6386648"/>
                <a:gd name="connsiteY141" fmla="*/ 1549019 h 1849426"/>
                <a:gd name="connsiteX142" fmla="*/ 3634921 w 6386648"/>
                <a:gd name="connsiteY142" fmla="*/ 1567044 h 1849426"/>
                <a:gd name="connsiteX143" fmla="*/ 3616897 w 6386648"/>
                <a:gd name="connsiteY143" fmla="*/ 1549019 h 1849426"/>
                <a:gd name="connsiteX144" fmla="*/ 3634921 w 6386648"/>
                <a:gd name="connsiteY144" fmla="*/ 1530995 h 1849426"/>
                <a:gd name="connsiteX145" fmla="*/ 3532783 w 6386648"/>
                <a:gd name="connsiteY145" fmla="*/ 1530995 h 1849426"/>
                <a:gd name="connsiteX146" fmla="*/ 3550808 w 6386648"/>
                <a:gd name="connsiteY146" fmla="*/ 1549019 h 1849426"/>
                <a:gd name="connsiteX147" fmla="*/ 3532783 w 6386648"/>
                <a:gd name="connsiteY147" fmla="*/ 1567044 h 1849426"/>
                <a:gd name="connsiteX148" fmla="*/ 3514759 w 6386648"/>
                <a:gd name="connsiteY148" fmla="*/ 1549019 h 1849426"/>
                <a:gd name="connsiteX149" fmla="*/ 3532783 w 6386648"/>
                <a:gd name="connsiteY149" fmla="*/ 1530995 h 1849426"/>
                <a:gd name="connsiteX150" fmla="*/ 1478000 w 6386648"/>
                <a:gd name="connsiteY150" fmla="*/ 1530995 h 1849426"/>
                <a:gd name="connsiteX151" fmla="*/ 1496025 w 6386648"/>
                <a:gd name="connsiteY151" fmla="*/ 1549019 h 1849426"/>
                <a:gd name="connsiteX152" fmla="*/ 1478000 w 6386648"/>
                <a:gd name="connsiteY152" fmla="*/ 1567044 h 1849426"/>
                <a:gd name="connsiteX153" fmla="*/ 1459976 w 6386648"/>
                <a:gd name="connsiteY153" fmla="*/ 1549019 h 1849426"/>
                <a:gd name="connsiteX154" fmla="*/ 1478000 w 6386648"/>
                <a:gd name="connsiteY154" fmla="*/ 1530995 h 1849426"/>
                <a:gd name="connsiteX155" fmla="*/ 4427995 w 6386648"/>
                <a:gd name="connsiteY155" fmla="*/ 1518979 h 1849426"/>
                <a:gd name="connsiteX156" fmla="*/ 4446020 w 6386648"/>
                <a:gd name="connsiteY156" fmla="*/ 1537004 h 1849426"/>
                <a:gd name="connsiteX157" fmla="*/ 4427995 w 6386648"/>
                <a:gd name="connsiteY157" fmla="*/ 1555028 h 1849426"/>
                <a:gd name="connsiteX158" fmla="*/ 4409970 w 6386648"/>
                <a:gd name="connsiteY158" fmla="*/ 1537004 h 1849426"/>
                <a:gd name="connsiteX159" fmla="*/ 4427995 w 6386648"/>
                <a:gd name="connsiteY159" fmla="*/ 1518979 h 1849426"/>
                <a:gd name="connsiteX160" fmla="*/ 4980743 w 6386648"/>
                <a:gd name="connsiteY160" fmla="*/ 1506962 h 1849426"/>
                <a:gd name="connsiteX161" fmla="*/ 4998768 w 6386648"/>
                <a:gd name="connsiteY161" fmla="*/ 1524986 h 1849426"/>
                <a:gd name="connsiteX162" fmla="*/ 4980743 w 6386648"/>
                <a:gd name="connsiteY162" fmla="*/ 1543011 h 1849426"/>
                <a:gd name="connsiteX163" fmla="*/ 4962719 w 6386648"/>
                <a:gd name="connsiteY163" fmla="*/ 1524986 h 1849426"/>
                <a:gd name="connsiteX164" fmla="*/ 4980743 w 6386648"/>
                <a:gd name="connsiteY164" fmla="*/ 1506962 h 1849426"/>
                <a:gd name="connsiteX165" fmla="*/ 961301 w 6386648"/>
                <a:gd name="connsiteY165" fmla="*/ 1506962 h 1849426"/>
                <a:gd name="connsiteX166" fmla="*/ 979326 w 6386648"/>
                <a:gd name="connsiteY166" fmla="*/ 1524986 h 1849426"/>
                <a:gd name="connsiteX167" fmla="*/ 961301 w 6386648"/>
                <a:gd name="connsiteY167" fmla="*/ 1543011 h 1849426"/>
                <a:gd name="connsiteX168" fmla="*/ 943277 w 6386648"/>
                <a:gd name="connsiteY168" fmla="*/ 1524986 h 1849426"/>
                <a:gd name="connsiteX169" fmla="*/ 961301 w 6386648"/>
                <a:gd name="connsiteY169" fmla="*/ 1506962 h 1849426"/>
                <a:gd name="connsiteX170" fmla="*/ 859163 w 6386648"/>
                <a:gd name="connsiteY170" fmla="*/ 1500954 h 1849426"/>
                <a:gd name="connsiteX171" fmla="*/ 877188 w 6386648"/>
                <a:gd name="connsiteY171" fmla="*/ 1518978 h 1849426"/>
                <a:gd name="connsiteX172" fmla="*/ 859163 w 6386648"/>
                <a:gd name="connsiteY172" fmla="*/ 1537003 h 1849426"/>
                <a:gd name="connsiteX173" fmla="*/ 841139 w 6386648"/>
                <a:gd name="connsiteY173" fmla="*/ 1518978 h 1849426"/>
                <a:gd name="connsiteX174" fmla="*/ 859163 w 6386648"/>
                <a:gd name="connsiteY174" fmla="*/ 1500954 h 1849426"/>
                <a:gd name="connsiteX175" fmla="*/ 4013434 w 6386648"/>
                <a:gd name="connsiteY175" fmla="*/ 1482930 h 1849426"/>
                <a:gd name="connsiteX176" fmla="*/ 4031459 w 6386648"/>
                <a:gd name="connsiteY176" fmla="*/ 1500954 h 1849426"/>
                <a:gd name="connsiteX177" fmla="*/ 4013434 w 6386648"/>
                <a:gd name="connsiteY177" fmla="*/ 1518979 h 1849426"/>
                <a:gd name="connsiteX178" fmla="*/ 3995410 w 6386648"/>
                <a:gd name="connsiteY178" fmla="*/ 1500954 h 1849426"/>
                <a:gd name="connsiteX179" fmla="*/ 4013434 w 6386648"/>
                <a:gd name="connsiteY179" fmla="*/ 1482930 h 1849426"/>
                <a:gd name="connsiteX180" fmla="*/ 3412620 w 6386648"/>
                <a:gd name="connsiteY180" fmla="*/ 1482930 h 1849426"/>
                <a:gd name="connsiteX181" fmla="*/ 3430645 w 6386648"/>
                <a:gd name="connsiteY181" fmla="*/ 1500954 h 1849426"/>
                <a:gd name="connsiteX182" fmla="*/ 3412620 w 6386648"/>
                <a:gd name="connsiteY182" fmla="*/ 1518979 h 1849426"/>
                <a:gd name="connsiteX183" fmla="*/ 3394596 w 6386648"/>
                <a:gd name="connsiteY183" fmla="*/ 1500954 h 1849426"/>
                <a:gd name="connsiteX184" fmla="*/ 3412620 w 6386648"/>
                <a:gd name="connsiteY184" fmla="*/ 1482930 h 1849426"/>
                <a:gd name="connsiteX185" fmla="*/ 1586148 w 6386648"/>
                <a:gd name="connsiteY185" fmla="*/ 1476922 h 1849426"/>
                <a:gd name="connsiteX186" fmla="*/ 1604172 w 6386648"/>
                <a:gd name="connsiteY186" fmla="*/ 1494946 h 1849426"/>
                <a:gd name="connsiteX187" fmla="*/ 1586148 w 6386648"/>
                <a:gd name="connsiteY187" fmla="*/ 1512971 h 1849426"/>
                <a:gd name="connsiteX188" fmla="*/ 1568123 w 6386648"/>
                <a:gd name="connsiteY188" fmla="*/ 1494946 h 1849426"/>
                <a:gd name="connsiteX189" fmla="*/ 1586148 w 6386648"/>
                <a:gd name="connsiteY189" fmla="*/ 1476922 h 1849426"/>
                <a:gd name="connsiteX190" fmla="*/ 4271783 w 6386648"/>
                <a:gd name="connsiteY190" fmla="*/ 1464906 h 1849426"/>
                <a:gd name="connsiteX191" fmla="*/ 4289808 w 6386648"/>
                <a:gd name="connsiteY191" fmla="*/ 1482930 h 1849426"/>
                <a:gd name="connsiteX192" fmla="*/ 4271783 w 6386648"/>
                <a:gd name="connsiteY192" fmla="*/ 1500955 h 1849426"/>
                <a:gd name="connsiteX193" fmla="*/ 4253759 w 6386648"/>
                <a:gd name="connsiteY193" fmla="*/ 1482930 h 1849426"/>
                <a:gd name="connsiteX194" fmla="*/ 4271783 w 6386648"/>
                <a:gd name="connsiteY194" fmla="*/ 1464906 h 1849426"/>
                <a:gd name="connsiteX195" fmla="*/ 1105497 w 6386648"/>
                <a:gd name="connsiteY195" fmla="*/ 1464906 h 1849426"/>
                <a:gd name="connsiteX196" fmla="*/ 1123521 w 6386648"/>
                <a:gd name="connsiteY196" fmla="*/ 1482930 h 1849426"/>
                <a:gd name="connsiteX197" fmla="*/ 1105497 w 6386648"/>
                <a:gd name="connsiteY197" fmla="*/ 1500955 h 1849426"/>
                <a:gd name="connsiteX198" fmla="*/ 1087472 w 6386648"/>
                <a:gd name="connsiteY198" fmla="*/ 1482930 h 1849426"/>
                <a:gd name="connsiteX199" fmla="*/ 1105497 w 6386648"/>
                <a:gd name="connsiteY199" fmla="*/ 1464906 h 1849426"/>
                <a:gd name="connsiteX200" fmla="*/ 4602231 w 6386648"/>
                <a:gd name="connsiteY200" fmla="*/ 1452889 h 1849426"/>
                <a:gd name="connsiteX201" fmla="*/ 4620256 w 6386648"/>
                <a:gd name="connsiteY201" fmla="*/ 1470913 h 1849426"/>
                <a:gd name="connsiteX202" fmla="*/ 4602231 w 6386648"/>
                <a:gd name="connsiteY202" fmla="*/ 1488938 h 1849426"/>
                <a:gd name="connsiteX203" fmla="*/ 4584207 w 6386648"/>
                <a:gd name="connsiteY203" fmla="*/ 1470913 h 1849426"/>
                <a:gd name="connsiteX204" fmla="*/ 4602231 w 6386648"/>
                <a:gd name="connsiteY204" fmla="*/ 1452889 h 1849426"/>
                <a:gd name="connsiteX205" fmla="*/ 3875247 w 6386648"/>
                <a:gd name="connsiteY205" fmla="*/ 1452889 h 1849426"/>
                <a:gd name="connsiteX206" fmla="*/ 3893272 w 6386648"/>
                <a:gd name="connsiteY206" fmla="*/ 1470913 h 1849426"/>
                <a:gd name="connsiteX207" fmla="*/ 3875247 w 6386648"/>
                <a:gd name="connsiteY207" fmla="*/ 1488938 h 1849426"/>
                <a:gd name="connsiteX208" fmla="*/ 3857223 w 6386648"/>
                <a:gd name="connsiteY208" fmla="*/ 1470913 h 1849426"/>
                <a:gd name="connsiteX209" fmla="*/ 3875247 w 6386648"/>
                <a:gd name="connsiteY209" fmla="*/ 1452889 h 1849426"/>
                <a:gd name="connsiteX210" fmla="*/ 1706311 w 6386648"/>
                <a:gd name="connsiteY210" fmla="*/ 1452889 h 1849426"/>
                <a:gd name="connsiteX211" fmla="*/ 1724335 w 6386648"/>
                <a:gd name="connsiteY211" fmla="*/ 1470913 h 1849426"/>
                <a:gd name="connsiteX212" fmla="*/ 1706311 w 6386648"/>
                <a:gd name="connsiteY212" fmla="*/ 1488938 h 1849426"/>
                <a:gd name="connsiteX213" fmla="*/ 1688286 w 6386648"/>
                <a:gd name="connsiteY213" fmla="*/ 1470913 h 1849426"/>
                <a:gd name="connsiteX214" fmla="*/ 1706311 w 6386648"/>
                <a:gd name="connsiteY214" fmla="*/ 1452889 h 1849426"/>
                <a:gd name="connsiteX215" fmla="*/ 1411911 w 6386648"/>
                <a:gd name="connsiteY215" fmla="*/ 1452889 h 1849426"/>
                <a:gd name="connsiteX216" fmla="*/ 1429936 w 6386648"/>
                <a:gd name="connsiteY216" fmla="*/ 1470913 h 1849426"/>
                <a:gd name="connsiteX217" fmla="*/ 1411911 w 6386648"/>
                <a:gd name="connsiteY217" fmla="*/ 1488938 h 1849426"/>
                <a:gd name="connsiteX218" fmla="*/ 1393887 w 6386648"/>
                <a:gd name="connsiteY218" fmla="*/ 1470913 h 1849426"/>
                <a:gd name="connsiteX219" fmla="*/ 1411911 w 6386648"/>
                <a:gd name="connsiteY219" fmla="*/ 1452889 h 1849426"/>
                <a:gd name="connsiteX220" fmla="*/ 1249691 w 6386648"/>
                <a:gd name="connsiteY220" fmla="*/ 1452889 h 1849426"/>
                <a:gd name="connsiteX221" fmla="*/ 1267716 w 6386648"/>
                <a:gd name="connsiteY221" fmla="*/ 1470913 h 1849426"/>
                <a:gd name="connsiteX222" fmla="*/ 1249691 w 6386648"/>
                <a:gd name="connsiteY222" fmla="*/ 1488938 h 1849426"/>
                <a:gd name="connsiteX223" fmla="*/ 1231667 w 6386648"/>
                <a:gd name="connsiteY223" fmla="*/ 1470913 h 1849426"/>
                <a:gd name="connsiteX224" fmla="*/ 1249691 w 6386648"/>
                <a:gd name="connsiteY224" fmla="*/ 1452889 h 1849426"/>
                <a:gd name="connsiteX225" fmla="*/ 4764451 w 6386648"/>
                <a:gd name="connsiteY225" fmla="*/ 1446881 h 1849426"/>
                <a:gd name="connsiteX226" fmla="*/ 4782476 w 6386648"/>
                <a:gd name="connsiteY226" fmla="*/ 1464905 h 1849426"/>
                <a:gd name="connsiteX227" fmla="*/ 4764451 w 6386648"/>
                <a:gd name="connsiteY227" fmla="*/ 1482930 h 1849426"/>
                <a:gd name="connsiteX228" fmla="*/ 4746427 w 6386648"/>
                <a:gd name="connsiteY228" fmla="*/ 1464905 h 1849426"/>
                <a:gd name="connsiteX229" fmla="*/ 4764451 w 6386648"/>
                <a:gd name="connsiteY229" fmla="*/ 1446881 h 1849426"/>
                <a:gd name="connsiteX230" fmla="*/ 763032 w 6386648"/>
                <a:gd name="connsiteY230" fmla="*/ 1446881 h 1849426"/>
                <a:gd name="connsiteX231" fmla="*/ 781057 w 6386648"/>
                <a:gd name="connsiteY231" fmla="*/ 1464905 h 1849426"/>
                <a:gd name="connsiteX232" fmla="*/ 763032 w 6386648"/>
                <a:gd name="connsiteY232" fmla="*/ 1482930 h 1849426"/>
                <a:gd name="connsiteX233" fmla="*/ 745008 w 6386648"/>
                <a:gd name="connsiteY233" fmla="*/ 1464905 h 1849426"/>
                <a:gd name="connsiteX234" fmla="*/ 763032 w 6386648"/>
                <a:gd name="connsiteY234" fmla="*/ 1446881 h 1849426"/>
                <a:gd name="connsiteX235" fmla="*/ 3731051 w 6386648"/>
                <a:gd name="connsiteY235" fmla="*/ 1434865 h 1849426"/>
                <a:gd name="connsiteX236" fmla="*/ 3749076 w 6386648"/>
                <a:gd name="connsiteY236" fmla="*/ 1452889 h 1849426"/>
                <a:gd name="connsiteX237" fmla="*/ 3731051 w 6386648"/>
                <a:gd name="connsiteY237" fmla="*/ 1470914 h 1849426"/>
                <a:gd name="connsiteX238" fmla="*/ 3713027 w 6386648"/>
                <a:gd name="connsiteY238" fmla="*/ 1452889 h 1849426"/>
                <a:gd name="connsiteX239" fmla="*/ 3731051 w 6386648"/>
                <a:gd name="connsiteY239" fmla="*/ 1434865 h 1849426"/>
                <a:gd name="connsiteX240" fmla="*/ 3304474 w 6386648"/>
                <a:gd name="connsiteY240" fmla="*/ 1422849 h 1849426"/>
                <a:gd name="connsiteX241" fmla="*/ 3322499 w 6386648"/>
                <a:gd name="connsiteY241" fmla="*/ 1440873 h 1849426"/>
                <a:gd name="connsiteX242" fmla="*/ 3304474 w 6386648"/>
                <a:gd name="connsiteY242" fmla="*/ 1458898 h 1849426"/>
                <a:gd name="connsiteX243" fmla="*/ 3286450 w 6386648"/>
                <a:gd name="connsiteY243" fmla="*/ 1440873 h 1849426"/>
                <a:gd name="connsiteX244" fmla="*/ 3304474 w 6386648"/>
                <a:gd name="connsiteY244" fmla="*/ 1422849 h 1849426"/>
                <a:gd name="connsiteX245" fmla="*/ 4890621 w 6386648"/>
                <a:gd name="connsiteY245" fmla="*/ 1416840 h 1849426"/>
                <a:gd name="connsiteX246" fmla="*/ 4908646 w 6386648"/>
                <a:gd name="connsiteY246" fmla="*/ 1434864 h 1849426"/>
                <a:gd name="connsiteX247" fmla="*/ 4890621 w 6386648"/>
                <a:gd name="connsiteY247" fmla="*/ 1452889 h 1849426"/>
                <a:gd name="connsiteX248" fmla="*/ 4872597 w 6386648"/>
                <a:gd name="connsiteY248" fmla="*/ 1434864 h 1849426"/>
                <a:gd name="connsiteX249" fmla="*/ 4890621 w 6386648"/>
                <a:gd name="connsiteY249" fmla="*/ 1416840 h 1849426"/>
                <a:gd name="connsiteX250" fmla="*/ 3544799 w 6386648"/>
                <a:gd name="connsiteY250" fmla="*/ 1410832 h 1849426"/>
                <a:gd name="connsiteX251" fmla="*/ 3562824 w 6386648"/>
                <a:gd name="connsiteY251" fmla="*/ 1428856 h 1849426"/>
                <a:gd name="connsiteX252" fmla="*/ 3544799 w 6386648"/>
                <a:gd name="connsiteY252" fmla="*/ 1446881 h 1849426"/>
                <a:gd name="connsiteX253" fmla="*/ 3526775 w 6386648"/>
                <a:gd name="connsiteY253" fmla="*/ 1428856 h 1849426"/>
                <a:gd name="connsiteX254" fmla="*/ 3544799 w 6386648"/>
                <a:gd name="connsiteY254" fmla="*/ 1410832 h 1849426"/>
                <a:gd name="connsiteX255" fmla="*/ 4488076 w 6386648"/>
                <a:gd name="connsiteY255" fmla="*/ 1404824 h 1849426"/>
                <a:gd name="connsiteX256" fmla="*/ 4506101 w 6386648"/>
                <a:gd name="connsiteY256" fmla="*/ 1422848 h 1849426"/>
                <a:gd name="connsiteX257" fmla="*/ 4488076 w 6386648"/>
                <a:gd name="connsiteY257" fmla="*/ 1440873 h 1849426"/>
                <a:gd name="connsiteX258" fmla="*/ 4470051 w 6386648"/>
                <a:gd name="connsiteY258" fmla="*/ 1422848 h 1849426"/>
                <a:gd name="connsiteX259" fmla="*/ 4488076 w 6386648"/>
                <a:gd name="connsiteY259" fmla="*/ 1404824 h 1849426"/>
                <a:gd name="connsiteX260" fmla="*/ 5028808 w 6386648"/>
                <a:gd name="connsiteY260" fmla="*/ 1398816 h 1849426"/>
                <a:gd name="connsiteX261" fmla="*/ 5046833 w 6386648"/>
                <a:gd name="connsiteY261" fmla="*/ 1416841 h 1849426"/>
                <a:gd name="connsiteX262" fmla="*/ 5028808 w 6386648"/>
                <a:gd name="connsiteY262" fmla="*/ 1434865 h 1849426"/>
                <a:gd name="connsiteX263" fmla="*/ 5010783 w 6386648"/>
                <a:gd name="connsiteY263" fmla="*/ 1416841 h 1849426"/>
                <a:gd name="connsiteX264" fmla="*/ 5028808 w 6386648"/>
                <a:gd name="connsiteY264" fmla="*/ 1398816 h 1849426"/>
                <a:gd name="connsiteX265" fmla="*/ 4367914 w 6386648"/>
                <a:gd name="connsiteY265" fmla="*/ 1398816 h 1849426"/>
                <a:gd name="connsiteX266" fmla="*/ 4385939 w 6386648"/>
                <a:gd name="connsiteY266" fmla="*/ 1416841 h 1849426"/>
                <a:gd name="connsiteX267" fmla="*/ 4367914 w 6386648"/>
                <a:gd name="connsiteY267" fmla="*/ 1434865 h 1849426"/>
                <a:gd name="connsiteX268" fmla="*/ 4349889 w 6386648"/>
                <a:gd name="connsiteY268" fmla="*/ 1416841 h 1849426"/>
                <a:gd name="connsiteX269" fmla="*/ 4367914 w 6386648"/>
                <a:gd name="connsiteY269" fmla="*/ 1398816 h 1849426"/>
                <a:gd name="connsiteX270" fmla="*/ 4163637 w 6386648"/>
                <a:gd name="connsiteY270" fmla="*/ 1398816 h 1849426"/>
                <a:gd name="connsiteX271" fmla="*/ 4181662 w 6386648"/>
                <a:gd name="connsiteY271" fmla="*/ 1416841 h 1849426"/>
                <a:gd name="connsiteX272" fmla="*/ 4163637 w 6386648"/>
                <a:gd name="connsiteY272" fmla="*/ 1434865 h 1849426"/>
                <a:gd name="connsiteX273" fmla="*/ 4145613 w 6386648"/>
                <a:gd name="connsiteY273" fmla="*/ 1416841 h 1849426"/>
                <a:gd name="connsiteX274" fmla="*/ 4163637 w 6386648"/>
                <a:gd name="connsiteY274" fmla="*/ 1398816 h 1849426"/>
                <a:gd name="connsiteX275" fmla="*/ 672910 w 6386648"/>
                <a:gd name="connsiteY275" fmla="*/ 1398816 h 1849426"/>
                <a:gd name="connsiteX276" fmla="*/ 690935 w 6386648"/>
                <a:gd name="connsiteY276" fmla="*/ 1416841 h 1849426"/>
                <a:gd name="connsiteX277" fmla="*/ 672910 w 6386648"/>
                <a:gd name="connsiteY277" fmla="*/ 1434865 h 1849426"/>
                <a:gd name="connsiteX278" fmla="*/ 654886 w 6386648"/>
                <a:gd name="connsiteY278" fmla="*/ 1416841 h 1849426"/>
                <a:gd name="connsiteX279" fmla="*/ 672910 w 6386648"/>
                <a:gd name="connsiteY279" fmla="*/ 1398816 h 1849426"/>
                <a:gd name="connsiteX280" fmla="*/ 3190319 w 6386648"/>
                <a:gd name="connsiteY280" fmla="*/ 1392808 h 1849426"/>
                <a:gd name="connsiteX281" fmla="*/ 3208344 w 6386648"/>
                <a:gd name="connsiteY281" fmla="*/ 1410832 h 1849426"/>
                <a:gd name="connsiteX282" fmla="*/ 3190319 w 6386648"/>
                <a:gd name="connsiteY282" fmla="*/ 1428857 h 1849426"/>
                <a:gd name="connsiteX283" fmla="*/ 3172295 w 6386648"/>
                <a:gd name="connsiteY283" fmla="*/ 1410832 h 1849426"/>
                <a:gd name="connsiteX284" fmla="*/ 3190319 w 6386648"/>
                <a:gd name="connsiteY284" fmla="*/ 1392808 h 1849426"/>
                <a:gd name="connsiteX285" fmla="*/ 1814456 w 6386648"/>
                <a:gd name="connsiteY285" fmla="*/ 1392808 h 1849426"/>
                <a:gd name="connsiteX286" fmla="*/ 1832481 w 6386648"/>
                <a:gd name="connsiteY286" fmla="*/ 1410832 h 1849426"/>
                <a:gd name="connsiteX287" fmla="*/ 1814456 w 6386648"/>
                <a:gd name="connsiteY287" fmla="*/ 1428857 h 1849426"/>
                <a:gd name="connsiteX288" fmla="*/ 1796432 w 6386648"/>
                <a:gd name="connsiteY288" fmla="*/ 1410832 h 1849426"/>
                <a:gd name="connsiteX289" fmla="*/ 1814456 w 6386648"/>
                <a:gd name="connsiteY289" fmla="*/ 1392808 h 1849426"/>
                <a:gd name="connsiteX290" fmla="*/ 967309 w 6386648"/>
                <a:gd name="connsiteY290" fmla="*/ 1386800 h 1849426"/>
                <a:gd name="connsiteX291" fmla="*/ 985334 w 6386648"/>
                <a:gd name="connsiteY291" fmla="*/ 1404824 h 1849426"/>
                <a:gd name="connsiteX292" fmla="*/ 967309 w 6386648"/>
                <a:gd name="connsiteY292" fmla="*/ 1422849 h 1849426"/>
                <a:gd name="connsiteX293" fmla="*/ 949285 w 6386648"/>
                <a:gd name="connsiteY293" fmla="*/ 1404824 h 1849426"/>
                <a:gd name="connsiteX294" fmla="*/ 967309 w 6386648"/>
                <a:gd name="connsiteY294" fmla="*/ 1386800 h 1849426"/>
                <a:gd name="connsiteX295" fmla="*/ 4049482 w 6386648"/>
                <a:gd name="connsiteY295" fmla="*/ 1374784 h 1849426"/>
                <a:gd name="connsiteX296" fmla="*/ 4067507 w 6386648"/>
                <a:gd name="connsiteY296" fmla="*/ 1392808 h 1849426"/>
                <a:gd name="connsiteX297" fmla="*/ 4049482 w 6386648"/>
                <a:gd name="connsiteY297" fmla="*/ 1410833 h 1849426"/>
                <a:gd name="connsiteX298" fmla="*/ 4031458 w 6386648"/>
                <a:gd name="connsiteY298" fmla="*/ 1392808 h 1849426"/>
                <a:gd name="connsiteX299" fmla="*/ 4049482 w 6386648"/>
                <a:gd name="connsiteY299" fmla="*/ 1374784 h 1849426"/>
                <a:gd name="connsiteX300" fmla="*/ 4674329 w 6386648"/>
                <a:gd name="connsiteY300" fmla="*/ 1368775 h 1849426"/>
                <a:gd name="connsiteX301" fmla="*/ 4692354 w 6386648"/>
                <a:gd name="connsiteY301" fmla="*/ 1386800 h 1849426"/>
                <a:gd name="connsiteX302" fmla="*/ 4674329 w 6386648"/>
                <a:gd name="connsiteY302" fmla="*/ 1404824 h 1849426"/>
                <a:gd name="connsiteX303" fmla="*/ 4656305 w 6386648"/>
                <a:gd name="connsiteY303" fmla="*/ 1386800 h 1849426"/>
                <a:gd name="connsiteX304" fmla="*/ 4674329 w 6386648"/>
                <a:gd name="connsiteY304" fmla="*/ 1368775 h 1849426"/>
                <a:gd name="connsiteX305" fmla="*/ 1526067 w 6386648"/>
                <a:gd name="connsiteY305" fmla="*/ 1368775 h 1849426"/>
                <a:gd name="connsiteX306" fmla="*/ 1544091 w 6386648"/>
                <a:gd name="connsiteY306" fmla="*/ 1386800 h 1849426"/>
                <a:gd name="connsiteX307" fmla="*/ 1526067 w 6386648"/>
                <a:gd name="connsiteY307" fmla="*/ 1404824 h 1849426"/>
                <a:gd name="connsiteX308" fmla="*/ 1508042 w 6386648"/>
                <a:gd name="connsiteY308" fmla="*/ 1386800 h 1849426"/>
                <a:gd name="connsiteX309" fmla="*/ 1526067 w 6386648"/>
                <a:gd name="connsiteY309" fmla="*/ 1368775 h 1849426"/>
                <a:gd name="connsiteX310" fmla="*/ 1369854 w 6386648"/>
                <a:gd name="connsiteY310" fmla="*/ 1368775 h 1849426"/>
                <a:gd name="connsiteX311" fmla="*/ 1387879 w 6386648"/>
                <a:gd name="connsiteY311" fmla="*/ 1386800 h 1849426"/>
                <a:gd name="connsiteX312" fmla="*/ 1369854 w 6386648"/>
                <a:gd name="connsiteY312" fmla="*/ 1404824 h 1849426"/>
                <a:gd name="connsiteX313" fmla="*/ 1351830 w 6386648"/>
                <a:gd name="connsiteY313" fmla="*/ 1386800 h 1849426"/>
                <a:gd name="connsiteX314" fmla="*/ 1369854 w 6386648"/>
                <a:gd name="connsiteY314" fmla="*/ 1368775 h 1849426"/>
                <a:gd name="connsiteX315" fmla="*/ 3418628 w 6386648"/>
                <a:gd name="connsiteY315" fmla="*/ 1362767 h 1849426"/>
                <a:gd name="connsiteX316" fmla="*/ 3436653 w 6386648"/>
                <a:gd name="connsiteY316" fmla="*/ 1380791 h 1849426"/>
                <a:gd name="connsiteX317" fmla="*/ 3418628 w 6386648"/>
                <a:gd name="connsiteY317" fmla="*/ 1398816 h 1849426"/>
                <a:gd name="connsiteX318" fmla="*/ 3400604 w 6386648"/>
                <a:gd name="connsiteY318" fmla="*/ 1380791 h 1849426"/>
                <a:gd name="connsiteX319" fmla="*/ 3418628 w 6386648"/>
                <a:gd name="connsiteY319" fmla="*/ 1362767 h 1849426"/>
                <a:gd name="connsiteX320" fmla="*/ 1147553 w 6386648"/>
                <a:gd name="connsiteY320" fmla="*/ 1362767 h 1849426"/>
                <a:gd name="connsiteX321" fmla="*/ 1165578 w 6386648"/>
                <a:gd name="connsiteY321" fmla="*/ 1380791 h 1849426"/>
                <a:gd name="connsiteX322" fmla="*/ 1147553 w 6386648"/>
                <a:gd name="connsiteY322" fmla="*/ 1398816 h 1849426"/>
                <a:gd name="connsiteX323" fmla="*/ 1129529 w 6386648"/>
                <a:gd name="connsiteY323" fmla="*/ 1380791 h 1849426"/>
                <a:gd name="connsiteX324" fmla="*/ 1147553 w 6386648"/>
                <a:gd name="connsiteY324" fmla="*/ 1362767 h 1849426"/>
                <a:gd name="connsiteX325" fmla="*/ 3646937 w 6386648"/>
                <a:gd name="connsiteY325" fmla="*/ 1356759 h 1849426"/>
                <a:gd name="connsiteX326" fmla="*/ 3664962 w 6386648"/>
                <a:gd name="connsiteY326" fmla="*/ 1374783 h 1849426"/>
                <a:gd name="connsiteX327" fmla="*/ 3646937 w 6386648"/>
                <a:gd name="connsiteY327" fmla="*/ 1392808 h 1849426"/>
                <a:gd name="connsiteX328" fmla="*/ 3628912 w 6386648"/>
                <a:gd name="connsiteY328" fmla="*/ 1374783 h 1849426"/>
                <a:gd name="connsiteX329" fmla="*/ 3646937 w 6386648"/>
                <a:gd name="connsiteY329" fmla="*/ 1356759 h 1849426"/>
                <a:gd name="connsiteX330" fmla="*/ 1946636 w 6386648"/>
                <a:gd name="connsiteY330" fmla="*/ 1356759 h 1849426"/>
                <a:gd name="connsiteX331" fmla="*/ 1964660 w 6386648"/>
                <a:gd name="connsiteY331" fmla="*/ 1374783 h 1849426"/>
                <a:gd name="connsiteX332" fmla="*/ 1946636 w 6386648"/>
                <a:gd name="connsiteY332" fmla="*/ 1392808 h 1849426"/>
                <a:gd name="connsiteX333" fmla="*/ 1928611 w 6386648"/>
                <a:gd name="connsiteY333" fmla="*/ 1374783 h 1849426"/>
                <a:gd name="connsiteX334" fmla="*/ 1946636 w 6386648"/>
                <a:gd name="connsiteY334" fmla="*/ 1356759 h 1849426"/>
                <a:gd name="connsiteX335" fmla="*/ 1658245 w 6386648"/>
                <a:gd name="connsiteY335" fmla="*/ 1350751 h 1849426"/>
                <a:gd name="connsiteX336" fmla="*/ 1676270 w 6386648"/>
                <a:gd name="connsiteY336" fmla="*/ 1368775 h 1849426"/>
                <a:gd name="connsiteX337" fmla="*/ 1658245 w 6386648"/>
                <a:gd name="connsiteY337" fmla="*/ 1386800 h 1849426"/>
                <a:gd name="connsiteX338" fmla="*/ 1640221 w 6386648"/>
                <a:gd name="connsiteY338" fmla="*/ 1368775 h 1849426"/>
                <a:gd name="connsiteX339" fmla="*/ 1658245 w 6386648"/>
                <a:gd name="connsiteY339" fmla="*/ 1350751 h 1849426"/>
                <a:gd name="connsiteX340" fmla="*/ 3929320 w 6386648"/>
                <a:gd name="connsiteY340" fmla="*/ 1344743 h 1849426"/>
                <a:gd name="connsiteX341" fmla="*/ 3947345 w 6386648"/>
                <a:gd name="connsiteY341" fmla="*/ 1362767 h 1849426"/>
                <a:gd name="connsiteX342" fmla="*/ 3929320 w 6386648"/>
                <a:gd name="connsiteY342" fmla="*/ 1380792 h 1849426"/>
                <a:gd name="connsiteX343" fmla="*/ 3911296 w 6386648"/>
                <a:gd name="connsiteY343" fmla="*/ 1362767 h 1849426"/>
                <a:gd name="connsiteX344" fmla="*/ 3929320 w 6386648"/>
                <a:gd name="connsiteY344" fmla="*/ 1344743 h 1849426"/>
                <a:gd name="connsiteX345" fmla="*/ 3088181 w 6386648"/>
                <a:gd name="connsiteY345" fmla="*/ 1344743 h 1849426"/>
                <a:gd name="connsiteX346" fmla="*/ 3106206 w 6386648"/>
                <a:gd name="connsiteY346" fmla="*/ 1362767 h 1849426"/>
                <a:gd name="connsiteX347" fmla="*/ 3088181 w 6386648"/>
                <a:gd name="connsiteY347" fmla="*/ 1380792 h 1849426"/>
                <a:gd name="connsiteX348" fmla="*/ 3070157 w 6386648"/>
                <a:gd name="connsiteY348" fmla="*/ 1362767 h 1849426"/>
                <a:gd name="connsiteX349" fmla="*/ 3088181 w 6386648"/>
                <a:gd name="connsiteY349" fmla="*/ 1344743 h 1849426"/>
                <a:gd name="connsiteX350" fmla="*/ 853154 w 6386648"/>
                <a:gd name="connsiteY350" fmla="*/ 1344743 h 1849426"/>
                <a:gd name="connsiteX351" fmla="*/ 871179 w 6386648"/>
                <a:gd name="connsiteY351" fmla="*/ 1362767 h 1849426"/>
                <a:gd name="connsiteX352" fmla="*/ 853154 w 6386648"/>
                <a:gd name="connsiteY352" fmla="*/ 1380792 h 1849426"/>
                <a:gd name="connsiteX353" fmla="*/ 835130 w 6386648"/>
                <a:gd name="connsiteY353" fmla="*/ 1362767 h 1849426"/>
                <a:gd name="connsiteX354" fmla="*/ 853154 w 6386648"/>
                <a:gd name="connsiteY354" fmla="*/ 1344743 h 1849426"/>
                <a:gd name="connsiteX355" fmla="*/ 4283800 w 6386648"/>
                <a:gd name="connsiteY355" fmla="*/ 1326718 h 1849426"/>
                <a:gd name="connsiteX356" fmla="*/ 4301825 w 6386648"/>
                <a:gd name="connsiteY356" fmla="*/ 1344742 h 1849426"/>
                <a:gd name="connsiteX357" fmla="*/ 4283800 w 6386648"/>
                <a:gd name="connsiteY357" fmla="*/ 1362767 h 1849426"/>
                <a:gd name="connsiteX358" fmla="*/ 4265776 w 6386648"/>
                <a:gd name="connsiteY358" fmla="*/ 1344742 h 1849426"/>
                <a:gd name="connsiteX359" fmla="*/ 4283800 w 6386648"/>
                <a:gd name="connsiteY359" fmla="*/ 1326718 h 1849426"/>
                <a:gd name="connsiteX360" fmla="*/ 3815165 w 6386648"/>
                <a:gd name="connsiteY360" fmla="*/ 1326718 h 1849426"/>
                <a:gd name="connsiteX361" fmla="*/ 3833190 w 6386648"/>
                <a:gd name="connsiteY361" fmla="*/ 1344742 h 1849426"/>
                <a:gd name="connsiteX362" fmla="*/ 3815165 w 6386648"/>
                <a:gd name="connsiteY362" fmla="*/ 1362767 h 1849426"/>
                <a:gd name="connsiteX363" fmla="*/ 3797141 w 6386648"/>
                <a:gd name="connsiteY363" fmla="*/ 1344742 h 1849426"/>
                <a:gd name="connsiteX364" fmla="*/ 3815165 w 6386648"/>
                <a:gd name="connsiteY364" fmla="*/ 1326718 h 1849426"/>
                <a:gd name="connsiteX365" fmla="*/ 2980034 w 6386648"/>
                <a:gd name="connsiteY365" fmla="*/ 1326718 h 1849426"/>
                <a:gd name="connsiteX366" fmla="*/ 2998059 w 6386648"/>
                <a:gd name="connsiteY366" fmla="*/ 1344742 h 1849426"/>
                <a:gd name="connsiteX367" fmla="*/ 2980034 w 6386648"/>
                <a:gd name="connsiteY367" fmla="*/ 1362767 h 1849426"/>
                <a:gd name="connsiteX368" fmla="*/ 2962010 w 6386648"/>
                <a:gd name="connsiteY368" fmla="*/ 1344742 h 1849426"/>
                <a:gd name="connsiteX369" fmla="*/ 2980034 w 6386648"/>
                <a:gd name="connsiteY369" fmla="*/ 1326718 h 1849426"/>
                <a:gd name="connsiteX370" fmla="*/ 594806 w 6386648"/>
                <a:gd name="connsiteY370" fmla="*/ 1326718 h 1849426"/>
                <a:gd name="connsiteX371" fmla="*/ 612830 w 6386648"/>
                <a:gd name="connsiteY371" fmla="*/ 1344742 h 1849426"/>
                <a:gd name="connsiteX372" fmla="*/ 594806 w 6386648"/>
                <a:gd name="connsiteY372" fmla="*/ 1362767 h 1849426"/>
                <a:gd name="connsiteX373" fmla="*/ 576781 w 6386648"/>
                <a:gd name="connsiteY373" fmla="*/ 1344742 h 1849426"/>
                <a:gd name="connsiteX374" fmla="*/ 594806 w 6386648"/>
                <a:gd name="connsiteY374" fmla="*/ 1326718 h 1849426"/>
                <a:gd name="connsiteX375" fmla="*/ 4836548 w 6386648"/>
                <a:gd name="connsiteY375" fmla="*/ 1314702 h 1849426"/>
                <a:gd name="connsiteX376" fmla="*/ 4854573 w 6386648"/>
                <a:gd name="connsiteY376" fmla="*/ 1332726 h 1849426"/>
                <a:gd name="connsiteX377" fmla="*/ 4836548 w 6386648"/>
                <a:gd name="connsiteY377" fmla="*/ 1350751 h 1849426"/>
                <a:gd name="connsiteX378" fmla="*/ 4818524 w 6386648"/>
                <a:gd name="connsiteY378" fmla="*/ 1332726 h 1849426"/>
                <a:gd name="connsiteX379" fmla="*/ 4836548 w 6386648"/>
                <a:gd name="connsiteY379" fmla="*/ 1314702 h 1849426"/>
                <a:gd name="connsiteX380" fmla="*/ 4980743 w 6386648"/>
                <a:gd name="connsiteY380" fmla="*/ 1308694 h 1849426"/>
                <a:gd name="connsiteX381" fmla="*/ 4998768 w 6386648"/>
                <a:gd name="connsiteY381" fmla="*/ 1326719 h 1849426"/>
                <a:gd name="connsiteX382" fmla="*/ 4980743 w 6386648"/>
                <a:gd name="connsiteY382" fmla="*/ 1344743 h 1849426"/>
                <a:gd name="connsiteX383" fmla="*/ 4962719 w 6386648"/>
                <a:gd name="connsiteY383" fmla="*/ 1326719 h 1849426"/>
                <a:gd name="connsiteX384" fmla="*/ 4980743 w 6386648"/>
                <a:gd name="connsiteY384" fmla="*/ 1308694 h 1849426"/>
                <a:gd name="connsiteX385" fmla="*/ 2871888 w 6386648"/>
                <a:gd name="connsiteY385" fmla="*/ 1302686 h 1849426"/>
                <a:gd name="connsiteX386" fmla="*/ 2889913 w 6386648"/>
                <a:gd name="connsiteY386" fmla="*/ 1320710 h 1849426"/>
                <a:gd name="connsiteX387" fmla="*/ 2871888 w 6386648"/>
                <a:gd name="connsiteY387" fmla="*/ 1338735 h 1849426"/>
                <a:gd name="connsiteX388" fmla="*/ 2853864 w 6386648"/>
                <a:gd name="connsiteY388" fmla="*/ 1320710 h 1849426"/>
                <a:gd name="connsiteX389" fmla="*/ 2871888 w 6386648"/>
                <a:gd name="connsiteY389" fmla="*/ 1302686 h 1849426"/>
                <a:gd name="connsiteX390" fmla="*/ 2102847 w 6386648"/>
                <a:gd name="connsiteY390" fmla="*/ 1302686 h 1849426"/>
                <a:gd name="connsiteX391" fmla="*/ 2120872 w 6386648"/>
                <a:gd name="connsiteY391" fmla="*/ 1320710 h 1849426"/>
                <a:gd name="connsiteX392" fmla="*/ 2102847 w 6386648"/>
                <a:gd name="connsiteY392" fmla="*/ 1338735 h 1849426"/>
                <a:gd name="connsiteX393" fmla="*/ 2084823 w 6386648"/>
                <a:gd name="connsiteY393" fmla="*/ 1320710 h 1849426"/>
                <a:gd name="connsiteX394" fmla="*/ 2102847 w 6386648"/>
                <a:gd name="connsiteY394" fmla="*/ 1302686 h 1849426"/>
                <a:gd name="connsiteX395" fmla="*/ 1273724 w 6386648"/>
                <a:gd name="connsiteY395" fmla="*/ 1302686 h 1849426"/>
                <a:gd name="connsiteX396" fmla="*/ 1291749 w 6386648"/>
                <a:gd name="connsiteY396" fmla="*/ 1320710 h 1849426"/>
                <a:gd name="connsiteX397" fmla="*/ 1273724 w 6386648"/>
                <a:gd name="connsiteY397" fmla="*/ 1338735 h 1849426"/>
                <a:gd name="connsiteX398" fmla="*/ 1255700 w 6386648"/>
                <a:gd name="connsiteY398" fmla="*/ 1320710 h 1849426"/>
                <a:gd name="connsiteX399" fmla="*/ 1273724 w 6386648"/>
                <a:gd name="connsiteY399" fmla="*/ 1302686 h 1849426"/>
                <a:gd name="connsiteX400" fmla="*/ 1033398 w 6386648"/>
                <a:gd name="connsiteY400" fmla="*/ 1302686 h 1849426"/>
                <a:gd name="connsiteX401" fmla="*/ 1051423 w 6386648"/>
                <a:gd name="connsiteY401" fmla="*/ 1320710 h 1849426"/>
                <a:gd name="connsiteX402" fmla="*/ 1033398 w 6386648"/>
                <a:gd name="connsiteY402" fmla="*/ 1338735 h 1849426"/>
                <a:gd name="connsiteX403" fmla="*/ 1015374 w 6386648"/>
                <a:gd name="connsiteY403" fmla="*/ 1320710 h 1849426"/>
                <a:gd name="connsiteX404" fmla="*/ 1033398 w 6386648"/>
                <a:gd name="connsiteY404" fmla="*/ 1302686 h 1849426"/>
                <a:gd name="connsiteX405" fmla="*/ 4548158 w 6386648"/>
                <a:gd name="connsiteY405" fmla="*/ 1296678 h 1849426"/>
                <a:gd name="connsiteX406" fmla="*/ 4566183 w 6386648"/>
                <a:gd name="connsiteY406" fmla="*/ 1314702 h 1849426"/>
                <a:gd name="connsiteX407" fmla="*/ 4548158 w 6386648"/>
                <a:gd name="connsiteY407" fmla="*/ 1332727 h 1849426"/>
                <a:gd name="connsiteX408" fmla="*/ 4530133 w 6386648"/>
                <a:gd name="connsiteY408" fmla="*/ 1314702 h 1849426"/>
                <a:gd name="connsiteX409" fmla="*/ 4548158 w 6386648"/>
                <a:gd name="connsiteY409" fmla="*/ 1296678 h 1849426"/>
                <a:gd name="connsiteX410" fmla="*/ 3520767 w 6386648"/>
                <a:gd name="connsiteY410" fmla="*/ 1290670 h 1849426"/>
                <a:gd name="connsiteX411" fmla="*/ 3538792 w 6386648"/>
                <a:gd name="connsiteY411" fmla="*/ 1308694 h 1849426"/>
                <a:gd name="connsiteX412" fmla="*/ 3520767 w 6386648"/>
                <a:gd name="connsiteY412" fmla="*/ 1326719 h 1849426"/>
                <a:gd name="connsiteX413" fmla="*/ 3502743 w 6386648"/>
                <a:gd name="connsiteY413" fmla="*/ 1308694 h 1849426"/>
                <a:gd name="connsiteX414" fmla="*/ 3520767 w 6386648"/>
                <a:gd name="connsiteY414" fmla="*/ 1290670 h 1849426"/>
                <a:gd name="connsiteX415" fmla="*/ 3244392 w 6386648"/>
                <a:gd name="connsiteY415" fmla="*/ 1290670 h 1849426"/>
                <a:gd name="connsiteX416" fmla="*/ 3262417 w 6386648"/>
                <a:gd name="connsiteY416" fmla="*/ 1308694 h 1849426"/>
                <a:gd name="connsiteX417" fmla="*/ 3244392 w 6386648"/>
                <a:gd name="connsiteY417" fmla="*/ 1326719 h 1849426"/>
                <a:gd name="connsiteX418" fmla="*/ 3226368 w 6386648"/>
                <a:gd name="connsiteY418" fmla="*/ 1308694 h 1849426"/>
                <a:gd name="connsiteX419" fmla="*/ 3244392 w 6386648"/>
                <a:gd name="connsiteY419" fmla="*/ 1290670 h 1849426"/>
                <a:gd name="connsiteX420" fmla="*/ 757024 w 6386648"/>
                <a:gd name="connsiteY420" fmla="*/ 1290670 h 1849426"/>
                <a:gd name="connsiteX421" fmla="*/ 775049 w 6386648"/>
                <a:gd name="connsiteY421" fmla="*/ 1308694 h 1849426"/>
                <a:gd name="connsiteX422" fmla="*/ 757024 w 6386648"/>
                <a:gd name="connsiteY422" fmla="*/ 1326719 h 1849426"/>
                <a:gd name="connsiteX423" fmla="*/ 739000 w 6386648"/>
                <a:gd name="connsiteY423" fmla="*/ 1308694 h 1849426"/>
                <a:gd name="connsiteX424" fmla="*/ 757024 w 6386648"/>
                <a:gd name="connsiteY424" fmla="*/ 1290670 h 1849426"/>
                <a:gd name="connsiteX425" fmla="*/ 4427995 w 6386648"/>
                <a:gd name="connsiteY425" fmla="*/ 1284661 h 1849426"/>
                <a:gd name="connsiteX426" fmla="*/ 4446020 w 6386648"/>
                <a:gd name="connsiteY426" fmla="*/ 1302685 h 1849426"/>
                <a:gd name="connsiteX427" fmla="*/ 4427995 w 6386648"/>
                <a:gd name="connsiteY427" fmla="*/ 1320710 h 1849426"/>
                <a:gd name="connsiteX428" fmla="*/ 4409970 w 6386648"/>
                <a:gd name="connsiteY428" fmla="*/ 1302685 h 1849426"/>
                <a:gd name="connsiteX429" fmla="*/ 4427995 w 6386648"/>
                <a:gd name="connsiteY429" fmla="*/ 1284661 h 1849426"/>
                <a:gd name="connsiteX430" fmla="*/ 2763741 w 6386648"/>
                <a:gd name="connsiteY430" fmla="*/ 1278653 h 1849426"/>
                <a:gd name="connsiteX431" fmla="*/ 2781766 w 6386648"/>
                <a:gd name="connsiteY431" fmla="*/ 1296678 h 1849426"/>
                <a:gd name="connsiteX432" fmla="*/ 2763741 w 6386648"/>
                <a:gd name="connsiteY432" fmla="*/ 1314702 h 1849426"/>
                <a:gd name="connsiteX433" fmla="*/ 2745717 w 6386648"/>
                <a:gd name="connsiteY433" fmla="*/ 1296678 h 1849426"/>
                <a:gd name="connsiteX434" fmla="*/ 2763741 w 6386648"/>
                <a:gd name="connsiteY434" fmla="*/ 1278653 h 1849426"/>
                <a:gd name="connsiteX435" fmla="*/ 2217002 w 6386648"/>
                <a:gd name="connsiteY435" fmla="*/ 1272645 h 1849426"/>
                <a:gd name="connsiteX436" fmla="*/ 2235026 w 6386648"/>
                <a:gd name="connsiteY436" fmla="*/ 1290669 h 1849426"/>
                <a:gd name="connsiteX437" fmla="*/ 2217002 w 6386648"/>
                <a:gd name="connsiteY437" fmla="*/ 1308694 h 1849426"/>
                <a:gd name="connsiteX438" fmla="*/ 2198977 w 6386648"/>
                <a:gd name="connsiteY438" fmla="*/ 1290669 h 1849426"/>
                <a:gd name="connsiteX439" fmla="*/ 2217002 w 6386648"/>
                <a:gd name="connsiteY439" fmla="*/ 1272645 h 1849426"/>
                <a:gd name="connsiteX440" fmla="*/ 1874537 w 6386648"/>
                <a:gd name="connsiteY440" fmla="*/ 1272645 h 1849426"/>
                <a:gd name="connsiteX441" fmla="*/ 1892562 w 6386648"/>
                <a:gd name="connsiteY441" fmla="*/ 1290669 h 1849426"/>
                <a:gd name="connsiteX442" fmla="*/ 1874537 w 6386648"/>
                <a:gd name="connsiteY442" fmla="*/ 1308694 h 1849426"/>
                <a:gd name="connsiteX443" fmla="*/ 1856513 w 6386648"/>
                <a:gd name="connsiteY443" fmla="*/ 1290669 h 1849426"/>
                <a:gd name="connsiteX444" fmla="*/ 1874537 w 6386648"/>
                <a:gd name="connsiteY444" fmla="*/ 1272645 h 1849426"/>
                <a:gd name="connsiteX445" fmla="*/ 3376571 w 6386648"/>
                <a:gd name="connsiteY445" fmla="*/ 1266637 h 1849426"/>
                <a:gd name="connsiteX446" fmla="*/ 3394596 w 6386648"/>
                <a:gd name="connsiteY446" fmla="*/ 1284661 h 1849426"/>
                <a:gd name="connsiteX447" fmla="*/ 3376571 w 6386648"/>
                <a:gd name="connsiteY447" fmla="*/ 1302686 h 1849426"/>
                <a:gd name="connsiteX448" fmla="*/ 3358546 w 6386648"/>
                <a:gd name="connsiteY448" fmla="*/ 1284661 h 1849426"/>
                <a:gd name="connsiteX449" fmla="*/ 3376571 w 6386648"/>
                <a:gd name="connsiteY449" fmla="*/ 1266637 h 1849426"/>
                <a:gd name="connsiteX450" fmla="*/ 2643579 w 6386648"/>
                <a:gd name="connsiteY450" fmla="*/ 1266637 h 1849426"/>
                <a:gd name="connsiteX451" fmla="*/ 2661604 w 6386648"/>
                <a:gd name="connsiteY451" fmla="*/ 1284661 h 1849426"/>
                <a:gd name="connsiteX452" fmla="*/ 2643579 w 6386648"/>
                <a:gd name="connsiteY452" fmla="*/ 1302686 h 1849426"/>
                <a:gd name="connsiteX453" fmla="*/ 2625555 w 6386648"/>
                <a:gd name="connsiteY453" fmla="*/ 1284661 h 1849426"/>
                <a:gd name="connsiteX454" fmla="*/ 2643579 w 6386648"/>
                <a:gd name="connsiteY454" fmla="*/ 1266637 h 1849426"/>
                <a:gd name="connsiteX455" fmla="*/ 1754375 w 6386648"/>
                <a:gd name="connsiteY455" fmla="*/ 1266637 h 1849426"/>
                <a:gd name="connsiteX456" fmla="*/ 1772400 w 6386648"/>
                <a:gd name="connsiteY456" fmla="*/ 1284661 h 1849426"/>
                <a:gd name="connsiteX457" fmla="*/ 1754375 w 6386648"/>
                <a:gd name="connsiteY457" fmla="*/ 1302686 h 1849426"/>
                <a:gd name="connsiteX458" fmla="*/ 1736351 w 6386648"/>
                <a:gd name="connsiteY458" fmla="*/ 1284661 h 1849426"/>
                <a:gd name="connsiteX459" fmla="*/ 1754375 w 6386648"/>
                <a:gd name="connsiteY459" fmla="*/ 1266637 h 1849426"/>
                <a:gd name="connsiteX460" fmla="*/ 4740418 w 6386648"/>
                <a:gd name="connsiteY460" fmla="*/ 1260629 h 1849426"/>
                <a:gd name="connsiteX461" fmla="*/ 4758443 w 6386648"/>
                <a:gd name="connsiteY461" fmla="*/ 1278653 h 1849426"/>
                <a:gd name="connsiteX462" fmla="*/ 4740418 w 6386648"/>
                <a:gd name="connsiteY462" fmla="*/ 1296678 h 1849426"/>
                <a:gd name="connsiteX463" fmla="*/ 4722394 w 6386648"/>
                <a:gd name="connsiteY463" fmla="*/ 1278653 h 1849426"/>
                <a:gd name="connsiteX464" fmla="*/ 4740418 w 6386648"/>
                <a:gd name="connsiteY464" fmla="*/ 1260629 h 1849426"/>
                <a:gd name="connsiteX465" fmla="*/ 4103556 w 6386648"/>
                <a:gd name="connsiteY465" fmla="*/ 1260629 h 1849426"/>
                <a:gd name="connsiteX466" fmla="*/ 4121581 w 6386648"/>
                <a:gd name="connsiteY466" fmla="*/ 1278653 h 1849426"/>
                <a:gd name="connsiteX467" fmla="*/ 4103556 w 6386648"/>
                <a:gd name="connsiteY467" fmla="*/ 1296678 h 1849426"/>
                <a:gd name="connsiteX468" fmla="*/ 4085532 w 6386648"/>
                <a:gd name="connsiteY468" fmla="*/ 1278653 h 1849426"/>
                <a:gd name="connsiteX469" fmla="*/ 4103556 w 6386648"/>
                <a:gd name="connsiteY469" fmla="*/ 1260629 h 1849426"/>
                <a:gd name="connsiteX470" fmla="*/ 3725043 w 6386648"/>
                <a:gd name="connsiteY470" fmla="*/ 1260629 h 1849426"/>
                <a:gd name="connsiteX471" fmla="*/ 3743068 w 6386648"/>
                <a:gd name="connsiteY471" fmla="*/ 1278653 h 1849426"/>
                <a:gd name="connsiteX472" fmla="*/ 3725043 w 6386648"/>
                <a:gd name="connsiteY472" fmla="*/ 1296678 h 1849426"/>
                <a:gd name="connsiteX473" fmla="*/ 3707019 w 6386648"/>
                <a:gd name="connsiteY473" fmla="*/ 1278653 h 1849426"/>
                <a:gd name="connsiteX474" fmla="*/ 3725043 w 6386648"/>
                <a:gd name="connsiteY474" fmla="*/ 1260629 h 1849426"/>
                <a:gd name="connsiteX475" fmla="*/ 1405904 w 6386648"/>
                <a:gd name="connsiteY475" fmla="*/ 1260629 h 1849426"/>
                <a:gd name="connsiteX476" fmla="*/ 1423928 w 6386648"/>
                <a:gd name="connsiteY476" fmla="*/ 1278653 h 1849426"/>
                <a:gd name="connsiteX477" fmla="*/ 1405904 w 6386648"/>
                <a:gd name="connsiteY477" fmla="*/ 1296678 h 1849426"/>
                <a:gd name="connsiteX478" fmla="*/ 1387879 w 6386648"/>
                <a:gd name="connsiteY478" fmla="*/ 1278653 h 1849426"/>
                <a:gd name="connsiteX479" fmla="*/ 1405904 w 6386648"/>
                <a:gd name="connsiteY479" fmla="*/ 1260629 h 1849426"/>
                <a:gd name="connsiteX480" fmla="*/ 492666 w 6386648"/>
                <a:gd name="connsiteY480" fmla="*/ 1260629 h 1849426"/>
                <a:gd name="connsiteX481" fmla="*/ 510691 w 6386648"/>
                <a:gd name="connsiteY481" fmla="*/ 1278653 h 1849426"/>
                <a:gd name="connsiteX482" fmla="*/ 492666 w 6386648"/>
                <a:gd name="connsiteY482" fmla="*/ 1296678 h 1849426"/>
                <a:gd name="connsiteX483" fmla="*/ 474642 w 6386648"/>
                <a:gd name="connsiteY483" fmla="*/ 1278653 h 1849426"/>
                <a:gd name="connsiteX484" fmla="*/ 492666 w 6386648"/>
                <a:gd name="connsiteY484" fmla="*/ 1260629 h 1849426"/>
                <a:gd name="connsiteX485" fmla="*/ 4229726 w 6386648"/>
                <a:gd name="connsiteY485" fmla="*/ 1248613 h 1849426"/>
                <a:gd name="connsiteX486" fmla="*/ 4247751 w 6386648"/>
                <a:gd name="connsiteY486" fmla="*/ 1266638 h 1849426"/>
                <a:gd name="connsiteX487" fmla="*/ 4229726 w 6386648"/>
                <a:gd name="connsiteY487" fmla="*/ 1284662 h 1849426"/>
                <a:gd name="connsiteX488" fmla="*/ 4211702 w 6386648"/>
                <a:gd name="connsiteY488" fmla="*/ 1266638 h 1849426"/>
                <a:gd name="connsiteX489" fmla="*/ 4229726 w 6386648"/>
                <a:gd name="connsiteY489" fmla="*/ 1248613 h 1849426"/>
                <a:gd name="connsiteX490" fmla="*/ 2439302 w 6386648"/>
                <a:gd name="connsiteY490" fmla="*/ 1248613 h 1849426"/>
                <a:gd name="connsiteX491" fmla="*/ 2457327 w 6386648"/>
                <a:gd name="connsiteY491" fmla="*/ 1266638 h 1849426"/>
                <a:gd name="connsiteX492" fmla="*/ 2439302 w 6386648"/>
                <a:gd name="connsiteY492" fmla="*/ 1284662 h 1849426"/>
                <a:gd name="connsiteX493" fmla="*/ 2421278 w 6386648"/>
                <a:gd name="connsiteY493" fmla="*/ 1266638 h 1849426"/>
                <a:gd name="connsiteX494" fmla="*/ 2439302 w 6386648"/>
                <a:gd name="connsiteY494" fmla="*/ 1248613 h 1849426"/>
                <a:gd name="connsiteX495" fmla="*/ 2337165 w 6386648"/>
                <a:gd name="connsiteY495" fmla="*/ 1248613 h 1849426"/>
                <a:gd name="connsiteX496" fmla="*/ 2355189 w 6386648"/>
                <a:gd name="connsiteY496" fmla="*/ 1266638 h 1849426"/>
                <a:gd name="connsiteX497" fmla="*/ 2337165 w 6386648"/>
                <a:gd name="connsiteY497" fmla="*/ 1284662 h 1849426"/>
                <a:gd name="connsiteX498" fmla="*/ 2319140 w 6386648"/>
                <a:gd name="connsiteY498" fmla="*/ 1266638 h 1849426"/>
                <a:gd name="connsiteX499" fmla="*/ 2337165 w 6386648"/>
                <a:gd name="connsiteY499" fmla="*/ 1248613 h 1849426"/>
                <a:gd name="connsiteX500" fmla="*/ 2012725 w 6386648"/>
                <a:gd name="connsiteY500" fmla="*/ 1248613 h 1849426"/>
                <a:gd name="connsiteX501" fmla="*/ 2030750 w 6386648"/>
                <a:gd name="connsiteY501" fmla="*/ 1266638 h 1849426"/>
                <a:gd name="connsiteX502" fmla="*/ 2012725 w 6386648"/>
                <a:gd name="connsiteY502" fmla="*/ 1284662 h 1849426"/>
                <a:gd name="connsiteX503" fmla="*/ 1994701 w 6386648"/>
                <a:gd name="connsiteY503" fmla="*/ 1266638 h 1849426"/>
                <a:gd name="connsiteX504" fmla="*/ 2012725 w 6386648"/>
                <a:gd name="connsiteY504" fmla="*/ 1248613 h 1849426"/>
                <a:gd name="connsiteX505" fmla="*/ 1165578 w 6386648"/>
                <a:gd name="connsiteY505" fmla="*/ 1248613 h 1849426"/>
                <a:gd name="connsiteX506" fmla="*/ 1183602 w 6386648"/>
                <a:gd name="connsiteY506" fmla="*/ 1266638 h 1849426"/>
                <a:gd name="connsiteX507" fmla="*/ 1165578 w 6386648"/>
                <a:gd name="connsiteY507" fmla="*/ 1284662 h 1849426"/>
                <a:gd name="connsiteX508" fmla="*/ 1147553 w 6386648"/>
                <a:gd name="connsiteY508" fmla="*/ 1266638 h 1849426"/>
                <a:gd name="connsiteX509" fmla="*/ 1165578 w 6386648"/>
                <a:gd name="connsiteY509" fmla="*/ 1248613 h 1849426"/>
                <a:gd name="connsiteX510" fmla="*/ 3989401 w 6386648"/>
                <a:gd name="connsiteY510" fmla="*/ 1242605 h 1849426"/>
                <a:gd name="connsiteX511" fmla="*/ 4007426 w 6386648"/>
                <a:gd name="connsiteY511" fmla="*/ 1260629 h 1849426"/>
                <a:gd name="connsiteX512" fmla="*/ 3989401 w 6386648"/>
                <a:gd name="connsiteY512" fmla="*/ 1278654 h 1849426"/>
                <a:gd name="connsiteX513" fmla="*/ 3971377 w 6386648"/>
                <a:gd name="connsiteY513" fmla="*/ 1260629 h 1849426"/>
                <a:gd name="connsiteX514" fmla="*/ 3989401 w 6386648"/>
                <a:gd name="connsiteY514" fmla="*/ 1242605 h 1849426"/>
                <a:gd name="connsiteX515" fmla="*/ 1514049 w 6386648"/>
                <a:gd name="connsiteY515" fmla="*/ 1242605 h 1849426"/>
                <a:gd name="connsiteX516" fmla="*/ 1532074 w 6386648"/>
                <a:gd name="connsiteY516" fmla="*/ 1260629 h 1849426"/>
                <a:gd name="connsiteX517" fmla="*/ 1514049 w 6386648"/>
                <a:gd name="connsiteY517" fmla="*/ 1278654 h 1849426"/>
                <a:gd name="connsiteX518" fmla="*/ 1496025 w 6386648"/>
                <a:gd name="connsiteY518" fmla="*/ 1260629 h 1849426"/>
                <a:gd name="connsiteX519" fmla="*/ 1514049 w 6386648"/>
                <a:gd name="connsiteY519" fmla="*/ 1242605 h 1849426"/>
                <a:gd name="connsiteX520" fmla="*/ 3088181 w 6386648"/>
                <a:gd name="connsiteY520" fmla="*/ 1230588 h 1849426"/>
                <a:gd name="connsiteX521" fmla="*/ 3106206 w 6386648"/>
                <a:gd name="connsiteY521" fmla="*/ 1248612 h 1849426"/>
                <a:gd name="connsiteX522" fmla="*/ 3088181 w 6386648"/>
                <a:gd name="connsiteY522" fmla="*/ 1266637 h 1849426"/>
                <a:gd name="connsiteX523" fmla="*/ 3070157 w 6386648"/>
                <a:gd name="connsiteY523" fmla="*/ 1248612 h 1849426"/>
                <a:gd name="connsiteX524" fmla="*/ 3088181 w 6386648"/>
                <a:gd name="connsiteY524" fmla="*/ 1230588 h 1849426"/>
                <a:gd name="connsiteX525" fmla="*/ 895212 w 6386648"/>
                <a:gd name="connsiteY525" fmla="*/ 1230588 h 1849426"/>
                <a:gd name="connsiteX526" fmla="*/ 913236 w 6386648"/>
                <a:gd name="connsiteY526" fmla="*/ 1248612 h 1849426"/>
                <a:gd name="connsiteX527" fmla="*/ 895212 w 6386648"/>
                <a:gd name="connsiteY527" fmla="*/ 1266637 h 1849426"/>
                <a:gd name="connsiteX528" fmla="*/ 877187 w 6386648"/>
                <a:gd name="connsiteY528" fmla="*/ 1248612 h 1849426"/>
                <a:gd name="connsiteX529" fmla="*/ 895212 w 6386648"/>
                <a:gd name="connsiteY529" fmla="*/ 1230588 h 1849426"/>
                <a:gd name="connsiteX530" fmla="*/ 4626263 w 6386648"/>
                <a:gd name="connsiteY530" fmla="*/ 1224580 h 1849426"/>
                <a:gd name="connsiteX531" fmla="*/ 4644288 w 6386648"/>
                <a:gd name="connsiteY531" fmla="*/ 1242604 h 1849426"/>
                <a:gd name="connsiteX532" fmla="*/ 4626263 w 6386648"/>
                <a:gd name="connsiteY532" fmla="*/ 1260629 h 1849426"/>
                <a:gd name="connsiteX533" fmla="*/ 4608239 w 6386648"/>
                <a:gd name="connsiteY533" fmla="*/ 1242604 h 1849426"/>
                <a:gd name="connsiteX534" fmla="*/ 4626263 w 6386648"/>
                <a:gd name="connsiteY534" fmla="*/ 1224580 h 1849426"/>
                <a:gd name="connsiteX535" fmla="*/ 2547449 w 6386648"/>
                <a:gd name="connsiteY535" fmla="*/ 1224580 h 1849426"/>
                <a:gd name="connsiteX536" fmla="*/ 2565474 w 6386648"/>
                <a:gd name="connsiteY536" fmla="*/ 1242604 h 1849426"/>
                <a:gd name="connsiteX537" fmla="*/ 2547449 w 6386648"/>
                <a:gd name="connsiteY537" fmla="*/ 1260629 h 1849426"/>
                <a:gd name="connsiteX538" fmla="*/ 2529425 w 6386648"/>
                <a:gd name="connsiteY538" fmla="*/ 1242604 h 1849426"/>
                <a:gd name="connsiteX539" fmla="*/ 2547449 w 6386648"/>
                <a:gd name="connsiteY539" fmla="*/ 1224580 h 1849426"/>
                <a:gd name="connsiteX540" fmla="*/ 1628204 w 6386648"/>
                <a:gd name="connsiteY540" fmla="*/ 1224580 h 1849426"/>
                <a:gd name="connsiteX541" fmla="*/ 1646229 w 6386648"/>
                <a:gd name="connsiteY541" fmla="*/ 1242604 h 1849426"/>
                <a:gd name="connsiteX542" fmla="*/ 1628204 w 6386648"/>
                <a:gd name="connsiteY542" fmla="*/ 1260629 h 1849426"/>
                <a:gd name="connsiteX543" fmla="*/ 1610180 w 6386648"/>
                <a:gd name="connsiteY543" fmla="*/ 1242604 h 1849426"/>
                <a:gd name="connsiteX544" fmla="*/ 1628204 w 6386648"/>
                <a:gd name="connsiteY544" fmla="*/ 1224580 h 1849426"/>
                <a:gd name="connsiteX545" fmla="*/ 5052841 w 6386648"/>
                <a:gd name="connsiteY545" fmla="*/ 1212564 h 1849426"/>
                <a:gd name="connsiteX546" fmla="*/ 5070866 w 6386648"/>
                <a:gd name="connsiteY546" fmla="*/ 1230588 h 1849426"/>
                <a:gd name="connsiteX547" fmla="*/ 5052841 w 6386648"/>
                <a:gd name="connsiteY547" fmla="*/ 1248613 h 1849426"/>
                <a:gd name="connsiteX548" fmla="*/ 5034817 w 6386648"/>
                <a:gd name="connsiteY548" fmla="*/ 1230588 h 1849426"/>
                <a:gd name="connsiteX549" fmla="*/ 5052841 w 6386648"/>
                <a:gd name="connsiteY549" fmla="*/ 1212564 h 1849426"/>
                <a:gd name="connsiteX550" fmla="*/ 3845206 w 6386648"/>
                <a:gd name="connsiteY550" fmla="*/ 1206556 h 1849426"/>
                <a:gd name="connsiteX551" fmla="*/ 3863231 w 6386648"/>
                <a:gd name="connsiteY551" fmla="*/ 1224580 h 1849426"/>
                <a:gd name="connsiteX552" fmla="*/ 3845206 w 6386648"/>
                <a:gd name="connsiteY552" fmla="*/ 1242605 h 1849426"/>
                <a:gd name="connsiteX553" fmla="*/ 3827182 w 6386648"/>
                <a:gd name="connsiteY553" fmla="*/ 1224580 h 1849426"/>
                <a:gd name="connsiteX554" fmla="*/ 3845206 w 6386648"/>
                <a:gd name="connsiteY554" fmla="*/ 1206556 h 1849426"/>
                <a:gd name="connsiteX555" fmla="*/ 3604880 w 6386648"/>
                <a:gd name="connsiteY555" fmla="*/ 1206556 h 1849426"/>
                <a:gd name="connsiteX556" fmla="*/ 3622905 w 6386648"/>
                <a:gd name="connsiteY556" fmla="*/ 1224580 h 1849426"/>
                <a:gd name="connsiteX557" fmla="*/ 3604880 w 6386648"/>
                <a:gd name="connsiteY557" fmla="*/ 1242605 h 1849426"/>
                <a:gd name="connsiteX558" fmla="*/ 3586856 w 6386648"/>
                <a:gd name="connsiteY558" fmla="*/ 1224580 h 1849426"/>
                <a:gd name="connsiteX559" fmla="*/ 3604880 w 6386648"/>
                <a:gd name="connsiteY559" fmla="*/ 1206556 h 1849426"/>
                <a:gd name="connsiteX560" fmla="*/ 600813 w 6386648"/>
                <a:gd name="connsiteY560" fmla="*/ 1200548 h 1849426"/>
                <a:gd name="connsiteX561" fmla="*/ 618838 w 6386648"/>
                <a:gd name="connsiteY561" fmla="*/ 1218572 h 1849426"/>
                <a:gd name="connsiteX562" fmla="*/ 600813 w 6386648"/>
                <a:gd name="connsiteY562" fmla="*/ 1236597 h 1849426"/>
                <a:gd name="connsiteX563" fmla="*/ 582789 w 6386648"/>
                <a:gd name="connsiteY563" fmla="*/ 1218572 h 1849426"/>
                <a:gd name="connsiteX564" fmla="*/ 600813 w 6386648"/>
                <a:gd name="connsiteY564" fmla="*/ 1200548 h 1849426"/>
                <a:gd name="connsiteX565" fmla="*/ 2949994 w 6386648"/>
                <a:gd name="connsiteY565" fmla="*/ 1194539 h 1849426"/>
                <a:gd name="connsiteX566" fmla="*/ 2968019 w 6386648"/>
                <a:gd name="connsiteY566" fmla="*/ 1212563 h 1849426"/>
                <a:gd name="connsiteX567" fmla="*/ 2949994 w 6386648"/>
                <a:gd name="connsiteY567" fmla="*/ 1230588 h 1849426"/>
                <a:gd name="connsiteX568" fmla="*/ 2931970 w 6386648"/>
                <a:gd name="connsiteY568" fmla="*/ 1212563 h 1849426"/>
                <a:gd name="connsiteX569" fmla="*/ 2949994 w 6386648"/>
                <a:gd name="connsiteY569" fmla="*/ 1194539 h 1849426"/>
                <a:gd name="connsiteX570" fmla="*/ 1009366 w 6386648"/>
                <a:gd name="connsiteY570" fmla="*/ 1194539 h 1849426"/>
                <a:gd name="connsiteX571" fmla="*/ 1027391 w 6386648"/>
                <a:gd name="connsiteY571" fmla="*/ 1212563 h 1849426"/>
                <a:gd name="connsiteX572" fmla="*/ 1009366 w 6386648"/>
                <a:gd name="connsiteY572" fmla="*/ 1230588 h 1849426"/>
                <a:gd name="connsiteX573" fmla="*/ 991342 w 6386648"/>
                <a:gd name="connsiteY573" fmla="*/ 1212563 h 1849426"/>
                <a:gd name="connsiteX574" fmla="*/ 1009366 w 6386648"/>
                <a:gd name="connsiteY574" fmla="*/ 1194539 h 1849426"/>
                <a:gd name="connsiteX575" fmla="*/ 4932678 w 6386648"/>
                <a:gd name="connsiteY575" fmla="*/ 1188531 h 1849426"/>
                <a:gd name="connsiteX576" fmla="*/ 4950703 w 6386648"/>
                <a:gd name="connsiteY576" fmla="*/ 1206556 h 1849426"/>
                <a:gd name="connsiteX577" fmla="*/ 4932678 w 6386648"/>
                <a:gd name="connsiteY577" fmla="*/ 1224580 h 1849426"/>
                <a:gd name="connsiteX578" fmla="*/ 4914654 w 6386648"/>
                <a:gd name="connsiteY578" fmla="*/ 1206556 h 1849426"/>
                <a:gd name="connsiteX579" fmla="*/ 4932678 w 6386648"/>
                <a:gd name="connsiteY579" fmla="*/ 1188531 h 1849426"/>
                <a:gd name="connsiteX580" fmla="*/ 4361905 w 6386648"/>
                <a:gd name="connsiteY580" fmla="*/ 1188531 h 1849426"/>
                <a:gd name="connsiteX581" fmla="*/ 4379930 w 6386648"/>
                <a:gd name="connsiteY581" fmla="*/ 1206556 h 1849426"/>
                <a:gd name="connsiteX582" fmla="*/ 4361905 w 6386648"/>
                <a:gd name="connsiteY582" fmla="*/ 1224580 h 1849426"/>
                <a:gd name="connsiteX583" fmla="*/ 4343881 w 6386648"/>
                <a:gd name="connsiteY583" fmla="*/ 1206556 h 1849426"/>
                <a:gd name="connsiteX584" fmla="*/ 4361905 w 6386648"/>
                <a:gd name="connsiteY584" fmla="*/ 1188531 h 1849426"/>
                <a:gd name="connsiteX585" fmla="*/ 3220360 w 6386648"/>
                <a:gd name="connsiteY585" fmla="*/ 1188531 h 1849426"/>
                <a:gd name="connsiteX586" fmla="*/ 3238385 w 6386648"/>
                <a:gd name="connsiteY586" fmla="*/ 1206556 h 1849426"/>
                <a:gd name="connsiteX587" fmla="*/ 3220360 w 6386648"/>
                <a:gd name="connsiteY587" fmla="*/ 1224580 h 1849426"/>
                <a:gd name="connsiteX588" fmla="*/ 3202336 w 6386648"/>
                <a:gd name="connsiteY588" fmla="*/ 1206556 h 1849426"/>
                <a:gd name="connsiteX589" fmla="*/ 3220360 w 6386648"/>
                <a:gd name="connsiteY589" fmla="*/ 1188531 h 1849426"/>
                <a:gd name="connsiteX590" fmla="*/ 708959 w 6386648"/>
                <a:gd name="connsiteY590" fmla="*/ 1188531 h 1849426"/>
                <a:gd name="connsiteX591" fmla="*/ 726984 w 6386648"/>
                <a:gd name="connsiteY591" fmla="*/ 1206556 h 1849426"/>
                <a:gd name="connsiteX592" fmla="*/ 708959 w 6386648"/>
                <a:gd name="connsiteY592" fmla="*/ 1224580 h 1849426"/>
                <a:gd name="connsiteX593" fmla="*/ 690935 w 6386648"/>
                <a:gd name="connsiteY593" fmla="*/ 1206556 h 1849426"/>
                <a:gd name="connsiteX594" fmla="*/ 708959 w 6386648"/>
                <a:gd name="connsiteY594" fmla="*/ 1188531 h 1849426"/>
                <a:gd name="connsiteX595" fmla="*/ 4824532 w 6386648"/>
                <a:gd name="connsiteY595" fmla="*/ 1182523 h 1849426"/>
                <a:gd name="connsiteX596" fmla="*/ 4842557 w 6386648"/>
                <a:gd name="connsiteY596" fmla="*/ 1200547 h 1849426"/>
                <a:gd name="connsiteX597" fmla="*/ 4824532 w 6386648"/>
                <a:gd name="connsiteY597" fmla="*/ 1218572 h 1849426"/>
                <a:gd name="connsiteX598" fmla="*/ 4806508 w 6386648"/>
                <a:gd name="connsiteY598" fmla="*/ 1200547 h 1849426"/>
                <a:gd name="connsiteX599" fmla="*/ 4824532 w 6386648"/>
                <a:gd name="connsiteY599" fmla="*/ 1182523 h 1849426"/>
                <a:gd name="connsiteX600" fmla="*/ 1279732 w 6386648"/>
                <a:gd name="connsiteY600" fmla="*/ 1170507 h 1849426"/>
                <a:gd name="connsiteX601" fmla="*/ 1297757 w 6386648"/>
                <a:gd name="connsiteY601" fmla="*/ 1188531 h 1849426"/>
                <a:gd name="connsiteX602" fmla="*/ 1279732 w 6386648"/>
                <a:gd name="connsiteY602" fmla="*/ 1206556 h 1849426"/>
                <a:gd name="connsiteX603" fmla="*/ 1261708 w 6386648"/>
                <a:gd name="connsiteY603" fmla="*/ 1188531 h 1849426"/>
                <a:gd name="connsiteX604" fmla="*/ 1279732 w 6386648"/>
                <a:gd name="connsiteY604" fmla="*/ 1170507 h 1849426"/>
                <a:gd name="connsiteX605" fmla="*/ 3478710 w 6386648"/>
                <a:gd name="connsiteY605" fmla="*/ 1164499 h 1849426"/>
                <a:gd name="connsiteX606" fmla="*/ 3496735 w 6386648"/>
                <a:gd name="connsiteY606" fmla="*/ 1182523 h 1849426"/>
                <a:gd name="connsiteX607" fmla="*/ 3478710 w 6386648"/>
                <a:gd name="connsiteY607" fmla="*/ 1200548 h 1849426"/>
                <a:gd name="connsiteX608" fmla="*/ 3460686 w 6386648"/>
                <a:gd name="connsiteY608" fmla="*/ 1182523 h 1849426"/>
                <a:gd name="connsiteX609" fmla="*/ 3478710 w 6386648"/>
                <a:gd name="connsiteY609" fmla="*/ 1164499 h 1849426"/>
                <a:gd name="connsiteX610" fmla="*/ 2703660 w 6386648"/>
                <a:gd name="connsiteY610" fmla="*/ 1164499 h 1849426"/>
                <a:gd name="connsiteX611" fmla="*/ 2721685 w 6386648"/>
                <a:gd name="connsiteY611" fmla="*/ 1182523 h 1849426"/>
                <a:gd name="connsiteX612" fmla="*/ 2703660 w 6386648"/>
                <a:gd name="connsiteY612" fmla="*/ 1200548 h 1849426"/>
                <a:gd name="connsiteX613" fmla="*/ 2685636 w 6386648"/>
                <a:gd name="connsiteY613" fmla="*/ 1182523 h 1849426"/>
                <a:gd name="connsiteX614" fmla="*/ 2703660 w 6386648"/>
                <a:gd name="connsiteY614" fmla="*/ 1164499 h 1849426"/>
                <a:gd name="connsiteX615" fmla="*/ 4500093 w 6386648"/>
                <a:gd name="connsiteY615" fmla="*/ 1158491 h 1849426"/>
                <a:gd name="connsiteX616" fmla="*/ 4518118 w 6386648"/>
                <a:gd name="connsiteY616" fmla="*/ 1176516 h 1849426"/>
                <a:gd name="connsiteX617" fmla="*/ 4500093 w 6386648"/>
                <a:gd name="connsiteY617" fmla="*/ 1194540 h 1849426"/>
                <a:gd name="connsiteX618" fmla="*/ 4482069 w 6386648"/>
                <a:gd name="connsiteY618" fmla="*/ 1176516 h 1849426"/>
                <a:gd name="connsiteX619" fmla="*/ 4500093 w 6386648"/>
                <a:gd name="connsiteY619" fmla="*/ 1158491 h 1849426"/>
                <a:gd name="connsiteX620" fmla="*/ 4199686 w 6386648"/>
                <a:gd name="connsiteY620" fmla="*/ 1158491 h 1849426"/>
                <a:gd name="connsiteX621" fmla="*/ 4217711 w 6386648"/>
                <a:gd name="connsiteY621" fmla="*/ 1176516 h 1849426"/>
                <a:gd name="connsiteX622" fmla="*/ 4199686 w 6386648"/>
                <a:gd name="connsiteY622" fmla="*/ 1194540 h 1849426"/>
                <a:gd name="connsiteX623" fmla="*/ 4181662 w 6386648"/>
                <a:gd name="connsiteY623" fmla="*/ 1176516 h 1849426"/>
                <a:gd name="connsiteX624" fmla="*/ 4199686 w 6386648"/>
                <a:gd name="connsiteY624" fmla="*/ 1158491 h 1849426"/>
                <a:gd name="connsiteX625" fmla="*/ 2132887 w 6386648"/>
                <a:gd name="connsiteY625" fmla="*/ 1158491 h 1849426"/>
                <a:gd name="connsiteX626" fmla="*/ 2150912 w 6386648"/>
                <a:gd name="connsiteY626" fmla="*/ 1176516 h 1849426"/>
                <a:gd name="connsiteX627" fmla="*/ 2132887 w 6386648"/>
                <a:gd name="connsiteY627" fmla="*/ 1194540 h 1849426"/>
                <a:gd name="connsiteX628" fmla="*/ 2114863 w 6386648"/>
                <a:gd name="connsiteY628" fmla="*/ 1176516 h 1849426"/>
                <a:gd name="connsiteX629" fmla="*/ 2132887 w 6386648"/>
                <a:gd name="connsiteY629" fmla="*/ 1158491 h 1849426"/>
                <a:gd name="connsiteX630" fmla="*/ 1850505 w 6386648"/>
                <a:gd name="connsiteY630" fmla="*/ 1158491 h 1849426"/>
                <a:gd name="connsiteX631" fmla="*/ 1868530 w 6386648"/>
                <a:gd name="connsiteY631" fmla="*/ 1176516 h 1849426"/>
                <a:gd name="connsiteX632" fmla="*/ 1850505 w 6386648"/>
                <a:gd name="connsiteY632" fmla="*/ 1194540 h 1849426"/>
                <a:gd name="connsiteX633" fmla="*/ 1832481 w 6386648"/>
                <a:gd name="connsiteY633" fmla="*/ 1176516 h 1849426"/>
                <a:gd name="connsiteX634" fmla="*/ 1850505 w 6386648"/>
                <a:gd name="connsiteY634" fmla="*/ 1158491 h 1849426"/>
                <a:gd name="connsiteX635" fmla="*/ 3340522 w 6386648"/>
                <a:gd name="connsiteY635" fmla="*/ 1152483 h 1849426"/>
                <a:gd name="connsiteX636" fmla="*/ 3358547 w 6386648"/>
                <a:gd name="connsiteY636" fmla="*/ 1170507 h 1849426"/>
                <a:gd name="connsiteX637" fmla="*/ 3340522 w 6386648"/>
                <a:gd name="connsiteY637" fmla="*/ 1188532 h 1849426"/>
                <a:gd name="connsiteX638" fmla="*/ 3322498 w 6386648"/>
                <a:gd name="connsiteY638" fmla="*/ 1170507 h 1849426"/>
                <a:gd name="connsiteX639" fmla="*/ 3340522 w 6386648"/>
                <a:gd name="connsiteY639" fmla="*/ 1152483 h 1849426"/>
                <a:gd name="connsiteX640" fmla="*/ 2829831 w 6386648"/>
                <a:gd name="connsiteY640" fmla="*/ 1152483 h 1849426"/>
                <a:gd name="connsiteX641" fmla="*/ 2847856 w 6386648"/>
                <a:gd name="connsiteY641" fmla="*/ 1170507 h 1849426"/>
                <a:gd name="connsiteX642" fmla="*/ 2829831 w 6386648"/>
                <a:gd name="connsiteY642" fmla="*/ 1188532 h 1849426"/>
                <a:gd name="connsiteX643" fmla="*/ 2811807 w 6386648"/>
                <a:gd name="connsiteY643" fmla="*/ 1170507 h 1849426"/>
                <a:gd name="connsiteX644" fmla="*/ 2829831 w 6386648"/>
                <a:gd name="connsiteY644" fmla="*/ 1152483 h 1849426"/>
                <a:gd name="connsiteX645" fmla="*/ 2253050 w 6386648"/>
                <a:gd name="connsiteY645" fmla="*/ 1152483 h 1849426"/>
                <a:gd name="connsiteX646" fmla="*/ 2271075 w 6386648"/>
                <a:gd name="connsiteY646" fmla="*/ 1170507 h 1849426"/>
                <a:gd name="connsiteX647" fmla="*/ 2253050 w 6386648"/>
                <a:gd name="connsiteY647" fmla="*/ 1188532 h 1849426"/>
                <a:gd name="connsiteX648" fmla="*/ 2235026 w 6386648"/>
                <a:gd name="connsiteY648" fmla="*/ 1170507 h 1849426"/>
                <a:gd name="connsiteX649" fmla="*/ 2253050 w 6386648"/>
                <a:gd name="connsiteY649" fmla="*/ 1152483 h 1849426"/>
                <a:gd name="connsiteX650" fmla="*/ 1994700 w 6386648"/>
                <a:gd name="connsiteY650" fmla="*/ 1146474 h 1849426"/>
                <a:gd name="connsiteX651" fmla="*/ 2012725 w 6386648"/>
                <a:gd name="connsiteY651" fmla="*/ 1164498 h 1849426"/>
                <a:gd name="connsiteX652" fmla="*/ 1994700 w 6386648"/>
                <a:gd name="connsiteY652" fmla="*/ 1182523 h 1849426"/>
                <a:gd name="connsiteX653" fmla="*/ 1976676 w 6386648"/>
                <a:gd name="connsiteY653" fmla="*/ 1164498 h 1849426"/>
                <a:gd name="connsiteX654" fmla="*/ 1994700 w 6386648"/>
                <a:gd name="connsiteY654" fmla="*/ 1146474 h 1849426"/>
                <a:gd name="connsiteX655" fmla="*/ 1718326 w 6386648"/>
                <a:gd name="connsiteY655" fmla="*/ 1146474 h 1849426"/>
                <a:gd name="connsiteX656" fmla="*/ 1736351 w 6386648"/>
                <a:gd name="connsiteY656" fmla="*/ 1164498 h 1849426"/>
                <a:gd name="connsiteX657" fmla="*/ 1718326 w 6386648"/>
                <a:gd name="connsiteY657" fmla="*/ 1182523 h 1849426"/>
                <a:gd name="connsiteX658" fmla="*/ 1700302 w 6386648"/>
                <a:gd name="connsiteY658" fmla="*/ 1164498 h 1849426"/>
                <a:gd name="connsiteX659" fmla="*/ 1718326 w 6386648"/>
                <a:gd name="connsiteY659" fmla="*/ 1146474 h 1849426"/>
                <a:gd name="connsiteX660" fmla="*/ 1129529 w 6386648"/>
                <a:gd name="connsiteY660" fmla="*/ 1146474 h 1849426"/>
                <a:gd name="connsiteX661" fmla="*/ 1147554 w 6386648"/>
                <a:gd name="connsiteY661" fmla="*/ 1164498 h 1849426"/>
                <a:gd name="connsiteX662" fmla="*/ 1129529 w 6386648"/>
                <a:gd name="connsiteY662" fmla="*/ 1182523 h 1849426"/>
                <a:gd name="connsiteX663" fmla="*/ 1111505 w 6386648"/>
                <a:gd name="connsiteY663" fmla="*/ 1164498 h 1849426"/>
                <a:gd name="connsiteX664" fmla="*/ 1129529 w 6386648"/>
                <a:gd name="connsiteY664" fmla="*/ 1146474 h 1849426"/>
                <a:gd name="connsiteX665" fmla="*/ 498674 w 6386648"/>
                <a:gd name="connsiteY665" fmla="*/ 1140466 h 1849426"/>
                <a:gd name="connsiteX666" fmla="*/ 516699 w 6386648"/>
                <a:gd name="connsiteY666" fmla="*/ 1158490 h 1849426"/>
                <a:gd name="connsiteX667" fmla="*/ 498674 w 6386648"/>
                <a:gd name="connsiteY667" fmla="*/ 1176515 h 1849426"/>
                <a:gd name="connsiteX668" fmla="*/ 480650 w 6386648"/>
                <a:gd name="connsiteY668" fmla="*/ 1158490 h 1849426"/>
                <a:gd name="connsiteX669" fmla="*/ 498674 w 6386648"/>
                <a:gd name="connsiteY669" fmla="*/ 1140466 h 1849426"/>
                <a:gd name="connsiteX670" fmla="*/ 3707019 w 6386648"/>
                <a:gd name="connsiteY670" fmla="*/ 1134458 h 1849426"/>
                <a:gd name="connsiteX671" fmla="*/ 3725044 w 6386648"/>
                <a:gd name="connsiteY671" fmla="*/ 1152482 h 1849426"/>
                <a:gd name="connsiteX672" fmla="*/ 3707019 w 6386648"/>
                <a:gd name="connsiteY672" fmla="*/ 1170507 h 1849426"/>
                <a:gd name="connsiteX673" fmla="*/ 3688994 w 6386648"/>
                <a:gd name="connsiteY673" fmla="*/ 1152482 h 1849426"/>
                <a:gd name="connsiteX674" fmla="*/ 3707019 w 6386648"/>
                <a:gd name="connsiteY674" fmla="*/ 1134458 h 1849426"/>
                <a:gd name="connsiteX675" fmla="*/ 799081 w 6386648"/>
                <a:gd name="connsiteY675" fmla="*/ 1134458 h 1849426"/>
                <a:gd name="connsiteX676" fmla="*/ 817106 w 6386648"/>
                <a:gd name="connsiteY676" fmla="*/ 1152482 h 1849426"/>
                <a:gd name="connsiteX677" fmla="*/ 799081 w 6386648"/>
                <a:gd name="connsiteY677" fmla="*/ 1170507 h 1849426"/>
                <a:gd name="connsiteX678" fmla="*/ 781057 w 6386648"/>
                <a:gd name="connsiteY678" fmla="*/ 1152482 h 1849426"/>
                <a:gd name="connsiteX679" fmla="*/ 799081 w 6386648"/>
                <a:gd name="connsiteY679" fmla="*/ 1134458 h 1849426"/>
                <a:gd name="connsiteX680" fmla="*/ 384520 w 6386648"/>
                <a:gd name="connsiteY680" fmla="*/ 1134458 h 1849426"/>
                <a:gd name="connsiteX681" fmla="*/ 402545 w 6386648"/>
                <a:gd name="connsiteY681" fmla="*/ 1152482 h 1849426"/>
                <a:gd name="connsiteX682" fmla="*/ 384520 w 6386648"/>
                <a:gd name="connsiteY682" fmla="*/ 1170507 h 1849426"/>
                <a:gd name="connsiteX683" fmla="*/ 366496 w 6386648"/>
                <a:gd name="connsiteY683" fmla="*/ 1152482 h 1849426"/>
                <a:gd name="connsiteX684" fmla="*/ 384520 w 6386648"/>
                <a:gd name="connsiteY684" fmla="*/ 1134458 h 1849426"/>
                <a:gd name="connsiteX685" fmla="*/ 3935328 w 6386648"/>
                <a:gd name="connsiteY685" fmla="*/ 1128450 h 1849426"/>
                <a:gd name="connsiteX686" fmla="*/ 3953353 w 6386648"/>
                <a:gd name="connsiteY686" fmla="*/ 1146475 h 1849426"/>
                <a:gd name="connsiteX687" fmla="*/ 3935328 w 6386648"/>
                <a:gd name="connsiteY687" fmla="*/ 1164499 h 1849426"/>
                <a:gd name="connsiteX688" fmla="*/ 3917304 w 6386648"/>
                <a:gd name="connsiteY688" fmla="*/ 1146475 h 1849426"/>
                <a:gd name="connsiteX689" fmla="*/ 3935328 w 6386648"/>
                <a:gd name="connsiteY689" fmla="*/ 1128450 h 1849426"/>
                <a:gd name="connsiteX690" fmla="*/ 1514049 w 6386648"/>
                <a:gd name="connsiteY690" fmla="*/ 1128450 h 1849426"/>
                <a:gd name="connsiteX691" fmla="*/ 1532074 w 6386648"/>
                <a:gd name="connsiteY691" fmla="*/ 1146475 h 1849426"/>
                <a:gd name="connsiteX692" fmla="*/ 1514049 w 6386648"/>
                <a:gd name="connsiteY692" fmla="*/ 1164499 h 1849426"/>
                <a:gd name="connsiteX693" fmla="*/ 1496025 w 6386648"/>
                <a:gd name="connsiteY693" fmla="*/ 1146475 h 1849426"/>
                <a:gd name="connsiteX694" fmla="*/ 1514049 w 6386648"/>
                <a:gd name="connsiteY694" fmla="*/ 1128450 h 1849426"/>
                <a:gd name="connsiteX695" fmla="*/ 4650296 w 6386648"/>
                <a:gd name="connsiteY695" fmla="*/ 1122442 h 1849426"/>
                <a:gd name="connsiteX696" fmla="*/ 4668321 w 6386648"/>
                <a:gd name="connsiteY696" fmla="*/ 1140466 h 1849426"/>
                <a:gd name="connsiteX697" fmla="*/ 4650296 w 6386648"/>
                <a:gd name="connsiteY697" fmla="*/ 1158491 h 1849426"/>
                <a:gd name="connsiteX698" fmla="*/ 4632272 w 6386648"/>
                <a:gd name="connsiteY698" fmla="*/ 1140466 h 1849426"/>
                <a:gd name="connsiteX699" fmla="*/ 4650296 w 6386648"/>
                <a:gd name="connsiteY699" fmla="*/ 1122442 h 1849426"/>
                <a:gd name="connsiteX700" fmla="*/ 4073515 w 6386648"/>
                <a:gd name="connsiteY700" fmla="*/ 1122442 h 1849426"/>
                <a:gd name="connsiteX701" fmla="*/ 4091540 w 6386648"/>
                <a:gd name="connsiteY701" fmla="*/ 1140466 h 1849426"/>
                <a:gd name="connsiteX702" fmla="*/ 4073515 w 6386648"/>
                <a:gd name="connsiteY702" fmla="*/ 1158491 h 1849426"/>
                <a:gd name="connsiteX703" fmla="*/ 4055491 w 6386648"/>
                <a:gd name="connsiteY703" fmla="*/ 1140466 h 1849426"/>
                <a:gd name="connsiteX704" fmla="*/ 4073515 w 6386648"/>
                <a:gd name="connsiteY704" fmla="*/ 1122442 h 1849426"/>
                <a:gd name="connsiteX705" fmla="*/ 2475351 w 6386648"/>
                <a:gd name="connsiteY705" fmla="*/ 1122442 h 1849426"/>
                <a:gd name="connsiteX706" fmla="*/ 2493376 w 6386648"/>
                <a:gd name="connsiteY706" fmla="*/ 1140466 h 1849426"/>
                <a:gd name="connsiteX707" fmla="*/ 2475351 w 6386648"/>
                <a:gd name="connsiteY707" fmla="*/ 1158491 h 1849426"/>
                <a:gd name="connsiteX708" fmla="*/ 2457326 w 6386648"/>
                <a:gd name="connsiteY708" fmla="*/ 1140466 h 1849426"/>
                <a:gd name="connsiteX709" fmla="*/ 2475351 w 6386648"/>
                <a:gd name="connsiteY709" fmla="*/ 1122442 h 1849426"/>
                <a:gd name="connsiteX710" fmla="*/ 1393887 w 6386648"/>
                <a:gd name="connsiteY710" fmla="*/ 1122442 h 1849426"/>
                <a:gd name="connsiteX711" fmla="*/ 1411912 w 6386648"/>
                <a:gd name="connsiteY711" fmla="*/ 1140466 h 1849426"/>
                <a:gd name="connsiteX712" fmla="*/ 1393887 w 6386648"/>
                <a:gd name="connsiteY712" fmla="*/ 1158491 h 1849426"/>
                <a:gd name="connsiteX713" fmla="*/ 1375863 w 6386648"/>
                <a:gd name="connsiteY713" fmla="*/ 1140466 h 1849426"/>
                <a:gd name="connsiteX714" fmla="*/ 1393887 w 6386648"/>
                <a:gd name="connsiteY714" fmla="*/ 1122442 h 1849426"/>
                <a:gd name="connsiteX715" fmla="*/ 3058140 w 6386648"/>
                <a:gd name="connsiteY715" fmla="*/ 1116434 h 1849426"/>
                <a:gd name="connsiteX716" fmla="*/ 3076165 w 6386648"/>
                <a:gd name="connsiteY716" fmla="*/ 1134458 h 1849426"/>
                <a:gd name="connsiteX717" fmla="*/ 3058140 w 6386648"/>
                <a:gd name="connsiteY717" fmla="*/ 1152483 h 1849426"/>
                <a:gd name="connsiteX718" fmla="*/ 3040116 w 6386648"/>
                <a:gd name="connsiteY718" fmla="*/ 1134458 h 1849426"/>
                <a:gd name="connsiteX719" fmla="*/ 3058140 w 6386648"/>
                <a:gd name="connsiteY719" fmla="*/ 1116434 h 1849426"/>
                <a:gd name="connsiteX720" fmla="*/ 4800499 w 6386648"/>
                <a:gd name="connsiteY720" fmla="*/ 1092401 h 1849426"/>
                <a:gd name="connsiteX721" fmla="*/ 4818524 w 6386648"/>
                <a:gd name="connsiteY721" fmla="*/ 1110425 h 1849426"/>
                <a:gd name="connsiteX722" fmla="*/ 4800499 w 6386648"/>
                <a:gd name="connsiteY722" fmla="*/ 1128450 h 1849426"/>
                <a:gd name="connsiteX723" fmla="*/ 4782475 w 6386648"/>
                <a:gd name="connsiteY723" fmla="*/ 1110425 h 1849426"/>
                <a:gd name="connsiteX724" fmla="*/ 4800499 w 6386648"/>
                <a:gd name="connsiteY724" fmla="*/ 1092401 h 1849426"/>
                <a:gd name="connsiteX725" fmla="*/ 2349180 w 6386648"/>
                <a:gd name="connsiteY725" fmla="*/ 1092401 h 1849426"/>
                <a:gd name="connsiteX726" fmla="*/ 2367205 w 6386648"/>
                <a:gd name="connsiteY726" fmla="*/ 1110425 h 1849426"/>
                <a:gd name="connsiteX727" fmla="*/ 2349180 w 6386648"/>
                <a:gd name="connsiteY727" fmla="*/ 1128450 h 1849426"/>
                <a:gd name="connsiteX728" fmla="*/ 2331156 w 6386648"/>
                <a:gd name="connsiteY728" fmla="*/ 1110425 h 1849426"/>
                <a:gd name="connsiteX729" fmla="*/ 2349180 w 6386648"/>
                <a:gd name="connsiteY729" fmla="*/ 1092401 h 1849426"/>
                <a:gd name="connsiteX730" fmla="*/ 931260 w 6386648"/>
                <a:gd name="connsiteY730" fmla="*/ 1092401 h 1849426"/>
                <a:gd name="connsiteX731" fmla="*/ 949285 w 6386648"/>
                <a:gd name="connsiteY731" fmla="*/ 1110425 h 1849426"/>
                <a:gd name="connsiteX732" fmla="*/ 931260 w 6386648"/>
                <a:gd name="connsiteY732" fmla="*/ 1128450 h 1849426"/>
                <a:gd name="connsiteX733" fmla="*/ 913236 w 6386648"/>
                <a:gd name="connsiteY733" fmla="*/ 1110425 h 1849426"/>
                <a:gd name="connsiteX734" fmla="*/ 931260 w 6386648"/>
                <a:gd name="connsiteY734" fmla="*/ 1092401 h 1849426"/>
                <a:gd name="connsiteX735" fmla="*/ 4986752 w 6386648"/>
                <a:gd name="connsiteY735" fmla="*/ 1086393 h 1849426"/>
                <a:gd name="connsiteX736" fmla="*/ 5004777 w 6386648"/>
                <a:gd name="connsiteY736" fmla="*/ 1104417 h 1849426"/>
                <a:gd name="connsiteX737" fmla="*/ 4986752 w 6386648"/>
                <a:gd name="connsiteY737" fmla="*/ 1122442 h 1849426"/>
                <a:gd name="connsiteX738" fmla="*/ 4968728 w 6386648"/>
                <a:gd name="connsiteY738" fmla="*/ 1104417 h 1849426"/>
                <a:gd name="connsiteX739" fmla="*/ 4986752 w 6386648"/>
                <a:gd name="connsiteY739" fmla="*/ 1086393 h 1849426"/>
                <a:gd name="connsiteX740" fmla="*/ 3815165 w 6386648"/>
                <a:gd name="connsiteY740" fmla="*/ 1086393 h 1849426"/>
                <a:gd name="connsiteX741" fmla="*/ 3833190 w 6386648"/>
                <a:gd name="connsiteY741" fmla="*/ 1104417 h 1849426"/>
                <a:gd name="connsiteX742" fmla="*/ 3815165 w 6386648"/>
                <a:gd name="connsiteY742" fmla="*/ 1122442 h 1849426"/>
                <a:gd name="connsiteX743" fmla="*/ 3797141 w 6386648"/>
                <a:gd name="connsiteY743" fmla="*/ 1104417 h 1849426"/>
                <a:gd name="connsiteX744" fmla="*/ 3815165 w 6386648"/>
                <a:gd name="connsiteY744" fmla="*/ 1086393 h 1849426"/>
                <a:gd name="connsiteX745" fmla="*/ 3586856 w 6386648"/>
                <a:gd name="connsiteY745" fmla="*/ 1086393 h 1849426"/>
                <a:gd name="connsiteX746" fmla="*/ 3604881 w 6386648"/>
                <a:gd name="connsiteY746" fmla="*/ 1104417 h 1849426"/>
                <a:gd name="connsiteX747" fmla="*/ 3586856 w 6386648"/>
                <a:gd name="connsiteY747" fmla="*/ 1122442 h 1849426"/>
                <a:gd name="connsiteX748" fmla="*/ 3568831 w 6386648"/>
                <a:gd name="connsiteY748" fmla="*/ 1104417 h 1849426"/>
                <a:gd name="connsiteX749" fmla="*/ 3586856 w 6386648"/>
                <a:gd name="connsiteY749" fmla="*/ 1086393 h 1849426"/>
                <a:gd name="connsiteX750" fmla="*/ 3166287 w 6386648"/>
                <a:gd name="connsiteY750" fmla="*/ 1086393 h 1849426"/>
                <a:gd name="connsiteX751" fmla="*/ 3184312 w 6386648"/>
                <a:gd name="connsiteY751" fmla="*/ 1104417 h 1849426"/>
                <a:gd name="connsiteX752" fmla="*/ 3166287 w 6386648"/>
                <a:gd name="connsiteY752" fmla="*/ 1122442 h 1849426"/>
                <a:gd name="connsiteX753" fmla="*/ 3148262 w 6386648"/>
                <a:gd name="connsiteY753" fmla="*/ 1104417 h 1849426"/>
                <a:gd name="connsiteX754" fmla="*/ 3166287 w 6386648"/>
                <a:gd name="connsiteY754" fmla="*/ 1086393 h 1849426"/>
                <a:gd name="connsiteX755" fmla="*/ 2595514 w 6386648"/>
                <a:gd name="connsiteY755" fmla="*/ 1086393 h 1849426"/>
                <a:gd name="connsiteX756" fmla="*/ 2613539 w 6386648"/>
                <a:gd name="connsiteY756" fmla="*/ 1104417 h 1849426"/>
                <a:gd name="connsiteX757" fmla="*/ 2595514 w 6386648"/>
                <a:gd name="connsiteY757" fmla="*/ 1122442 h 1849426"/>
                <a:gd name="connsiteX758" fmla="*/ 2577489 w 6386648"/>
                <a:gd name="connsiteY758" fmla="*/ 1104417 h 1849426"/>
                <a:gd name="connsiteX759" fmla="*/ 2595514 w 6386648"/>
                <a:gd name="connsiteY759" fmla="*/ 1086393 h 1849426"/>
                <a:gd name="connsiteX760" fmla="*/ 1628204 w 6386648"/>
                <a:gd name="connsiteY760" fmla="*/ 1074377 h 1849426"/>
                <a:gd name="connsiteX761" fmla="*/ 1646229 w 6386648"/>
                <a:gd name="connsiteY761" fmla="*/ 1092401 h 1849426"/>
                <a:gd name="connsiteX762" fmla="*/ 1628204 w 6386648"/>
                <a:gd name="connsiteY762" fmla="*/ 1110426 h 1849426"/>
                <a:gd name="connsiteX763" fmla="*/ 1610180 w 6386648"/>
                <a:gd name="connsiteY763" fmla="*/ 1092401 h 1849426"/>
                <a:gd name="connsiteX764" fmla="*/ 1628204 w 6386648"/>
                <a:gd name="connsiteY764" fmla="*/ 1074377 h 1849426"/>
                <a:gd name="connsiteX765" fmla="*/ 642870 w 6386648"/>
                <a:gd name="connsiteY765" fmla="*/ 1074377 h 1849426"/>
                <a:gd name="connsiteX766" fmla="*/ 660895 w 6386648"/>
                <a:gd name="connsiteY766" fmla="*/ 1092401 h 1849426"/>
                <a:gd name="connsiteX767" fmla="*/ 642870 w 6386648"/>
                <a:gd name="connsiteY767" fmla="*/ 1110426 h 1849426"/>
                <a:gd name="connsiteX768" fmla="*/ 624846 w 6386648"/>
                <a:gd name="connsiteY768" fmla="*/ 1092401 h 1849426"/>
                <a:gd name="connsiteX769" fmla="*/ 642870 w 6386648"/>
                <a:gd name="connsiteY769" fmla="*/ 1074377 h 1849426"/>
                <a:gd name="connsiteX770" fmla="*/ 2925961 w 6386648"/>
                <a:gd name="connsiteY770" fmla="*/ 1068369 h 1849426"/>
                <a:gd name="connsiteX771" fmla="*/ 2943986 w 6386648"/>
                <a:gd name="connsiteY771" fmla="*/ 1086394 h 1849426"/>
                <a:gd name="connsiteX772" fmla="*/ 2925961 w 6386648"/>
                <a:gd name="connsiteY772" fmla="*/ 1104418 h 1849426"/>
                <a:gd name="connsiteX773" fmla="*/ 2907936 w 6386648"/>
                <a:gd name="connsiteY773" fmla="*/ 1086394 h 1849426"/>
                <a:gd name="connsiteX774" fmla="*/ 2925961 w 6386648"/>
                <a:gd name="connsiteY774" fmla="*/ 1068369 h 1849426"/>
                <a:gd name="connsiteX775" fmla="*/ 3424636 w 6386648"/>
                <a:gd name="connsiteY775" fmla="*/ 1062360 h 1849426"/>
                <a:gd name="connsiteX776" fmla="*/ 3442661 w 6386648"/>
                <a:gd name="connsiteY776" fmla="*/ 1080384 h 1849426"/>
                <a:gd name="connsiteX777" fmla="*/ 3424636 w 6386648"/>
                <a:gd name="connsiteY777" fmla="*/ 1098409 h 1849426"/>
                <a:gd name="connsiteX778" fmla="*/ 3406612 w 6386648"/>
                <a:gd name="connsiteY778" fmla="*/ 1080384 h 1849426"/>
                <a:gd name="connsiteX779" fmla="*/ 3424636 w 6386648"/>
                <a:gd name="connsiteY779" fmla="*/ 1062360 h 1849426"/>
                <a:gd name="connsiteX780" fmla="*/ 1249691 w 6386648"/>
                <a:gd name="connsiteY780" fmla="*/ 1062360 h 1849426"/>
                <a:gd name="connsiteX781" fmla="*/ 1267716 w 6386648"/>
                <a:gd name="connsiteY781" fmla="*/ 1080384 h 1849426"/>
                <a:gd name="connsiteX782" fmla="*/ 1249691 w 6386648"/>
                <a:gd name="connsiteY782" fmla="*/ 1098409 h 1849426"/>
                <a:gd name="connsiteX783" fmla="*/ 1231667 w 6386648"/>
                <a:gd name="connsiteY783" fmla="*/ 1080384 h 1849426"/>
                <a:gd name="connsiteX784" fmla="*/ 1249691 w 6386648"/>
                <a:gd name="connsiteY784" fmla="*/ 1062360 h 1849426"/>
                <a:gd name="connsiteX785" fmla="*/ 1075456 w 6386648"/>
                <a:gd name="connsiteY785" fmla="*/ 1062360 h 1849426"/>
                <a:gd name="connsiteX786" fmla="*/ 1093480 w 6386648"/>
                <a:gd name="connsiteY786" fmla="*/ 1080384 h 1849426"/>
                <a:gd name="connsiteX787" fmla="*/ 1075456 w 6386648"/>
                <a:gd name="connsiteY787" fmla="*/ 1098409 h 1849426"/>
                <a:gd name="connsiteX788" fmla="*/ 1057431 w 6386648"/>
                <a:gd name="connsiteY788" fmla="*/ 1080384 h 1849426"/>
                <a:gd name="connsiteX789" fmla="*/ 1075456 w 6386648"/>
                <a:gd name="connsiteY789" fmla="*/ 1062360 h 1849426"/>
                <a:gd name="connsiteX790" fmla="*/ 1928611 w 6386648"/>
                <a:gd name="connsiteY790" fmla="*/ 1056352 h 1849426"/>
                <a:gd name="connsiteX791" fmla="*/ 1946636 w 6386648"/>
                <a:gd name="connsiteY791" fmla="*/ 1074376 h 1849426"/>
                <a:gd name="connsiteX792" fmla="*/ 1928611 w 6386648"/>
                <a:gd name="connsiteY792" fmla="*/ 1092401 h 1849426"/>
                <a:gd name="connsiteX793" fmla="*/ 1910587 w 6386648"/>
                <a:gd name="connsiteY793" fmla="*/ 1074376 h 1849426"/>
                <a:gd name="connsiteX794" fmla="*/ 1928611 w 6386648"/>
                <a:gd name="connsiteY794" fmla="*/ 1056352 h 1849426"/>
                <a:gd name="connsiteX795" fmla="*/ 2709668 w 6386648"/>
                <a:gd name="connsiteY795" fmla="*/ 1044336 h 1849426"/>
                <a:gd name="connsiteX796" fmla="*/ 2727693 w 6386648"/>
                <a:gd name="connsiteY796" fmla="*/ 1062360 h 1849426"/>
                <a:gd name="connsiteX797" fmla="*/ 2709668 w 6386648"/>
                <a:gd name="connsiteY797" fmla="*/ 1080385 h 1849426"/>
                <a:gd name="connsiteX798" fmla="*/ 2691644 w 6386648"/>
                <a:gd name="connsiteY798" fmla="*/ 1062360 h 1849426"/>
                <a:gd name="connsiteX799" fmla="*/ 2709668 w 6386648"/>
                <a:gd name="connsiteY799" fmla="*/ 1044336 h 1849426"/>
                <a:gd name="connsiteX800" fmla="*/ 1784415 w 6386648"/>
                <a:gd name="connsiteY800" fmla="*/ 1044336 h 1849426"/>
                <a:gd name="connsiteX801" fmla="*/ 1802440 w 6386648"/>
                <a:gd name="connsiteY801" fmla="*/ 1062360 h 1849426"/>
                <a:gd name="connsiteX802" fmla="*/ 1784415 w 6386648"/>
                <a:gd name="connsiteY802" fmla="*/ 1080385 h 1849426"/>
                <a:gd name="connsiteX803" fmla="*/ 1766391 w 6386648"/>
                <a:gd name="connsiteY803" fmla="*/ 1062360 h 1849426"/>
                <a:gd name="connsiteX804" fmla="*/ 1784415 w 6386648"/>
                <a:gd name="connsiteY804" fmla="*/ 1044336 h 1849426"/>
                <a:gd name="connsiteX805" fmla="*/ 3292457 w 6386648"/>
                <a:gd name="connsiteY805" fmla="*/ 1038328 h 1849426"/>
                <a:gd name="connsiteX806" fmla="*/ 3310482 w 6386648"/>
                <a:gd name="connsiteY806" fmla="*/ 1056353 h 1849426"/>
                <a:gd name="connsiteX807" fmla="*/ 3292457 w 6386648"/>
                <a:gd name="connsiteY807" fmla="*/ 1074377 h 1849426"/>
                <a:gd name="connsiteX808" fmla="*/ 3274433 w 6386648"/>
                <a:gd name="connsiteY808" fmla="*/ 1056353 h 1849426"/>
                <a:gd name="connsiteX809" fmla="*/ 3292457 w 6386648"/>
                <a:gd name="connsiteY809" fmla="*/ 1038328 h 1849426"/>
                <a:gd name="connsiteX810" fmla="*/ 2198977 w 6386648"/>
                <a:gd name="connsiteY810" fmla="*/ 1038328 h 1849426"/>
                <a:gd name="connsiteX811" fmla="*/ 2217002 w 6386648"/>
                <a:gd name="connsiteY811" fmla="*/ 1056353 h 1849426"/>
                <a:gd name="connsiteX812" fmla="*/ 2198977 w 6386648"/>
                <a:gd name="connsiteY812" fmla="*/ 1074377 h 1849426"/>
                <a:gd name="connsiteX813" fmla="*/ 2180953 w 6386648"/>
                <a:gd name="connsiteY813" fmla="*/ 1056353 h 1849426"/>
                <a:gd name="connsiteX814" fmla="*/ 2198977 w 6386648"/>
                <a:gd name="connsiteY814" fmla="*/ 1038328 h 1849426"/>
                <a:gd name="connsiteX815" fmla="*/ 2078814 w 6386648"/>
                <a:gd name="connsiteY815" fmla="*/ 1032320 h 1849426"/>
                <a:gd name="connsiteX816" fmla="*/ 2096839 w 6386648"/>
                <a:gd name="connsiteY816" fmla="*/ 1050344 h 1849426"/>
                <a:gd name="connsiteX817" fmla="*/ 2078814 w 6386648"/>
                <a:gd name="connsiteY817" fmla="*/ 1068369 h 1849426"/>
                <a:gd name="connsiteX818" fmla="*/ 2060790 w 6386648"/>
                <a:gd name="connsiteY818" fmla="*/ 1050344 h 1849426"/>
                <a:gd name="connsiteX819" fmla="*/ 2078814 w 6386648"/>
                <a:gd name="connsiteY819" fmla="*/ 1032320 h 1849426"/>
                <a:gd name="connsiteX820" fmla="*/ 3983393 w 6386648"/>
                <a:gd name="connsiteY820" fmla="*/ 1026312 h 1849426"/>
                <a:gd name="connsiteX821" fmla="*/ 4001418 w 6386648"/>
                <a:gd name="connsiteY821" fmla="*/ 1044336 h 1849426"/>
                <a:gd name="connsiteX822" fmla="*/ 3983393 w 6386648"/>
                <a:gd name="connsiteY822" fmla="*/ 1062361 h 1849426"/>
                <a:gd name="connsiteX823" fmla="*/ 3965369 w 6386648"/>
                <a:gd name="connsiteY823" fmla="*/ 1044336 h 1849426"/>
                <a:gd name="connsiteX824" fmla="*/ 3983393 w 6386648"/>
                <a:gd name="connsiteY824" fmla="*/ 1026312 h 1849426"/>
                <a:gd name="connsiteX825" fmla="*/ 817106 w 6386648"/>
                <a:gd name="connsiteY825" fmla="*/ 1020304 h 1849426"/>
                <a:gd name="connsiteX826" fmla="*/ 829123 w 6386648"/>
                <a:gd name="connsiteY826" fmla="*/ 1032320 h 1849426"/>
                <a:gd name="connsiteX827" fmla="*/ 817106 w 6386648"/>
                <a:gd name="connsiteY827" fmla="*/ 1044336 h 1849426"/>
                <a:gd name="connsiteX828" fmla="*/ 805090 w 6386648"/>
                <a:gd name="connsiteY828" fmla="*/ 1032320 h 1849426"/>
                <a:gd name="connsiteX829" fmla="*/ 817106 w 6386648"/>
                <a:gd name="connsiteY829" fmla="*/ 1020304 h 1849426"/>
                <a:gd name="connsiteX830" fmla="*/ 2817815 w 6386648"/>
                <a:gd name="connsiteY830" fmla="*/ 1014295 h 1849426"/>
                <a:gd name="connsiteX831" fmla="*/ 2835840 w 6386648"/>
                <a:gd name="connsiteY831" fmla="*/ 1032319 h 1849426"/>
                <a:gd name="connsiteX832" fmla="*/ 2817815 w 6386648"/>
                <a:gd name="connsiteY832" fmla="*/ 1050344 h 1849426"/>
                <a:gd name="connsiteX833" fmla="*/ 2799791 w 6386648"/>
                <a:gd name="connsiteY833" fmla="*/ 1032319 h 1849426"/>
                <a:gd name="connsiteX834" fmla="*/ 2817815 w 6386648"/>
                <a:gd name="connsiteY834" fmla="*/ 1014295 h 1849426"/>
                <a:gd name="connsiteX835" fmla="*/ 2445310 w 6386648"/>
                <a:gd name="connsiteY835" fmla="*/ 1014295 h 1849426"/>
                <a:gd name="connsiteX836" fmla="*/ 2463335 w 6386648"/>
                <a:gd name="connsiteY836" fmla="*/ 1032319 h 1849426"/>
                <a:gd name="connsiteX837" fmla="*/ 2445310 w 6386648"/>
                <a:gd name="connsiteY837" fmla="*/ 1050344 h 1849426"/>
                <a:gd name="connsiteX838" fmla="*/ 2427285 w 6386648"/>
                <a:gd name="connsiteY838" fmla="*/ 1032319 h 1849426"/>
                <a:gd name="connsiteX839" fmla="*/ 2445310 w 6386648"/>
                <a:gd name="connsiteY839" fmla="*/ 1014295 h 1849426"/>
                <a:gd name="connsiteX840" fmla="*/ 420569 w 6386648"/>
                <a:gd name="connsiteY840" fmla="*/ 1014295 h 1849426"/>
                <a:gd name="connsiteX841" fmla="*/ 438594 w 6386648"/>
                <a:gd name="connsiteY841" fmla="*/ 1032319 h 1849426"/>
                <a:gd name="connsiteX842" fmla="*/ 420569 w 6386648"/>
                <a:gd name="connsiteY842" fmla="*/ 1050344 h 1849426"/>
                <a:gd name="connsiteX843" fmla="*/ 402545 w 6386648"/>
                <a:gd name="connsiteY843" fmla="*/ 1032319 h 1849426"/>
                <a:gd name="connsiteX844" fmla="*/ 420569 w 6386648"/>
                <a:gd name="connsiteY844" fmla="*/ 1014295 h 1849426"/>
                <a:gd name="connsiteX845" fmla="*/ 1520057 w 6386648"/>
                <a:gd name="connsiteY845" fmla="*/ 1008287 h 1849426"/>
                <a:gd name="connsiteX846" fmla="*/ 1538082 w 6386648"/>
                <a:gd name="connsiteY846" fmla="*/ 1026312 h 1849426"/>
                <a:gd name="connsiteX847" fmla="*/ 1520057 w 6386648"/>
                <a:gd name="connsiteY847" fmla="*/ 1044336 h 1849426"/>
                <a:gd name="connsiteX848" fmla="*/ 1502033 w 6386648"/>
                <a:gd name="connsiteY848" fmla="*/ 1026312 h 1849426"/>
                <a:gd name="connsiteX849" fmla="*/ 1520057 w 6386648"/>
                <a:gd name="connsiteY849" fmla="*/ 1008287 h 1849426"/>
                <a:gd name="connsiteX850" fmla="*/ 1387878 w 6386648"/>
                <a:gd name="connsiteY850" fmla="*/ 1008287 h 1849426"/>
                <a:gd name="connsiteX851" fmla="*/ 1405903 w 6386648"/>
                <a:gd name="connsiteY851" fmla="*/ 1026312 h 1849426"/>
                <a:gd name="connsiteX852" fmla="*/ 1387878 w 6386648"/>
                <a:gd name="connsiteY852" fmla="*/ 1044336 h 1849426"/>
                <a:gd name="connsiteX853" fmla="*/ 1369854 w 6386648"/>
                <a:gd name="connsiteY853" fmla="*/ 1026312 h 1849426"/>
                <a:gd name="connsiteX854" fmla="*/ 1387878 w 6386648"/>
                <a:gd name="connsiteY854" fmla="*/ 1008287 h 1849426"/>
                <a:gd name="connsiteX855" fmla="*/ 534724 w 6386648"/>
                <a:gd name="connsiteY855" fmla="*/ 1008287 h 1849426"/>
                <a:gd name="connsiteX856" fmla="*/ 552748 w 6386648"/>
                <a:gd name="connsiteY856" fmla="*/ 1026312 h 1849426"/>
                <a:gd name="connsiteX857" fmla="*/ 534724 w 6386648"/>
                <a:gd name="connsiteY857" fmla="*/ 1044336 h 1849426"/>
                <a:gd name="connsiteX858" fmla="*/ 516699 w 6386648"/>
                <a:gd name="connsiteY858" fmla="*/ 1026312 h 1849426"/>
                <a:gd name="connsiteX859" fmla="*/ 534724 w 6386648"/>
                <a:gd name="connsiteY859" fmla="*/ 1008287 h 1849426"/>
                <a:gd name="connsiteX860" fmla="*/ 3016083 w 6386648"/>
                <a:gd name="connsiteY860" fmla="*/ 1002279 h 1849426"/>
                <a:gd name="connsiteX861" fmla="*/ 3034108 w 6386648"/>
                <a:gd name="connsiteY861" fmla="*/ 1020303 h 1849426"/>
                <a:gd name="connsiteX862" fmla="*/ 3016083 w 6386648"/>
                <a:gd name="connsiteY862" fmla="*/ 1038328 h 1849426"/>
                <a:gd name="connsiteX863" fmla="*/ 2998058 w 6386648"/>
                <a:gd name="connsiteY863" fmla="*/ 1020303 h 1849426"/>
                <a:gd name="connsiteX864" fmla="*/ 3016083 w 6386648"/>
                <a:gd name="connsiteY864" fmla="*/ 1002279 h 1849426"/>
                <a:gd name="connsiteX865" fmla="*/ 294398 w 6386648"/>
                <a:gd name="connsiteY865" fmla="*/ 996271 h 1849426"/>
                <a:gd name="connsiteX866" fmla="*/ 312423 w 6386648"/>
                <a:gd name="connsiteY866" fmla="*/ 1014295 h 1849426"/>
                <a:gd name="connsiteX867" fmla="*/ 294398 w 6386648"/>
                <a:gd name="connsiteY867" fmla="*/ 1032320 h 1849426"/>
                <a:gd name="connsiteX868" fmla="*/ 276374 w 6386648"/>
                <a:gd name="connsiteY868" fmla="*/ 1014295 h 1849426"/>
                <a:gd name="connsiteX869" fmla="*/ 294398 w 6386648"/>
                <a:gd name="connsiteY869" fmla="*/ 996271 h 1849426"/>
                <a:gd name="connsiteX870" fmla="*/ 3676978 w 6386648"/>
                <a:gd name="connsiteY870" fmla="*/ 990263 h 1849426"/>
                <a:gd name="connsiteX871" fmla="*/ 3695003 w 6386648"/>
                <a:gd name="connsiteY871" fmla="*/ 1008287 h 1849426"/>
                <a:gd name="connsiteX872" fmla="*/ 3676978 w 6386648"/>
                <a:gd name="connsiteY872" fmla="*/ 1026312 h 1849426"/>
                <a:gd name="connsiteX873" fmla="*/ 3658953 w 6386648"/>
                <a:gd name="connsiteY873" fmla="*/ 1008287 h 1849426"/>
                <a:gd name="connsiteX874" fmla="*/ 3676978 w 6386648"/>
                <a:gd name="connsiteY874" fmla="*/ 990263 h 1849426"/>
                <a:gd name="connsiteX875" fmla="*/ 3544799 w 6386648"/>
                <a:gd name="connsiteY875" fmla="*/ 984255 h 1849426"/>
                <a:gd name="connsiteX876" fmla="*/ 3562824 w 6386648"/>
                <a:gd name="connsiteY876" fmla="*/ 1002279 h 1849426"/>
                <a:gd name="connsiteX877" fmla="*/ 3544799 w 6386648"/>
                <a:gd name="connsiteY877" fmla="*/ 1020304 h 1849426"/>
                <a:gd name="connsiteX878" fmla="*/ 3526775 w 6386648"/>
                <a:gd name="connsiteY878" fmla="*/ 1002279 h 1849426"/>
                <a:gd name="connsiteX879" fmla="*/ 3544799 w 6386648"/>
                <a:gd name="connsiteY879" fmla="*/ 984255 h 1849426"/>
                <a:gd name="connsiteX880" fmla="*/ 708959 w 6386648"/>
                <a:gd name="connsiteY880" fmla="*/ 984255 h 1849426"/>
                <a:gd name="connsiteX881" fmla="*/ 726984 w 6386648"/>
                <a:gd name="connsiteY881" fmla="*/ 1002279 h 1849426"/>
                <a:gd name="connsiteX882" fmla="*/ 708959 w 6386648"/>
                <a:gd name="connsiteY882" fmla="*/ 1020304 h 1849426"/>
                <a:gd name="connsiteX883" fmla="*/ 690935 w 6386648"/>
                <a:gd name="connsiteY883" fmla="*/ 1002279 h 1849426"/>
                <a:gd name="connsiteX884" fmla="*/ 708959 w 6386648"/>
                <a:gd name="connsiteY884" fmla="*/ 984255 h 1849426"/>
                <a:gd name="connsiteX885" fmla="*/ 3803149 w 6386648"/>
                <a:gd name="connsiteY885" fmla="*/ 978247 h 1849426"/>
                <a:gd name="connsiteX886" fmla="*/ 3821174 w 6386648"/>
                <a:gd name="connsiteY886" fmla="*/ 996272 h 1849426"/>
                <a:gd name="connsiteX887" fmla="*/ 3803149 w 6386648"/>
                <a:gd name="connsiteY887" fmla="*/ 1014296 h 1849426"/>
                <a:gd name="connsiteX888" fmla="*/ 3785125 w 6386648"/>
                <a:gd name="connsiteY888" fmla="*/ 996272 h 1849426"/>
                <a:gd name="connsiteX889" fmla="*/ 3803149 w 6386648"/>
                <a:gd name="connsiteY889" fmla="*/ 978247 h 1849426"/>
                <a:gd name="connsiteX890" fmla="*/ 1003358 w 6386648"/>
                <a:gd name="connsiteY890" fmla="*/ 978247 h 1849426"/>
                <a:gd name="connsiteX891" fmla="*/ 1021383 w 6386648"/>
                <a:gd name="connsiteY891" fmla="*/ 996272 h 1849426"/>
                <a:gd name="connsiteX892" fmla="*/ 1003358 w 6386648"/>
                <a:gd name="connsiteY892" fmla="*/ 1014296 h 1849426"/>
                <a:gd name="connsiteX893" fmla="*/ 985334 w 6386648"/>
                <a:gd name="connsiteY893" fmla="*/ 996272 h 1849426"/>
                <a:gd name="connsiteX894" fmla="*/ 1003358 w 6386648"/>
                <a:gd name="connsiteY894" fmla="*/ 978247 h 1849426"/>
                <a:gd name="connsiteX895" fmla="*/ 3196327 w 6386648"/>
                <a:gd name="connsiteY895" fmla="*/ 972238 h 1849426"/>
                <a:gd name="connsiteX896" fmla="*/ 3214352 w 6386648"/>
                <a:gd name="connsiteY896" fmla="*/ 990262 h 1849426"/>
                <a:gd name="connsiteX897" fmla="*/ 3196327 w 6386648"/>
                <a:gd name="connsiteY897" fmla="*/ 1008287 h 1849426"/>
                <a:gd name="connsiteX898" fmla="*/ 3178302 w 6386648"/>
                <a:gd name="connsiteY898" fmla="*/ 990262 h 1849426"/>
                <a:gd name="connsiteX899" fmla="*/ 3196327 w 6386648"/>
                <a:gd name="connsiteY899" fmla="*/ 972238 h 1849426"/>
                <a:gd name="connsiteX900" fmla="*/ 1183602 w 6386648"/>
                <a:gd name="connsiteY900" fmla="*/ 972238 h 1849426"/>
                <a:gd name="connsiteX901" fmla="*/ 1201627 w 6386648"/>
                <a:gd name="connsiteY901" fmla="*/ 990262 h 1849426"/>
                <a:gd name="connsiteX902" fmla="*/ 1183602 w 6386648"/>
                <a:gd name="connsiteY902" fmla="*/ 1008287 h 1849426"/>
                <a:gd name="connsiteX903" fmla="*/ 1165578 w 6386648"/>
                <a:gd name="connsiteY903" fmla="*/ 990262 h 1849426"/>
                <a:gd name="connsiteX904" fmla="*/ 1183602 w 6386648"/>
                <a:gd name="connsiteY904" fmla="*/ 972238 h 1849426"/>
                <a:gd name="connsiteX905" fmla="*/ 2271074 w 6386648"/>
                <a:gd name="connsiteY905" fmla="*/ 960222 h 1849426"/>
                <a:gd name="connsiteX906" fmla="*/ 2289099 w 6386648"/>
                <a:gd name="connsiteY906" fmla="*/ 978246 h 1849426"/>
                <a:gd name="connsiteX907" fmla="*/ 2271074 w 6386648"/>
                <a:gd name="connsiteY907" fmla="*/ 996271 h 1849426"/>
                <a:gd name="connsiteX908" fmla="*/ 2253050 w 6386648"/>
                <a:gd name="connsiteY908" fmla="*/ 978246 h 1849426"/>
                <a:gd name="connsiteX909" fmla="*/ 2271074 w 6386648"/>
                <a:gd name="connsiteY909" fmla="*/ 960222 h 1849426"/>
                <a:gd name="connsiteX910" fmla="*/ 1658245 w 6386648"/>
                <a:gd name="connsiteY910" fmla="*/ 960222 h 1849426"/>
                <a:gd name="connsiteX911" fmla="*/ 1676270 w 6386648"/>
                <a:gd name="connsiteY911" fmla="*/ 978246 h 1849426"/>
                <a:gd name="connsiteX912" fmla="*/ 1658245 w 6386648"/>
                <a:gd name="connsiteY912" fmla="*/ 996271 h 1849426"/>
                <a:gd name="connsiteX913" fmla="*/ 1640221 w 6386648"/>
                <a:gd name="connsiteY913" fmla="*/ 978246 h 1849426"/>
                <a:gd name="connsiteX914" fmla="*/ 1658245 w 6386648"/>
                <a:gd name="connsiteY914" fmla="*/ 960222 h 1849426"/>
                <a:gd name="connsiteX915" fmla="*/ 1958651 w 6386648"/>
                <a:gd name="connsiteY915" fmla="*/ 954214 h 1849426"/>
                <a:gd name="connsiteX916" fmla="*/ 1976676 w 6386648"/>
                <a:gd name="connsiteY916" fmla="*/ 972238 h 1849426"/>
                <a:gd name="connsiteX917" fmla="*/ 1958651 w 6386648"/>
                <a:gd name="connsiteY917" fmla="*/ 990263 h 1849426"/>
                <a:gd name="connsiteX918" fmla="*/ 1940627 w 6386648"/>
                <a:gd name="connsiteY918" fmla="*/ 972238 h 1849426"/>
                <a:gd name="connsiteX919" fmla="*/ 1958651 w 6386648"/>
                <a:gd name="connsiteY919" fmla="*/ 954214 h 1849426"/>
                <a:gd name="connsiteX920" fmla="*/ 2631562 w 6386648"/>
                <a:gd name="connsiteY920" fmla="*/ 948206 h 1849426"/>
                <a:gd name="connsiteX921" fmla="*/ 2649587 w 6386648"/>
                <a:gd name="connsiteY921" fmla="*/ 966231 h 1849426"/>
                <a:gd name="connsiteX922" fmla="*/ 2631562 w 6386648"/>
                <a:gd name="connsiteY922" fmla="*/ 984255 h 1849426"/>
                <a:gd name="connsiteX923" fmla="*/ 2613538 w 6386648"/>
                <a:gd name="connsiteY923" fmla="*/ 966231 h 1849426"/>
                <a:gd name="connsiteX924" fmla="*/ 2631562 w 6386648"/>
                <a:gd name="connsiteY924" fmla="*/ 948206 h 1849426"/>
                <a:gd name="connsiteX925" fmla="*/ 1838489 w 6386648"/>
                <a:gd name="connsiteY925" fmla="*/ 948206 h 1849426"/>
                <a:gd name="connsiteX926" fmla="*/ 1856514 w 6386648"/>
                <a:gd name="connsiteY926" fmla="*/ 966231 h 1849426"/>
                <a:gd name="connsiteX927" fmla="*/ 1838489 w 6386648"/>
                <a:gd name="connsiteY927" fmla="*/ 984255 h 1849426"/>
                <a:gd name="connsiteX928" fmla="*/ 1820465 w 6386648"/>
                <a:gd name="connsiteY928" fmla="*/ 966231 h 1849426"/>
                <a:gd name="connsiteX929" fmla="*/ 1838489 w 6386648"/>
                <a:gd name="connsiteY929" fmla="*/ 948206 h 1849426"/>
                <a:gd name="connsiteX930" fmla="*/ 3430644 w 6386648"/>
                <a:gd name="connsiteY930" fmla="*/ 942198 h 1849426"/>
                <a:gd name="connsiteX931" fmla="*/ 3448669 w 6386648"/>
                <a:gd name="connsiteY931" fmla="*/ 960222 h 1849426"/>
                <a:gd name="connsiteX932" fmla="*/ 3430644 w 6386648"/>
                <a:gd name="connsiteY932" fmla="*/ 978247 h 1849426"/>
                <a:gd name="connsiteX933" fmla="*/ 3412620 w 6386648"/>
                <a:gd name="connsiteY933" fmla="*/ 960222 h 1849426"/>
                <a:gd name="connsiteX934" fmla="*/ 3430644 w 6386648"/>
                <a:gd name="connsiteY934" fmla="*/ 942198 h 1849426"/>
                <a:gd name="connsiteX935" fmla="*/ 2529424 w 6386648"/>
                <a:gd name="connsiteY935" fmla="*/ 942198 h 1849426"/>
                <a:gd name="connsiteX936" fmla="*/ 2547449 w 6386648"/>
                <a:gd name="connsiteY936" fmla="*/ 960222 h 1849426"/>
                <a:gd name="connsiteX937" fmla="*/ 2529424 w 6386648"/>
                <a:gd name="connsiteY937" fmla="*/ 978247 h 1849426"/>
                <a:gd name="connsiteX938" fmla="*/ 2511400 w 6386648"/>
                <a:gd name="connsiteY938" fmla="*/ 960222 h 1849426"/>
                <a:gd name="connsiteX939" fmla="*/ 2529424 w 6386648"/>
                <a:gd name="connsiteY939" fmla="*/ 942198 h 1849426"/>
                <a:gd name="connsiteX940" fmla="*/ 889203 w 6386648"/>
                <a:gd name="connsiteY940" fmla="*/ 942198 h 1849426"/>
                <a:gd name="connsiteX941" fmla="*/ 907228 w 6386648"/>
                <a:gd name="connsiteY941" fmla="*/ 960222 h 1849426"/>
                <a:gd name="connsiteX942" fmla="*/ 889203 w 6386648"/>
                <a:gd name="connsiteY942" fmla="*/ 978247 h 1849426"/>
                <a:gd name="connsiteX943" fmla="*/ 871179 w 6386648"/>
                <a:gd name="connsiteY943" fmla="*/ 960222 h 1849426"/>
                <a:gd name="connsiteX944" fmla="*/ 889203 w 6386648"/>
                <a:gd name="connsiteY944" fmla="*/ 942198 h 1849426"/>
                <a:gd name="connsiteX945" fmla="*/ 3935328 w 6386648"/>
                <a:gd name="connsiteY945" fmla="*/ 936190 h 1849426"/>
                <a:gd name="connsiteX946" fmla="*/ 3953353 w 6386648"/>
                <a:gd name="connsiteY946" fmla="*/ 954214 h 1849426"/>
                <a:gd name="connsiteX947" fmla="*/ 3935328 w 6386648"/>
                <a:gd name="connsiteY947" fmla="*/ 972239 h 1849426"/>
                <a:gd name="connsiteX948" fmla="*/ 3917304 w 6386648"/>
                <a:gd name="connsiteY948" fmla="*/ 954214 h 1849426"/>
                <a:gd name="connsiteX949" fmla="*/ 3935328 w 6386648"/>
                <a:gd name="connsiteY949" fmla="*/ 936190 h 1849426"/>
                <a:gd name="connsiteX950" fmla="*/ 1303765 w 6386648"/>
                <a:gd name="connsiteY950" fmla="*/ 936190 h 1849426"/>
                <a:gd name="connsiteX951" fmla="*/ 1321790 w 6386648"/>
                <a:gd name="connsiteY951" fmla="*/ 954214 h 1849426"/>
                <a:gd name="connsiteX952" fmla="*/ 1303765 w 6386648"/>
                <a:gd name="connsiteY952" fmla="*/ 972239 h 1849426"/>
                <a:gd name="connsiteX953" fmla="*/ 1285741 w 6386648"/>
                <a:gd name="connsiteY953" fmla="*/ 954214 h 1849426"/>
                <a:gd name="connsiteX954" fmla="*/ 1303765 w 6386648"/>
                <a:gd name="connsiteY954" fmla="*/ 936190 h 1849426"/>
                <a:gd name="connsiteX955" fmla="*/ 600813 w 6386648"/>
                <a:gd name="connsiteY955" fmla="*/ 924173 h 1849426"/>
                <a:gd name="connsiteX956" fmla="*/ 618838 w 6386648"/>
                <a:gd name="connsiteY956" fmla="*/ 942197 h 1849426"/>
                <a:gd name="connsiteX957" fmla="*/ 600813 w 6386648"/>
                <a:gd name="connsiteY957" fmla="*/ 960222 h 1849426"/>
                <a:gd name="connsiteX958" fmla="*/ 582789 w 6386648"/>
                <a:gd name="connsiteY958" fmla="*/ 942197 h 1849426"/>
                <a:gd name="connsiteX959" fmla="*/ 600813 w 6386648"/>
                <a:gd name="connsiteY959" fmla="*/ 924173 h 1849426"/>
                <a:gd name="connsiteX960" fmla="*/ 3088181 w 6386648"/>
                <a:gd name="connsiteY960" fmla="*/ 918165 h 1849426"/>
                <a:gd name="connsiteX961" fmla="*/ 3106206 w 6386648"/>
                <a:gd name="connsiteY961" fmla="*/ 936190 h 1849426"/>
                <a:gd name="connsiteX962" fmla="*/ 3088181 w 6386648"/>
                <a:gd name="connsiteY962" fmla="*/ 954214 h 1849426"/>
                <a:gd name="connsiteX963" fmla="*/ 3070157 w 6386648"/>
                <a:gd name="connsiteY963" fmla="*/ 936190 h 1849426"/>
                <a:gd name="connsiteX964" fmla="*/ 3088181 w 6386648"/>
                <a:gd name="connsiteY964" fmla="*/ 918165 h 1849426"/>
                <a:gd name="connsiteX965" fmla="*/ 2883904 w 6386648"/>
                <a:gd name="connsiteY965" fmla="*/ 918165 h 1849426"/>
                <a:gd name="connsiteX966" fmla="*/ 2901929 w 6386648"/>
                <a:gd name="connsiteY966" fmla="*/ 936190 h 1849426"/>
                <a:gd name="connsiteX967" fmla="*/ 2883904 w 6386648"/>
                <a:gd name="connsiteY967" fmla="*/ 954214 h 1849426"/>
                <a:gd name="connsiteX968" fmla="*/ 2865880 w 6386648"/>
                <a:gd name="connsiteY968" fmla="*/ 936190 h 1849426"/>
                <a:gd name="connsiteX969" fmla="*/ 2883904 w 6386648"/>
                <a:gd name="connsiteY969" fmla="*/ 918165 h 1849426"/>
                <a:gd name="connsiteX970" fmla="*/ 2379221 w 6386648"/>
                <a:gd name="connsiteY970" fmla="*/ 918165 h 1849426"/>
                <a:gd name="connsiteX971" fmla="*/ 2397246 w 6386648"/>
                <a:gd name="connsiteY971" fmla="*/ 936190 h 1849426"/>
                <a:gd name="connsiteX972" fmla="*/ 2379221 w 6386648"/>
                <a:gd name="connsiteY972" fmla="*/ 954214 h 1849426"/>
                <a:gd name="connsiteX973" fmla="*/ 2361197 w 6386648"/>
                <a:gd name="connsiteY973" fmla="*/ 936190 h 1849426"/>
                <a:gd name="connsiteX974" fmla="*/ 2379221 w 6386648"/>
                <a:gd name="connsiteY974" fmla="*/ 918165 h 1849426"/>
                <a:gd name="connsiteX975" fmla="*/ 2120871 w 6386648"/>
                <a:gd name="connsiteY975" fmla="*/ 918165 h 1849426"/>
                <a:gd name="connsiteX976" fmla="*/ 2138896 w 6386648"/>
                <a:gd name="connsiteY976" fmla="*/ 936190 h 1849426"/>
                <a:gd name="connsiteX977" fmla="*/ 2120871 w 6386648"/>
                <a:gd name="connsiteY977" fmla="*/ 954214 h 1849426"/>
                <a:gd name="connsiteX978" fmla="*/ 2102847 w 6386648"/>
                <a:gd name="connsiteY978" fmla="*/ 936190 h 1849426"/>
                <a:gd name="connsiteX979" fmla="*/ 2120871 w 6386648"/>
                <a:gd name="connsiteY979" fmla="*/ 918165 h 1849426"/>
                <a:gd name="connsiteX980" fmla="*/ 3328506 w 6386648"/>
                <a:gd name="connsiteY980" fmla="*/ 906149 h 1849426"/>
                <a:gd name="connsiteX981" fmla="*/ 3346531 w 6386648"/>
                <a:gd name="connsiteY981" fmla="*/ 924173 h 1849426"/>
                <a:gd name="connsiteX982" fmla="*/ 3328506 w 6386648"/>
                <a:gd name="connsiteY982" fmla="*/ 942198 h 1849426"/>
                <a:gd name="connsiteX983" fmla="*/ 3310482 w 6386648"/>
                <a:gd name="connsiteY983" fmla="*/ 924173 h 1849426"/>
                <a:gd name="connsiteX984" fmla="*/ 3328506 w 6386648"/>
                <a:gd name="connsiteY984" fmla="*/ 906149 h 1849426"/>
                <a:gd name="connsiteX985" fmla="*/ 1508041 w 6386648"/>
                <a:gd name="connsiteY985" fmla="*/ 900141 h 1849426"/>
                <a:gd name="connsiteX986" fmla="*/ 1526066 w 6386648"/>
                <a:gd name="connsiteY986" fmla="*/ 918165 h 1849426"/>
                <a:gd name="connsiteX987" fmla="*/ 1508041 w 6386648"/>
                <a:gd name="connsiteY987" fmla="*/ 936190 h 1849426"/>
                <a:gd name="connsiteX988" fmla="*/ 1490017 w 6386648"/>
                <a:gd name="connsiteY988" fmla="*/ 918165 h 1849426"/>
                <a:gd name="connsiteX989" fmla="*/ 1508041 w 6386648"/>
                <a:gd name="connsiteY989" fmla="*/ 900141 h 1849426"/>
                <a:gd name="connsiteX990" fmla="*/ 2739709 w 6386648"/>
                <a:gd name="connsiteY990" fmla="*/ 894133 h 1849426"/>
                <a:gd name="connsiteX991" fmla="*/ 2757734 w 6386648"/>
                <a:gd name="connsiteY991" fmla="*/ 912157 h 1849426"/>
                <a:gd name="connsiteX992" fmla="*/ 2739709 w 6386648"/>
                <a:gd name="connsiteY992" fmla="*/ 930182 h 1849426"/>
                <a:gd name="connsiteX993" fmla="*/ 2721685 w 6386648"/>
                <a:gd name="connsiteY993" fmla="*/ 912157 h 1849426"/>
                <a:gd name="connsiteX994" fmla="*/ 2739709 w 6386648"/>
                <a:gd name="connsiteY994" fmla="*/ 894133 h 1849426"/>
                <a:gd name="connsiteX995" fmla="*/ 360487 w 6386648"/>
                <a:gd name="connsiteY995" fmla="*/ 894133 h 1849426"/>
                <a:gd name="connsiteX996" fmla="*/ 378512 w 6386648"/>
                <a:gd name="connsiteY996" fmla="*/ 912157 h 1849426"/>
                <a:gd name="connsiteX997" fmla="*/ 360487 w 6386648"/>
                <a:gd name="connsiteY997" fmla="*/ 930182 h 1849426"/>
                <a:gd name="connsiteX998" fmla="*/ 342463 w 6386648"/>
                <a:gd name="connsiteY998" fmla="*/ 912157 h 1849426"/>
                <a:gd name="connsiteX999" fmla="*/ 360487 w 6386648"/>
                <a:gd name="connsiteY999" fmla="*/ 894133 h 1849426"/>
                <a:gd name="connsiteX1000" fmla="*/ 1093480 w 6386648"/>
                <a:gd name="connsiteY1000" fmla="*/ 888125 h 1849426"/>
                <a:gd name="connsiteX1001" fmla="*/ 1111505 w 6386648"/>
                <a:gd name="connsiteY1001" fmla="*/ 906150 h 1849426"/>
                <a:gd name="connsiteX1002" fmla="*/ 1093480 w 6386648"/>
                <a:gd name="connsiteY1002" fmla="*/ 924174 h 1849426"/>
                <a:gd name="connsiteX1003" fmla="*/ 1075456 w 6386648"/>
                <a:gd name="connsiteY1003" fmla="*/ 906150 h 1849426"/>
                <a:gd name="connsiteX1004" fmla="*/ 1093480 w 6386648"/>
                <a:gd name="connsiteY1004" fmla="*/ 888125 h 1849426"/>
                <a:gd name="connsiteX1005" fmla="*/ 3707019 w 6386648"/>
                <a:gd name="connsiteY1005" fmla="*/ 882116 h 1849426"/>
                <a:gd name="connsiteX1006" fmla="*/ 3725044 w 6386648"/>
                <a:gd name="connsiteY1006" fmla="*/ 900140 h 1849426"/>
                <a:gd name="connsiteX1007" fmla="*/ 3707019 w 6386648"/>
                <a:gd name="connsiteY1007" fmla="*/ 918165 h 1849426"/>
                <a:gd name="connsiteX1008" fmla="*/ 3688994 w 6386648"/>
                <a:gd name="connsiteY1008" fmla="*/ 900140 h 1849426"/>
                <a:gd name="connsiteX1009" fmla="*/ 3707019 w 6386648"/>
                <a:gd name="connsiteY1009" fmla="*/ 882116 h 1849426"/>
                <a:gd name="connsiteX1010" fmla="*/ 1742358 w 6386648"/>
                <a:gd name="connsiteY1010" fmla="*/ 882116 h 1849426"/>
                <a:gd name="connsiteX1011" fmla="*/ 1760383 w 6386648"/>
                <a:gd name="connsiteY1011" fmla="*/ 900140 h 1849426"/>
                <a:gd name="connsiteX1012" fmla="*/ 1742358 w 6386648"/>
                <a:gd name="connsiteY1012" fmla="*/ 918165 h 1849426"/>
                <a:gd name="connsiteX1013" fmla="*/ 1724334 w 6386648"/>
                <a:gd name="connsiteY1013" fmla="*/ 900140 h 1849426"/>
                <a:gd name="connsiteX1014" fmla="*/ 1742358 w 6386648"/>
                <a:gd name="connsiteY1014" fmla="*/ 882116 h 1849426"/>
                <a:gd name="connsiteX1015" fmla="*/ 757024 w 6386648"/>
                <a:gd name="connsiteY1015" fmla="*/ 876108 h 1849426"/>
                <a:gd name="connsiteX1016" fmla="*/ 775049 w 6386648"/>
                <a:gd name="connsiteY1016" fmla="*/ 894132 h 1849426"/>
                <a:gd name="connsiteX1017" fmla="*/ 757024 w 6386648"/>
                <a:gd name="connsiteY1017" fmla="*/ 912157 h 1849426"/>
                <a:gd name="connsiteX1018" fmla="*/ 739000 w 6386648"/>
                <a:gd name="connsiteY1018" fmla="*/ 894132 h 1849426"/>
                <a:gd name="connsiteX1019" fmla="*/ 757024 w 6386648"/>
                <a:gd name="connsiteY1019" fmla="*/ 876108 h 1849426"/>
                <a:gd name="connsiteX1020" fmla="*/ 6104265 w 6386648"/>
                <a:gd name="connsiteY1020" fmla="*/ 870100 h 1849426"/>
                <a:gd name="connsiteX1021" fmla="*/ 6122290 w 6386648"/>
                <a:gd name="connsiteY1021" fmla="*/ 888124 h 1849426"/>
                <a:gd name="connsiteX1022" fmla="*/ 6104265 w 6386648"/>
                <a:gd name="connsiteY1022" fmla="*/ 906149 h 1849426"/>
                <a:gd name="connsiteX1023" fmla="*/ 6086241 w 6386648"/>
                <a:gd name="connsiteY1023" fmla="*/ 888124 h 1849426"/>
                <a:gd name="connsiteX1024" fmla="*/ 6104265 w 6386648"/>
                <a:gd name="connsiteY1024" fmla="*/ 870100 h 1849426"/>
                <a:gd name="connsiteX1025" fmla="*/ 474642 w 6386648"/>
                <a:gd name="connsiteY1025" fmla="*/ 870100 h 1849426"/>
                <a:gd name="connsiteX1026" fmla="*/ 492667 w 6386648"/>
                <a:gd name="connsiteY1026" fmla="*/ 888124 h 1849426"/>
                <a:gd name="connsiteX1027" fmla="*/ 474642 w 6386648"/>
                <a:gd name="connsiteY1027" fmla="*/ 906149 h 1849426"/>
                <a:gd name="connsiteX1028" fmla="*/ 456618 w 6386648"/>
                <a:gd name="connsiteY1028" fmla="*/ 888124 h 1849426"/>
                <a:gd name="connsiteX1029" fmla="*/ 474642 w 6386648"/>
                <a:gd name="connsiteY1029" fmla="*/ 870100 h 1849426"/>
                <a:gd name="connsiteX1030" fmla="*/ 3568832 w 6386648"/>
                <a:gd name="connsiteY1030" fmla="*/ 864092 h 1849426"/>
                <a:gd name="connsiteX1031" fmla="*/ 3586857 w 6386648"/>
                <a:gd name="connsiteY1031" fmla="*/ 882116 h 1849426"/>
                <a:gd name="connsiteX1032" fmla="*/ 3568832 w 6386648"/>
                <a:gd name="connsiteY1032" fmla="*/ 900141 h 1849426"/>
                <a:gd name="connsiteX1033" fmla="*/ 3550808 w 6386648"/>
                <a:gd name="connsiteY1033" fmla="*/ 882116 h 1849426"/>
                <a:gd name="connsiteX1034" fmla="*/ 3568832 w 6386648"/>
                <a:gd name="connsiteY1034" fmla="*/ 864092 h 1849426"/>
                <a:gd name="connsiteX1035" fmla="*/ 2980034 w 6386648"/>
                <a:gd name="connsiteY1035" fmla="*/ 864092 h 1849426"/>
                <a:gd name="connsiteX1036" fmla="*/ 2998059 w 6386648"/>
                <a:gd name="connsiteY1036" fmla="*/ 882116 h 1849426"/>
                <a:gd name="connsiteX1037" fmla="*/ 2980034 w 6386648"/>
                <a:gd name="connsiteY1037" fmla="*/ 900141 h 1849426"/>
                <a:gd name="connsiteX1038" fmla="*/ 2962010 w 6386648"/>
                <a:gd name="connsiteY1038" fmla="*/ 882116 h 1849426"/>
                <a:gd name="connsiteX1039" fmla="*/ 2980034 w 6386648"/>
                <a:gd name="connsiteY1039" fmla="*/ 864092 h 1849426"/>
                <a:gd name="connsiteX1040" fmla="*/ 2012725 w 6386648"/>
                <a:gd name="connsiteY1040" fmla="*/ 864092 h 1849426"/>
                <a:gd name="connsiteX1041" fmla="*/ 2030750 w 6386648"/>
                <a:gd name="connsiteY1041" fmla="*/ 882116 h 1849426"/>
                <a:gd name="connsiteX1042" fmla="*/ 2012725 w 6386648"/>
                <a:gd name="connsiteY1042" fmla="*/ 900141 h 1849426"/>
                <a:gd name="connsiteX1043" fmla="*/ 1994701 w 6386648"/>
                <a:gd name="connsiteY1043" fmla="*/ 882116 h 1849426"/>
                <a:gd name="connsiteX1044" fmla="*/ 2012725 w 6386648"/>
                <a:gd name="connsiteY1044" fmla="*/ 864092 h 1849426"/>
                <a:gd name="connsiteX1045" fmla="*/ 3857222 w 6386648"/>
                <a:gd name="connsiteY1045" fmla="*/ 858084 h 1849426"/>
                <a:gd name="connsiteX1046" fmla="*/ 3875247 w 6386648"/>
                <a:gd name="connsiteY1046" fmla="*/ 876109 h 1849426"/>
                <a:gd name="connsiteX1047" fmla="*/ 3857222 w 6386648"/>
                <a:gd name="connsiteY1047" fmla="*/ 894133 h 1849426"/>
                <a:gd name="connsiteX1048" fmla="*/ 3839197 w 6386648"/>
                <a:gd name="connsiteY1048" fmla="*/ 876109 h 1849426"/>
                <a:gd name="connsiteX1049" fmla="*/ 3857222 w 6386648"/>
                <a:gd name="connsiteY1049" fmla="*/ 858084 h 1849426"/>
                <a:gd name="connsiteX1050" fmla="*/ 1387878 w 6386648"/>
                <a:gd name="connsiteY1050" fmla="*/ 858084 h 1849426"/>
                <a:gd name="connsiteX1051" fmla="*/ 1405903 w 6386648"/>
                <a:gd name="connsiteY1051" fmla="*/ 876109 h 1849426"/>
                <a:gd name="connsiteX1052" fmla="*/ 1387878 w 6386648"/>
                <a:gd name="connsiteY1052" fmla="*/ 894133 h 1849426"/>
                <a:gd name="connsiteX1053" fmla="*/ 1369854 w 6386648"/>
                <a:gd name="connsiteY1053" fmla="*/ 876109 h 1849426"/>
                <a:gd name="connsiteX1054" fmla="*/ 1387878 w 6386648"/>
                <a:gd name="connsiteY1054" fmla="*/ 858084 h 1849426"/>
                <a:gd name="connsiteX1055" fmla="*/ 973317 w 6386648"/>
                <a:gd name="connsiteY1055" fmla="*/ 852076 h 1849426"/>
                <a:gd name="connsiteX1056" fmla="*/ 991342 w 6386648"/>
                <a:gd name="connsiteY1056" fmla="*/ 870100 h 1849426"/>
                <a:gd name="connsiteX1057" fmla="*/ 973317 w 6386648"/>
                <a:gd name="connsiteY1057" fmla="*/ 888125 h 1849426"/>
                <a:gd name="connsiteX1058" fmla="*/ 955293 w 6386648"/>
                <a:gd name="connsiteY1058" fmla="*/ 870100 h 1849426"/>
                <a:gd name="connsiteX1059" fmla="*/ 973317 w 6386648"/>
                <a:gd name="connsiteY1059" fmla="*/ 852076 h 1849426"/>
                <a:gd name="connsiteX1060" fmla="*/ 228308 w 6386648"/>
                <a:gd name="connsiteY1060" fmla="*/ 852076 h 1849426"/>
                <a:gd name="connsiteX1061" fmla="*/ 246333 w 6386648"/>
                <a:gd name="connsiteY1061" fmla="*/ 870100 h 1849426"/>
                <a:gd name="connsiteX1062" fmla="*/ 228308 w 6386648"/>
                <a:gd name="connsiteY1062" fmla="*/ 888125 h 1849426"/>
                <a:gd name="connsiteX1063" fmla="*/ 210284 w 6386648"/>
                <a:gd name="connsiteY1063" fmla="*/ 870100 h 1849426"/>
                <a:gd name="connsiteX1064" fmla="*/ 228308 w 6386648"/>
                <a:gd name="connsiteY1064" fmla="*/ 852076 h 1849426"/>
                <a:gd name="connsiteX1065" fmla="*/ 3196327 w 6386648"/>
                <a:gd name="connsiteY1065" fmla="*/ 846068 h 1849426"/>
                <a:gd name="connsiteX1066" fmla="*/ 3214352 w 6386648"/>
                <a:gd name="connsiteY1066" fmla="*/ 864092 h 1849426"/>
                <a:gd name="connsiteX1067" fmla="*/ 3196327 w 6386648"/>
                <a:gd name="connsiteY1067" fmla="*/ 882117 h 1849426"/>
                <a:gd name="connsiteX1068" fmla="*/ 3178302 w 6386648"/>
                <a:gd name="connsiteY1068" fmla="*/ 864092 h 1849426"/>
                <a:gd name="connsiteX1069" fmla="*/ 3196327 w 6386648"/>
                <a:gd name="connsiteY1069" fmla="*/ 846068 h 1849426"/>
                <a:gd name="connsiteX1070" fmla="*/ 6218419 w 6386648"/>
                <a:gd name="connsiteY1070" fmla="*/ 840059 h 1849426"/>
                <a:gd name="connsiteX1071" fmla="*/ 6236444 w 6386648"/>
                <a:gd name="connsiteY1071" fmla="*/ 858083 h 1849426"/>
                <a:gd name="connsiteX1072" fmla="*/ 6218419 w 6386648"/>
                <a:gd name="connsiteY1072" fmla="*/ 876108 h 1849426"/>
                <a:gd name="connsiteX1073" fmla="*/ 6200395 w 6386648"/>
                <a:gd name="connsiteY1073" fmla="*/ 858083 h 1849426"/>
                <a:gd name="connsiteX1074" fmla="*/ 6218419 w 6386648"/>
                <a:gd name="connsiteY1074" fmla="*/ 840059 h 1849426"/>
                <a:gd name="connsiteX1075" fmla="*/ 5978094 w 6386648"/>
                <a:gd name="connsiteY1075" fmla="*/ 834051 h 1849426"/>
                <a:gd name="connsiteX1076" fmla="*/ 5996119 w 6386648"/>
                <a:gd name="connsiteY1076" fmla="*/ 852075 h 1849426"/>
                <a:gd name="connsiteX1077" fmla="*/ 5978094 w 6386648"/>
                <a:gd name="connsiteY1077" fmla="*/ 870100 h 1849426"/>
                <a:gd name="connsiteX1078" fmla="*/ 5960070 w 6386648"/>
                <a:gd name="connsiteY1078" fmla="*/ 852075 h 1849426"/>
                <a:gd name="connsiteX1079" fmla="*/ 5978094 w 6386648"/>
                <a:gd name="connsiteY1079" fmla="*/ 834051 h 1849426"/>
                <a:gd name="connsiteX1080" fmla="*/ 2198977 w 6386648"/>
                <a:gd name="connsiteY1080" fmla="*/ 834051 h 1849426"/>
                <a:gd name="connsiteX1081" fmla="*/ 2217002 w 6386648"/>
                <a:gd name="connsiteY1081" fmla="*/ 852075 h 1849426"/>
                <a:gd name="connsiteX1082" fmla="*/ 2198977 w 6386648"/>
                <a:gd name="connsiteY1082" fmla="*/ 870100 h 1849426"/>
                <a:gd name="connsiteX1083" fmla="*/ 2180953 w 6386648"/>
                <a:gd name="connsiteY1083" fmla="*/ 852075 h 1849426"/>
                <a:gd name="connsiteX1084" fmla="*/ 2198977 w 6386648"/>
                <a:gd name="connsiteY1084" fmla="*/ 834051 h 1849426"/>
                <a:gd name="connsiteX1085" fmla="*/ 1622196 w 6386648"/>
                <a:gd name="connsiteY1085" fmla="*/ 834051 h 1849426"/>
                <a:gd name="connsiteX1086" fmla="*/ 1640221 w 6386648"/>
                <a:gd name="connsiteY1086" fmla="*/ 852075 h 1849426"/>
                <a:gd name="connsiteX1087" fmla="*/ 1622196 w 6386648"/>
                <a:gd name="connsiteY1087" fmla="*/ 870100 h 1849426"/>
                <a:gd name="connsiteX1088" fmla="*/ 1604172 w 6386648"/>
                <a:gd name="connsiteY1088" fmla="*/ 852075 h 1849426"/>
                <a:gd name="connsiteX1089" fmla="*/ 1622196 w 6386648"/>
                <a:gd name="connsiteY1089" fmla="*/ 834051 h 1849426"/>
                <a:gd name="connsiteX1090" fmla="*/ 1201626 w 6386648"/>
                <a:gd name="connsiteY1090" fmla="*/ 834051 h 1849426"/>
                <a:gd name="connsiteX1091" fmla="*/ 1219651 w 6386648"/>
                <a:gd name="connsiteY1091" fmla="*/ 852075 h 1849426"/>
                <a:gd name="connsiteX1092" fmla="*/ 1201626 w 6386648"/>
                <a:gd name="connsiteY1092" fmla="*/ 870100 h 1849426"/>
                <a:gd name="connsiteX1093" fmla="*/ 1183602 w 6386648"/>
                <a:gd name="connsiteY1093" fmla="*/ 852075 h 1849426"/>
                <a:gd name="connsiteX1094" fmla="*/ 1201626 w 6386648"/>
                <a:gd name="connsiteY1094" fmla="*/ 834051 h 1849426"/>
                <a:gd name="connsiteX1095" fmla="*/ 2469343 w 6386648"/>
                <a:gd name="connsiteY1095" fmla="*/ 828043 h 1849426"/>
                <a:gd name="connsiteX1096" fmla="*/ 2487368 w 6386648"/>
                <a:gd name="connsiteY1096" fmla="*/ 846068 h 1849426"/>
                <a:gd name="connsiteX1097" fmla="*/ 2469343 w 6386648"/>
                <a:gd name="connsiteY1097" fmla="*/ 864092 h 1849426"/>
                <a:gd name="connsiteX1098" fmla="*/ 2451319 w 6386648"/>
                <a:gd name="connsiteY1098" fmla="*/ 846068 h 1849426"/>
                <a:gd name="connsiteX1099" fmla="*/ 2469343 w 6386648"/>
                <a:gd name="connsiteY1099" fmla="*/ 828043 h 1849426"/>
                <a:gd name="connsiteX1100" fmla="*/ 3448669 w 6386648"/>
                <a:gd name="connsiteY1100" fmla="*/ 822035 h 1849426"/>
                <a:gd name="connsiteX1101" fmla="*/ 3466694 w 6386648"/>
                <a:gd name="connsiteY1101" fmla="*/ 840059 h 1849426"/>
                <a:gd name="connsiteX1102" fmla="*/ 3448669 w 6386648"/>
                <a:gd name="connsiteY1102" fmla="*/ 858084 h 1849426"/>
                <a:gd name="connsiteX1103" fmla="*/ 3430645 w 6386648"/>
                <a:gd name="connsiteY1103" fmla="*/ 840059 h 1849426"/>
                <a:gd name="connsiteX1104" fmla="*/ 3448669 w 6386648"/>
                <a:gd name="connsiteY1104" fmla="*/ 822035 h 1849426"/>
                <a:gd name="connsiteX1105" fmla="*/ 1874537 w 6386648"/>
                <a:gd name="connsiteY1105" fmla="*/ 822035 h 1849426"/>
                <a:gd name="connsiteX1106" fmla="*/ 1892562 w 6386648"/>
                <a:gd name="connsiteY1106" fmla="*/ 840059 h 1849426"/>
                <a:gd name="connsiteX1107" fmla="*/ 1874537 w 6386648"/>
                <a:gd name="connsiteY1107" fmla="*/ 858084 h 1849426"/>
                <a:gd name="connsiteX1108" fmla="*/ 1856513 w 6386648"/>
                <a:gd name="connsiteY1108" fmla="*/ 840059 h 1849426"/>
                <a:gd name="connsiteX1109" fmla="*/ 1874537 w 6386648"/>
                <a:gd name="connsiteY1109" fmla="*/ 822035 h 1849426"/>
                <a:gd name="connsiteX1110" fmla="*/ 2823823 w 6386648"/>
                <a:gd name="connsiteY1110" fmla="*/ 816027 h 1849426"/>
                <a:gd name="connsiteX1111" fmla="*/ 2841848 w 6386648"/>
                <a:gd name="connsiteY1111" fmla="*/ 834051 h 1849426"/>
                <a:gd name="connsiteX1112" fmla="*/ 2823823 w 6386648"/>
                <a:gd name="connsiteY1112" fmla="*/ 852076 h 1849426"/>
                <a:gd name="connsiteX1113" fmla="*/ 2805799 w 6386648"/>
                <a:gd name="connsiteY1113" fmla="*/ 834051 h 1849426"/>
                <a:gd name="connsiteX1114" fmla="*/ 2823823 w 6386648"/>
                <a:gd name="connsiteY1114" fmla="*/ 816027 h 1849426"/>
                <a:gd name="connsiteX1115" fmla="*/ 2595514 w 6386648"/>
                <a:gd name="connsiteY1115" fmla="*/ 816027 h 1849426"/>
                <a:gd name="connsiteX1116" fmla="*/ 2613539 w 6386648"/>
                <a:gd name="connsiteY1116" fmla="*/ 834051 h 1849426"/>
                <a:gd name="connsiteX1117" fmla="*/ 2595514 w 6386648"/>
                <a:gd name="connsiteY1117" fmla="*/ 852076 h 1849426"/>
                <a:gd name="connsiteX1118" fmla="*/ 2577489 w 6386648"/>
                <a:gd name="connsiteY1118" fmla="*/ 834051 h 1849426"/>
                <a:gd name="connsiteX1119" fmla="*/ 2595514 w 6386648"/>
                <a:gd name="connsiteY1119" fmla="*/ 816027 h 1849426"/>
                <a:gd name="connsiteX1120" fmla="*/ 2307124 w 6386648"/>
                <a:gd name="connsiteY1120" fmla="*/ 816027 h 1849426"/>
                <a:gd name="connsiteX1121" fmla="*/ 2325148 w 6386648"/>
                <a:gd name="connsiteY1121" fmla="*/ 834051 h 1849426"/>
                <a:gd name="connsiteX1122" fmla="*/ 2307124 w 6386648"/>
                <a:gd name="connsiteY1122" fmla="*/ 852076 h 1849426"/>
                <a:gd name="connsiteX1123" fmla="*/ 2289099 w 6386648"/>
                <a:gd name="connsiteY1123" fmla="*/ 834051 h 1849426"/>
                <a:gd name="connsiteX1124" fmla="*/ 2307124 w 6386648"/>
                <a:gd name="connsiteY1124" fmla="*/ 816027 h 1849426"/>
                <a:gd name="connsiteX1125" fmla="*/ 606821 w 6386648"/>
                <a:gd name="connsiteY1125" fmla="*/ 816027 h 1849426"/>
                <a:gd name="connsiteX1126" fmla="*/ 624846 w 6386648"/>
                <a:gd name="connsiteY1126" fmla="*/ 834051 h 1849426"/>
                <a:gd name="connsiteX1127" fmla="*/ 606821 w 6386648"/>
                <a:gd name="connsiteY1127" fmla="*/ 852076 h 1849426"/>
                <a:gd name="connsiteX1128" fmla="*/ 588797 w 6386648"/>
                <a:gd name="connsiteY1128" fmla="*/ 834051 h 1849426"/>
                <a:gd name="connsiteX1129" fmla="*/ 606821 w 6386648"/>
                <a:gd name="connsiteY1129" fmla="*/ 816027 h 1849426"/>
                <a:gd name="connsiteX1130" fmla="*/ 3292457 w 6386648"/>
                <a:gd name="connsiteY1130" fmla="*/ 791994 h 1849426"/>
                <a:gd name="connsiteX1131" fmla="*/ 3310482 w 6386648"/>
                <a:gd name="connsiteY1131" fmla="*/ 810018 h 1849426"/>
                <a:gd name="connsiteX1132" fmla="*/ 3292457 w 6386648"/>
                <a:gd name="connsiteY1132" fmla="*/ 828043 h 1849426"/>
                <a:gd name="connsiteX1133" fmla="*/ 3274433 w 6386648"/>
                <a:gd name="connsiteY1133" fmla="*/ 810018 h 1849426"/>
                <a:gd name="connsiteX1134" fmla="*/ 3292457 w 6386648"/>
                <a:gd name="connsiteY1134" fmla="*/ 791994 h 1849426"/>
                <a:gd name="connsiteX1135" fmla="*/ 859163 w 6386648"/>
                <a:gd name="connsiteY1135" fmla="*/ 791994 h 1849426"/>
                <a:gd name="connsiteX1136" fmla="*/ 877188 w 6386648"/>
                <a:gd name="connsiteY1136" fmla="*/ 810018 h 1849426"/>
                <a:gd name="connsiteX1137" fmla="*/ 859163 w 6386648"/>
                <a:gd name="connsiteY1137" fmla="*/ 828043 h 1849426"/>
                <a:gd name="connsiteX1138" fmla="*/ 841139 w 6386648"/>
                <a:gd name="connsiteY1138" fmla="*/ 810018 h 1849426"/>
                <a:gd name="connsiteX1139" fmla="*/ 859163 w 6386648"/>
                <a:gd name="connsiteY1139" fmla="*/ 791994 h 1849426"/>
                <a:gd name="connsiteX1140" fmla="*/ 1297756 w 6386648"/>
                <a:gd name="connsiteY1140" fmla="*/ 785986 h 1849426"/>
                <a:gd name="connsiteX1141" fmla="*/ 1315781 w 6386648"/>
                <a:gd name="connsiteY1141" fmla="*/ 804010 h 1849426"/>
                <a:gd name="connsiteX1142" fmla="*/ 1297756 w 6386648"/>
                <a:gd name="connsiteY1142" fmla="*/ 822035 h 1849426"/>
                <a:gd name="connsiteX1143" fmla="*/ 1279732 w 6386648"/>
                <a:gd name="connsiteY1143" fmla="*/ 804010 h 1849426"/>
                <a:gd name="connsiteX1144" fmla="*/ 1297756 w 6386648"/>
                <a:gd name="connsiteY1144" fmla="*/ 785986 h 1849426"/>
                <a:gd name="connsiteX1145" fmla="*/ 324438 w 6386648"/>
                <a:gd name="connsiteY1145" fmla="*/ 785986 h 1849426"/>
                <a:gd name="connsiteX1146" fmla="*/ 342463 w 6386648"/>
                <a:gd name="connsiteY1146" fmla="*/ 804010 h 1849426"/>
                <a:gd name="connsiteX1147" fmla="*/ 324438 w 6386648"/>
                <a:gd name="connsiteY1147" fmla="*/ 822035 h 1849426"/>
                <a:gd name="connsiteX1148" fmla="*/ 306414 w 6386648"/>
                <a:gd name="connsiteY1148" fmla="*/ 804010 h 1849426"/>
                <a:gd name="connsiteX1149" fmla="*/ 324438 w 6386648"/>
                <a:gd name="connsiteY1149" fmla="*/ 785986 h 1849426"/>
                <a:gd name="connsiteX1150" fmla="*/ 3755084 w 6386648"/>
                <a:gd name="connsiteY1150" fmla="*/ 779978 h 1849426"/>
                <a:gd name="connsiteX1151" fmla="*/ 3773109 w 6386648"/>
                <a:gd name="connsiteY1151" fmla="*/ 798002 h 1849426"/>
                <a:gd name="connsiteX1152" fmla="*/ 3755084 w 6386648"/>
                <a:gd name="connsiteY1152" fmla="*/ 816027 h 1849426"/>
                <a:gd name="connsiteX1153" fmla="*/ 3737060 w 6386648"/>
                <a:gd name="connsiteY1153" fmla="*/ 798002 h 1849426"/>
                <a:gd name="connsiteX1154" fmla="*/ 3755084 w 6386648"/>
                <a:gd name="connsiteY1154" fmla="*/ 779978 h 1849426"/>
                <a:gd name="connsiteX1155" fmla="*/ 1496026 w 6386648"/>
                <a:gd name="connsiteY1155" fmla="*/ 779978 h 1849426"/>
                <a:gd name="connsiteX1156" fmla="*/ 1514050 w 6386648"/>
                <a:gd name="connsiteY1156" fmla="*/ 798002 h 1849426"/>
                <a:gd name="connsiteX1157" fmla="*/ 1496026 w 6386648"/>
                <a:gd name="connsiteY1157" fmla="*/ 816027 h 1849426"/>
                <a:gd name="connsiteX1158" fmla="*/ 1478001 w 6386648"/>
                <a:gd name="connsiteY1158" fmla="*/ 798002 h 1849426"/>
                <a:gd name="connsiteX1159" fmla="*/ 1496026 w 6386648"/>
                <a:gd name="connsiteY1159" fmla="*/ 779978 h 1849426"/>
                <a:gd name="connsiteX1160" fmla="*/ 3622905 w 6386648"/>
                <a:gd name="connsiteY1160" fmla="*/ 767962 h 1849426"/>
                <a:gd name="connsiteX1161" fmla="*/ 3640930 w 6386648"/>
                <a:gd name="connsiteY1161" fmla="*/ 785987 h 1849426"/>
                <a:gd name="connsiteX1162" fmla="*/ 3622905 w 6386648"/>
                <a:gd name="connsiteY1162" fmla="*/ 804011 h 1849426"/>
                <a:gd name="connsiteX1163" fmla="*/ 3604881 w 6386648"/>
                <a:gd name="connsiteY1163" fmla="*/ 785987 h 1849426"/>
                <a:gd name="connsiteX1164" fmla="*/ 3622905 w 6386648"/>
                <a:gd name="connsiteY1164" fmla="*/ 767962 h 1849426"/>
                <a:gd name="connsiteX1165" fmla="*/ 3112213 w 6386648"/>
                <a:gd name="connsiteY1165" fmla="*/ 767962 h 1849426"/>
                <a:gd name="connsiteX1166" fmla="*/ 3130238 w 6386648"/>
                <a:gd name="connsiteY1166" fmla="*/ 785987 h 1849426"/>
                <a:gd name="connsiteX1167" fmla="*/ 3112213 w 6386648"/>
                <a:gd name="connsiteY1167" fmla="*/ 804011 h 1849426"/>
                <a:gd name="connsiteX1168" fmla="*/ 3094189 w 6386648"/>
                <a:gd name="connsiteY1168" fmla="*/ 785987 h 1849426"/>
                <a:gd name="connsiteX1169" fmla="*/ 3112213 w 6386648"/>
                <a:gd name="connsiteY1169" fmla="*/ 767962 h 1849426"/>
                <a:gd name="connsiteX1170" fmla="*/ 714968 w 6386648"/>
                <a:gd name="connsiteY1170" fmla="*/ 767962 h 1849426"/>
                <a:gd name="connsiteX1171" fmla="*/ 732992 w 6386648"/>
                <a:gd name="connsiteY1171" fmla="*/ 785987 h 1849426"/>
                <a:gd name="connsiteX1172" fmla="*/ 714968 w 6386648"/>
                <a:gd name="connsiteY1172" fmla="*/ 804011 h 1849426"/>
                <a:gd name="connsiteX1173" fmla="*/ 696943 w 6386648"/>
                <a:gd name="connsiteY1173" fmla="*/ 785987 h 1849426"/>
                <a:gd name="connsiteX1174" fmla="*/ 714968 w 6386648"/>
                <a:gd name="connsiteY1174" fmla="*/ 767962 h 1849426"/>
                <a:gd name="connsiteX1175" fmla="*/ 2986042 w 6386648"/>
                <a:gd name="connsiteY1175" fmla="*/ 761954 h 1849426"/>
                <a:gd name="connsiteX1176" fmla="*/ 3004067 w 6386648"/>
                <a:gd name="connsiteY1176" fmla="*/ 779978 h 1849426"/>
                <a:gd name="connsiteX1177" fmla="*/ 2986042 w 6386648"/>
                <a:gd name="connsiteY1177" fmla="*/ 798003 h 1849426"/>
                <a:gd name="connsiteX1178" fmla="*/ 2968017 w 6386648"/>
                <a:gd name="connsiteY1178" fmla="*/ 779978 h 1849426"/>
                <a:gd name="connsiteX1179" fmla="*/ 2986042 w 6386648"/>
                <a:gd name="connsiteY1179" fmla="*/ 761954 h 1849426"/>
                <a:gd name="connsiteX1180" fmla="*/ 1736351 w 6386648"/>
                <a:gd name="connsiteY1180" fmla="*/ 761954 h 1849426"/>
                <a:gd name="connsiteX1181" fmla="*/ 1754375 w 6386648"/>
                <a:gd name="connsiteY1181" fmla="*/ 779978 h 1849426"/>
                <a:gd name="connsiteX1182" fmla="*/ 1736351 w 6386648"/>
                <a:gd name="connsiteY1182" fmla="*/ 798003 h 1849426"/>
                <a:gd name="connsiteX1183" fmla="*/ 1718326 w 6386648"/>
                <a:gd name="connsiteY1183" fmla="*/ 779978 h 1849426"/>
                <a:gd name="connsiteX1184" fmla="*/ 1736351 w 6386648"/>
                <a:gd name="connsiteY1184" fmla="*/ 761954 h 1849426"/>
                <a:gd name="connsiteX1185" fmla="*/ 5863939 w 6386648"/>
                <a:gd name="connsiteY1185" fmla="*/ 755946 h 1849426"/>
                <a:gd name="connsiteX1186" fmla="*/ 5881964 w 6386648"/>
                <a:gd name="connsiteY1186" fmla="*/ 773970 h 1849426"/>
                <a:gd name="connsiteX1187" fmla="*/ 5863939 w 6386648"/>
                <a:gd name="connsiteY1187" fmla="*/ 791995 h 1849426"/>
                <a:gd name="connsiteX1188" fmla="*/ 5845915 w 6386648"/>
                <a:gd name="connsiteY1188" fmla="*/ 773970 h 1849426"/>
                <a:gd name="connsiteX1189" fmla="*/ 5863939 w 6386648"/>
                <a:gd name="connsiteY1189" fmla="*/ 755946 h 1849426"/>
                <a:gd name="connsiteX1190" fmla="*/ 2685636 w 6386648"/>
                <a:gd name="connsiteY1190" fmla="*/ 755946 h 1849426"/>
                <a:gd name="connsiteX1191" fmla="*/ 2703661 w 6386648"/>
                <a:gd name="connsiteY1191" fmla="*/ 773970 h 1849426"/>
                <a:gd name="connsiteX1192" fmla="*/ 2685636 w 6386648"/>
                <a:gd name="connsiteY1192" fmla="*/ 791995 h 1849426"/>
                <a:gd name="connsiteX1193" fmla="*/ 2667611 w 6386648"/>
                <a:gd name="connsiteY1193" fmla="*/ 773970 h 1849426"/>
                <a:gd name="connsiteX1194" fmla="*/ 2685636 w 6386648"/>
                <a:gd name="connsiteY1194" fmla="*/ 755946 h 1849426"/>
                <a:gd name="connsiteX1195" fmla="*/ 1069447 w 6386648"/>
                <a:gd name="connsiteY1195" fmla="*/ 755946 h 1849426"/>
                <a:gd name="connsiteX1196" fmla="*/ 1087472 w 6386648"/>
                <a:gd name="connsiteY1196" fmla="*/ 773970 h 1849426"/>
                <a:gd name="connsiteX1197" fmla="*/ 1069447 w 6386648"/>
                <a:gd name="connsiteY1197" fmla="*/ 791995 h 1849426"/>
                <a:gd name="connsiteX1198" fmla="*/ 1051423 w 6386648"/>
                <a:gd name="connsiteY1198" fmla="*/ 773970 h 1849426"/>
                <a:gd name="connsiteX1199" fmla="*/ 1069447 w 6386648"/>
                <a:gd name="connsiteY1199" fmla="*/ 755946 h 1849426"/>
                <a:gd name="connsiteX1200" fmla="*/ 3935328 w 6386648"/>
                <a:gd name="connsiteY1200" fmla="*/ 749937 h 1849426"/>
                <a:gd name="connsiteX1201" fmla="*/ 3953353 w 6386648"/>
                <a:gd name="connsiteY1201" fmla="*/ 767961 h 1849426"/>
                <a:gd name="connsiteX1202" fmla="*/ 3935328 w 6386648"/>
                <a:gd name="connsiteY1202" fmla="*/ 785986 h 1849426"/>
                <a:gd name="connsiteX1203" fmla="*/ 3917304 w 6386648"/>
                <a:gd name="connsiteY1203" fmla="*/ 767961 h 1849426"/>
                <a:gd name="connsiteX1204" fmla="*/ 3935328 w 6386648"/>
                <a:gd name="connsiteY1204" fmla="*/ 749937 h 1849426"/>
                <a:gd name="connsiteX1205" fmla="*/ 2114863 w 6386648"/>
                <a:gd name="connsiteY1205" fmla="*/ 749937 h 1849426"/>
                <a:gd name="connsiteX1206" fmla="*/ 2132888 w 6386648"/>
                <a:gd name="connsiteY1206" fmla="*/ 767961 h 1849426"/>
                <a:gd name="connsiteX1207" fmla="*/ 2114863 w 6386648"/>
                <a:gd name="connsiteY1207" fmla="*/ 785986 h 1849426"/>
                <a:gd name="connsiteX1208" fmla="*/ 2096839 w 6386648"/>
                <a:gd name="connsiteY1208" fmla="*/ 767961 h 1849426"/>
                <a:gd name="connsiteX1209" fmla="*/ 2114863 w 6386648"/>
                <a:gd name="connsiteY1209" fmla="*/ 749937 h 1849426"/>
                <a:gd name="connsiteX1210" fmla="*/ 2006717 w 6386648"/>
                <a:gd name="connsiteY1210" fmla="*/ 749937 h 1849426"/>
                <a:gd name="connsiteX1211" fmla="*/ 2024741 w 6386648"/>
                <a:gd name="connsiteY1211" fmla="*/ 767961 h 1849426"/>
                <a:gd name="connsiteX1212" fmla="*/ 2006717 w 6386648"/>
                <a:gd name="connsiteY1212" fmla="*/ 785986 h 1849426"/>
                <a:gd name="connsiteX1213" fmla="*/ 1988692 w 6386648"/>
                <a:gd name="connsiteY1213" fmla="*/ 767961 h 1849426"/>
                <a:gd name="connsiteX1214" fmla="*/ 2006717 w 6386648"/>
                <a:gd name="connsiteY1214" fmla="*/ 749937 h 1849426"/>
                <a:gd name="connsiteX1215" fmla="*/ 6116281 w 6386648"/>
                <a:gd name="connsiteY1215" fmla="*/ 737921 h 1849426"/>
                <a:gd name="connsiteX1216" fmla="*/ 6134306 w 6386648"/>
                <a:gd name="connsiteY1216" fmla="*/ 755946 h 1849426"/>
                <a:gd name="connsiteX1217" fmla="*/ 6116281 w 6386648"/>
                <a:gd name="connsiteY1217" fmla="*/ 773970 h 1849426"/>
                <a:gd name="connsiteX1218" fmla="*/ 6098257 w 6386648"/>
                <a:gd name="connsiteY1218" fmla="*/ 755946 h 1849426"/>
                <a:gd name="connsiteX1219" fmla="*/ 6116281 w 6386648"/>
                <a:gd name="connsiteY1219" fmla="*/ 737921 h 1849426"/>
                <a:gd name="connsiteX1220" fmla="*/ 2397246 w 6386648"/>
                <a:gd name="connsiteY1220" fmla="*/ 737921 h 1849426"/>
                <a:gd name="connsiteX1221" fmla="*/ 2415270 w 6386648"/>
                <a:gd name="connsiteY1221" fmla="*/ 755946 h 1849426"/>
                <a:gd name="connsiteX1222" fmla="*/ 2397246 w 6386648"/>
                <a:gd name="connsiteY1222" fmla="*/ 773970 h 1849426"/>
                <a:gd name="connsiteX1223" fmla="*/ 2379221 w 6386648"/>
                <a:gd name="connsiteY1223" fmla="*/ 755946 h 1849426"/>
                <a:gd name="connsiteX1224" fmla="*/ 2397246 w 6386648"/>
                <a:gd name="connsiteY1224" fmla="*/ 737921 h 1849426"/>
                <a:gd name="connsiteX1225" fmla="*/ 522707 w 6386648"/>
                <a:gd name="connsiteY1225" fmla="*/ 731913 h 1849426"/>
                <a:gd name="connsiteX1226" fmla="*/ 540732 w 6386648"/>
                <a:gd name="connsiteY1226" fmla="*/ 749937 h 1849426"/>
                <a:gd name="connsiteX1227" fmla="*/ 522707 w 6386648"/>
                <a:gd name="connsiteY1227" fmla="*/ 767962 h 1849426"/>
                <a:gd name="connsiteX1228" fmla="*/ 504683 w 6386648"/>
                <a:gd name="connsiteY1228" fmla="*/ 749937 h 1849426"/>
                <a:gd name="connsiteX1229" fmla="*/ 522707 w 6386648"/>
                <a:gd name="connsiteY1229" fmla="*/ 731913 h 1849426"/>
                <a:gd name="connsiteX1230" fmla="*/ 414561 w 6386648"/>
                <a:gd name="connsiteY1230" fmla="*/ 731913 h 1849426"/>
                <a:gd name="connsiteX1231" fmla="*/ 432586 w 6386648"/>
                <a:gd name="connsiteY1231" fmla="*/ 749937 h 1849426"/>
                <a:gd name="connsiteX1232" fmla="*/ 414561 w 6386648"/>
                <a:gd name="connsiteY1232" fmla="*/ 767962 h 1849426"/>
                <a:gd name="connsiteX1233" fmla="*/ 396537 w 6386648"/>
                <a:gd name="connsiteY1233" fmla="*/ 749937 h 1849426"/>
                <a:gd name="connsiteX1234" fmla="*/ 414561 w 6386648"/>
                <a:gd name="connsiteY1234" fmla="*/ 731913 h 1849426"/>
                <a:gd name="connsiteX1235" fmla="*/ 6236444 w 6386648"/>
                <a:gd name="connsiteY1235" fmla="*/ 725905 h 1849426"/>
                <a:gd name="connsiteX1236" fmla="*/ 6254469 w 6386648"/>
                <a:gd name="connsiteY1236" fmla="*/ 743929 h 1849426"/>
                <a:gd name="connsiteX1237" fmla="*/ 6236444 w 6386648"/>
                <a:gd name="connsiteY1237" fmla="*/ 761954 h 1849426"/>
                <a:gd name="connsiteX1238" fmla="*/ 6218420 w 6386648"/>
                <a:gd name="connsiteY1238" fmla="*/ 743929 h 1849426"/>
                <a:gd name="connsiteX1239" fmla="*/ 6236444 w 6386648"/>
                <a:gd name="connsiteY1239" fmla="*/ 725905 h 1849426"/>
                <a:gd name="connsiteX1240" fmla="*/ 961301 w 6386648"/>
                <a:gd name="connsiteY1240" fmla="*/ 725905 h 1849426"/>
                <a:gd name="connsiteX1241" fmla="*/ 979326 w 6386648"/>
                <a:gd name="connsiteY1241" fmla="*/ 743929 h 1849426"/>
                <a:gd name="connsiteX1242" fmla="*/ 961301 w 6386648"/>
                <a:gd name="connsiteY1242" fmla="*/ 761954 h 1849426"/>
                <a:gd name="connsiteX1243" fmla="*/ 943277 w 6386648"/>
                <a:gd name="connsiteY1243" fmla="*/ 743929 h 1849426"/>
                <a:gd name="connsiteX1244" fmla="*/ 961301 w 6386648"/>
                <a:gd name="connsiteY1244" fmla="*/ 725905 h 1849426"/>
                <a:gd name="connsiteX1245" fmla="*/ 3400604 w 6386648"/>
                <a:gd name="connsiteY1245" fmla="*/ 719897 h 1849426"/>
                <a:gd name="connsiteX1246" fmla="*/ 3418629 w 6386648"/>
                <a:gd name="connsiteY1246" fmla="*/ 737921 h 1849426"/>
                <a:gd name="connsiteX1247" fmla="*/ 3400604 w 6386648"/>
                <a:gd name="connsiteY1247" fmla="*/ 755946 h 1849426"/>
                <a:gd name="connsiteX1248" fmla="*/ 3382580 w 6386648"/>
                <a:gd name="connsiteY1248" fmla="*/ 737921 h 1849426"/>
                <a:gd name="connsiteX1249" fmla="*/ 3400604 w 6386648"/>
                <a:gd name="connsiteY1249" fmla="*/ 719897 h 1849426"/>
                <a:gd name="connsiteX1250" fmla="*/ 6002126 w 6386648"/>
                <a:gd name="connsiteY1250" fmla="*/ 713889 h 1849426"/>
                <a:gd name="connsiteX1251" fmla="*/ 6020151 w 6386648"/>
                <a:gd name="connsiteY1251" fmla="*/ 731913 h 1849426"/>
                <a:gd name="connsiteX1252" fmla="*/ 6002126 w 6386648"/>
                <a:gd name="connsiteY1252" fmla="*/ 749938 h 1849426"/>
                <a:gd name="connsiteX1253" fmla="*/ 5984102 w 6386648"/>
                <a:gd name="connsiteY1253" fmla="*/ 731913 h 1849426"/>
                <a:gd name="connsiteX1254" fmla="*/ 6002126 w 6386648"/>
                <a:gd name="connsiteY1254" fmla="*/ 713889 h 1849426"/>
                <a:gd name="connsiteX1255" fmla="*/ 1610179 w 6386648"/>
                <a:gd name="connsiteY1255" fmla="*/ 713889 h 1849426"/>
                <a:gd name="connsiteX1256" fmla="*/ 1628204 w 6386648"/>
                <a:gd name="connsiteY1256" fmla="*/ 731913 h 1849426"/>
                <a:gd name="connsiteX1257" fmla="*/ 1610179 w 6386648"/>
                <a:gd name="connsiteY1257" fmla="*/ 749938 h 1849426"/>
                <a:gd name="connsiteX1258" fmla="*/ 1592155 w 6386648"/>
                <a:gd name="connsiteY1258" fmla="*/ 731913 h 1849426"/>
                <a:gd name="connsiteX1259" fmla="*/ 1610179 w 6386648"/>
                <a:gd name="connsiteY1259" fmla="*/ 713889 h 1849426"/>
                <a:gd name="connsiteX1260" fmla="*/ 3520767 w 6386648"/>
                <a:gd name="connsiteY1260" fmla="*/ 707881 h 1849426"/>
                <a:gd name="connsiteX1261" fmla="*/ 3538792 w 6386648"/>
                <a:gd name="connsiteY1261" fmla="*/ 725906 h 1849426"/>
                <a:gd name="connsiteX1262" fmla="*/ 3520767 w 6386648"/>
                <a:gd name="connsiteY1262" fmla="*/ 743930 h 1849426"/>
                <a:gd name="connsiteX1263" fmla="*/ 3502743 w 6386648"/>
                <a:gd name="connsiteY1263" fmla="*/ 725906 h 1849426"/>
                <a:gd name="connsiteX1264" fmla="*/ 3520767 w 6386648"/>
                <a:gd name="connsiteY1264" fmla="*/ 707881 h 1849426"/>
                <a:gd name="connsiteX1265" fmla="*/ 2895920 w 6386648"/>
                <a:gd name="connsiteY1265" fmla="*/ 701872 h 1849426"/>
                <a:gd name="connsiteX1266" fmla="*/ 2913945 w 6386648"/>
                <a:gd name="connsiteY1266" fmla="*/ 719896 h 1849426"/>
                <a:gd name="connsiteX1267" fmla="*/ 2895920 w 6386648"/>
                <a:gd name="connsiteY1267" fmla="*/ 737921 h 1849426"/>
                <a:gd name="connsiteX1268" fmla="*/ 2877895 w 6386648"/>
                <a:gd name="connsiteY1268" fmla="*/ 719896 h 1849426"/>
                <a:gd name="connsiteX1269" fmla="*/ 2895920 w 6386648"/>
                <a:gd name="connsiteY1269" fmla="*/ 701872 h 1849426"/>
                <a:gd name="connsiteX1270" fmla="*/ 2547449 w 6386648"/>
                <a:gd name="connsiteY1270" fmla="*/ 701872 h 1849426"/>
                <a:gd name="connsiteX1271" fmla="*/ 2565474 w 6386648"/>
                <a:gd name="connsiteY1271" fmla="*/ 719896 h 1849426"/>
                <a:gd name="connsiteX1272" fmla="*/ 2547449 w 6386648"/>
                <a:gd name="connsiteY1272" fmla="*/ 737921 h 1849426"/>
                <a:gd name="connsiteX1273" fmla="*/ 2529425 w 6386648"/>
                <a:gd name="connsiteY1273" fmla="*/ 719896 h 1849426"/>
                <a:gd name="connsiteX1274" fmla="*/ 2547449 w 6386648"/>
                <a:gd name="connsiteY1274" fmla="*/ 701872 h 1849426"/>
                <a:gd name="connsiteX1275" fmla="*/ 2241034 w 6386648"/>
                <a:gd name="connsiteY1275" fmla="*/ 701872 h 1849426"/>
                <a:gd name="connsiteX1276" fmla="*/ 2259059 w 6386648"/>
                <a:gd name="connsiteY1276" fmla="*/ 719896 h 1849426"/>
                <a:gd name="connsiteX1277" fmla="*/ 2241034 w 6386648"/>
                <a:gd name="connsiteY1277" fmla="*/ 737921 h 1849426"/>
                <a:gd name="connsiteX1278" fmla="*/ 2223010 w 6386648"/>
                <a:gd name="connsiteY1278" fmla="*/ 719896 h 1849426"/>
                <a:gd name="connsiteX1279" fmla="*/ 2241034 w 6386648"/>
                <a:gd name="connsiteY1279" fmla="*/ 701872 h 1849426"/>
                <a:gd name="connsiteX1280" fmla="*/ 1411911 w 6386648"/>
                <a:gd name="connsiteY1280" fmla="*/ 701872 h 1849426"/>
                <a:gd name="connsiteX1281" fmla="*/ 1429936 w 6386648"/>
                <a:gd name="connsiteY1281" fmla="*/ 719896 h 1849426"/>
                <a:gd name="connsiteX1282" fmla="*/ 1411911 w 6386648"/>
                <a:gd name="connsiteY1282" fmla="*/ 737921 h 1849426"/>
                <a:gd name="connsiteX1283" fmla="*/ 1393887 w 6386648"/>
                <a:gd name="connsiteY1283" fmla="*/ 719896 h 1849426"/>
                <a:gd name="connsiteX1284" fmla="*/ 1411911 w 6386648"/>
                <a:gd name="connsiteY1284" fmla="*/ 701872 h 1849426"/>
                <a:gd name="connsiteX1285" fmla="*/ 1165578 w 6386648"/>
                <a:gd name="connsiteY1285" fmla="*/ 701872 h 1849426"/>
                <a:gd name="connsiteX1286" fmla="*/ 1183602 w 6386648"/>
                <a:gd name="connsiteY1286" fmla="*/ 719896 h 1849426"/>
                <a:gd name="connsiteX1287" fmla="*/ 1165578 w 6386648"/>
                <a:gd name="connsiteY1287" fmla="*/ 737921 h 1849426"/>
                <a:gd name="connsiteX1288" fmla="*/ 1147553 w 6386648"/>
                <a:gd name="connsiteY1288" fmla="*/ 719896 h 1849426"/>
                <a:gd name="connsiteX1289" fmla="*/ 1165578 w 6386648"/>
                <a:gd name="connsiteY1289" fmla="*/ 701872 h 1849426"/>
                <a:gd name="connsiteX1290" fmla="*/ 168227 w 6386648"/>
                <a:gd name="connsiteY1290" fmla="*/ 701872 h 1849426"/>
                <a:gd name="connsiteX1291" fmla="*/ 186252 w 6386648"/>
                <a:gd name="connsiteY1291" fmla="*/ 719896 h 1849426"/>
                <a:gd name="connsiteX1292" fmla="*/ 168227 w 6386648"/>
                <a:gd name="connsiteY1292" fmla="*/ 737921 h 1849426"/>
                <a:gd name="connsiteX1293" fmla="*/ 150203 w 6386648"/>
                <a:gd name="connsiteY1293" fmla="*/ 719896 h 1849426"/>
                <a:gd name="connsiteX1294" fmla="*/ 168227 w 6386648"/>
                <a:gd name="connsiteY1294" fmla="*/ 701872 h 1849426"/>
                <a:gd name="connsiteX1295" fmla="*/ 1910586 w 6386648"/>
                <a:gd name="connsiteY1295" fmla="*/ 695864 h 1849426"/>
                <a:gd name="connsiteX1296" fmla="*/ 1928611 w 6386648"/>
                <a:gd name="connsiteY1296" fmla="*/ 713888 h 1849426"/>
                <a:gd name="connsiteX1297" fmla="*/ 1910586 w 6386648"/>
                <a:gd name="connsiteY1297" fmla="*/ 731913 h 1849426"/>
                <a:gd name="connsiteX1298" fmla="*/ 1892562 w 6386648"/>
                <a:gd name="connsiteY1298" fmla="*/ 713888 h 1849426"/>
                <a:gd name="connsiteX1299" fmla="*/ 1910586 w 6386648"/>
                <a:gd name="connsiteY1299" fmla="*/ 695864 h 1849426"/>
                <a:gd name="connsiteX1300" fmla="*/ 3833190 w 6386648"/>
                <a:gd name="connsiteY1300" fmla="*/ 689856 h 1849426"/>
                <a:gd name="connsiteX1301" fmla="*/ 3851215 w 6386648"/>
                <a:gd name="connsiteY1301" fmla="*/ 707880 h 1849426"/>
                <a:gd name="connsiteX1302" fmla="*/ 3833190 w 6386648"/>
                <a:gd name="connsiteY1302" fmla="*/ 725905 h 1849426"/>
                <a:gd name="connsiteX1303" fmla="*/ 3815166 w 6386648"/>
                <a:gd name="connsiteY1303" fmla="*/ 707880 h 1849426"/>
                <a:gd name="connsiteX1304" fmla="*/ 3833190 w 6386648"/>
                <a:gd name="connsiteY1304" fmla="*/ 689856 h 1849426"/>
                <a:gd name="connsiteX1305" fmla="*/ 2787774 w 6386648"/>
                <a:gd name="connsiteY1305" fmla="*/ 689856 h 1849426"/>
                <a:gd name="connsiteX1306" fmla="*/ 2805799 w 6386648"/>
                <a:gd name="connsiteY1306" fmla="*/ 707880 h 1849426"/>
                <a:gd name="connsiteX1307" fmla="*/ 2787774 w 6386648"/>
                <a:gd name="connsiteY1307" fmla="*/ 725905 h 1849426"/>
                <a:gd name="connsiteX1308" fmla="*/ 2769750 w 6386648"/>
                <a:gd name="connsiteY1308" fmla="*/ 707880 h 1849426"/>
                <a:gd name="connsiteX1309" fmla="*/ 2787774 w 6386648"/>
                <a:gd name="connsiteY1309" fmla="*/ 689856 h 1849426"/>
                <a:gd name="connsiteX1310" fmla="*/ 5737768 w 6386648"/>
                <a:gd name="connsiteY1310" fmla="*/ 677840 h 1849426"/>
                <a:gd name="connsiteX1311" fmla="*/ 5755793 w 6386648"/>
                <a:gd name="connsiteY1311" fmla="*/ 695865 h 1849426"/>
                <a:gd name="connsiteX1312" fmla="*/ 5737768 w 6386648"/>
                <a:gd name="connsiteY1312" fmla="*/ 713889 h 1849426"/>
                <a:gd name="connsiteX1313" fmla="*/ 5719744 w 6386648"/>
                <a:gd name="connsiteY1313" fmla="*/ 695865 h 1849426"/>
                <a:gd name="connsiteX1314" fmla="*/ 5737768 w 6386648"/>
                <a:gd name="connsiteY1314" fmla="*/ 677840 h 1849426"/>
                <a:gd name="connsiteX1315" fmla="*/ 781057 w 6386648"/>
                <a:gd name="connsiteY1315" fmla="*/ 677840 h 1849426"/>
                <a:gd name="connsiteX1316" fmla="*/ 799082 w 6386648"/>
                <a:gd name="connsiteY1316" fmla="*/ 695865 h 1849426"/>
                <a:gd name="connsiteX1317" fmla="*/ 781057 w 6386648"/>
                <a:gd name="connsiteY1317" fmla="*/ 713889 h 1849426"/>
                <a:gd name="connsiteX1318" fmla="*/ 763033 w 6386648"/>
                <a:gd name="connsiteY1318" fmla="*/ 695865 h 1849426"/>
                <a:gd name="connsiteX1319" fmla="*/ 781057 w 6386648"/>
                <a:gd name="connsiteY1319" fmla="*/ 677840 h 1849426"/>
                <a:gd name="connsiteX1320" fmla="*/ 276373 w 6386648"/>
                <a:gd name="connsiteY1320" fmla="*/ 677840 h 1849426"/>
                <a:gd name="connsiteX1321" fmla="*/ 294398 w 6386648"/>
                <a:gd name="connsiteY1321" fmla="*/ 695865 h 1849426"/>
                <a:gd name="connsiteX1322" fmla="*/ 276373 w 6386648"/>
                <a:gd name="connsiteY1322" fmla="*/ 713889 h 1849426"/>
                <a:gd name="connsiteX1323" fmla="*/ 258349 w 6386648"/>
                <a:gd name="connsiteY1323" fmla="*/ 695865 h 1849426"/>
                <a:gd name="connsiteX1324" fmla="*/ 276373 w 6386648"/>
                <a:gd name="connsiteY1324" fmla="*/ 677840 h 1849426"/>
                <a:gd name="connsiteX1325" fmla="*/ 1784415 w 6386648"/>
                <a:gd name="connsiteY1325" fmla="*/ 671832 h 1849426"/>
                <a:gd name="connsiteX1326" fmla="*/ 1802440 w 6386648"/>
                <a:gd name="connsiteY1326" fmla="*/ 689856 h 1849426"/>
                <a:gd name="connsiteX1327" fmla="*/ 1784415 w 6386648"/>
                <a:gd name="connsiteY1327" fmla="*/ 707881 h 1849426"/>
                <a:gd name="connsiteX1328" fmla="*/ 1766391 w 6386648"/>
                <a:gd name="connsiteY1328" fmla="*/ 689856 h 1849426"/>
                <a:gd name="connsiteX1329" fmla="*/ 1784415 w 6386648"/>
                <a:gd name="connsiteY1329" fmla="*/ 671832 h 1849426"/>
                <a:gd name="connsiteX1330" fmla="*/ 3713027 w 6386648"/>
                <a:gd name="connsiteY1330" fmla="*/ 665824 h 1849426"/>
                <a:gd name="connsiteX1331" fmla="*/ 3731052 w 6386648"/>
                <a:gd name="connsiteY1331" fmla="*/ 683848 h 1849426"/>
                <a:gd name="connsiteX1332" fmla="*/ 3713027 w 6386648"/>
                <a:gd name="connsiteY1332" fmla="*/ 701873 h 1849426"/>
                <a:gd name="connsiteX1333" fmla="*/ 3695003 w 6386648"/>
                <a:gd name="connsiteY1333" fmla="*/ 683848 h 1849426"/>
                <a:gd name="connsiteX1334" fmla="*/ 3713027 w 6386648"/>
                <a:gd name="connsiteY1334" fmla="*/ 665824 h 1849426"/>
                <a:gd name="connsiteX1335" fmla="*/ 3274433 w 6386648"/>
                <a:gd name="connsiteY1335" fmla="*/ 665824 h 1849426"/>
                <a:gd name="connsiteX1336" fmla="*/ 3292458 w 6386648"/>
                <a:gd name="connsiteY1336" fmla="*/ 683848 h 1849426"/>
                <a:gd name="connsiteX1337" fmla="*/ 3274433 w 6386648"/>
                <a:gd name="connsiteY1337" fmla="*/ 701873 h 1849426"/>
                <a:gd name="connsiteX1338" fmla="*/ 3256409 w 6386648"/>
                <a:gd name="connsiteY1338" fmla="*/ 683848 h 1849426"/>
                <a:gd name="connsiteX1339" fmla="*/ 3274433 w 6386648"/>
                <a:gd name="connsiteY1339" fmla="*/ 665824 h 1849426"/>
                <a:gd name="connsiteX1340" fmla="*/ 1291748 w 6386648"/>
                <a:gd name="connsiteY1340" fmla="*/ 665824 h 1849426"/>
                <a:gd name="connsiteX1341" fmla="*/ 1309773 w 6386648"/>
                <a:gd name="connsiteY1341" fmla="*/ 683848 h 1849426"/>
                <a:gd name="connsiteX1342" fmla="*/ 1291748 w 6386648"/>
                <a:gd name="connsiteY1342" fmla="*/ 701873 h 1849426"/>
                <a:gd name="connsiteX1343" fmla="*/ 1273724 w 6386648"/>
                <a:gd name="connsiteY1343" fmla="*/ 683848 h 1849426"/>
                <a:gd name="connsiteX1344" fmla="*/ 1291748 w 6386648"/>
                <a:gd name="connsiteY1344" fmla="*/ 665824 h 1849426"/>
                <a:gd name="connsiteX1345" fmla="*/ 636862 w 6386648"/>
                <a:gd name="connsiteY1345" fmla="*/ 665824 h 1849426"/>
                <a:gd name="connsiteX1346" fmla="*/ 654887 w 6386648"/>
                <a:gd name="connsiteY1346" fmla="*/ 683848 h 1849426"/>
                <a:gd name="connsiteX1347" fmla="*/ 636862 w 6386648"/>
                <a:gd name="connsiteY1347" fmla="*/ 701873 h 1849426"/>
                <a:gd name="connsiteX1348" fmla="*/ 618838 w 6386648"/>
                <a:gd name="connsiteY1348" fmla="*/ 683848 h 1849426"/>
                <a:gd name="connsiteX1349" fmla="*/ 636862 w 6386648"/>
                <a:gd name="connsiteY1349" fmla="*/ 665824 h 1849426"/>
                <a:gd name="connsiteX1350" fmla="*/ 3172295 w 6386648"/>
                <a:gd name="connsiteY1350" fmla="*/ 659815 h 1849426"/>
                <a:gd name="connsiteX1351" fmla="*/ 3190320 w 6386648"/>
                <a:gd name="connsiteY1351" fmla="*/ 677839 h 1849426"/>
                <a:gd name="connsiteX1352" fmla="*/ 3172295 w 6386648"/>
                <a:gd name="connsiteY1352" fmla="*/ 695864 h 1849426"/>
                <a:gd name="connsiteX1353" fmla="*/ 3154271 w 6386648"/>
                <a:gd name="connsiteY1353" fmla="*/ 677839 h 1849426"/>
                <a:gd name="connsiteX1354" fmla="*/ 3172295 w 6386648"/>
                <a:gd name="connsiteY1354" fmla="*/ 659815 h 1849426"/>
                <a:gd name="connsiteX1355" fmla="*/ 6314550 w 6386648"/>
                <a:gd name="connsiteY1355" fmla="*/ 647799 h 1849426"/>
                <a:gd name="connsiteX1356" fmla="*/ 6332574 w 6386648"/>
                <a:gd name="connsiteY1356" fmla="*/ 665824 h 1849426"/>
                <a:gd name="connsiteX1357" fmla="*/ 6314550 w 6386648"/>
                <a:gd name="connsiteY1357" fmla="*/ 683848 h 1849426"/>
                <a:gd name="connsiteX1358" fmla="*/ 6296525 w 6386648"/>
                <a:gd name="connsiteY1358" fmla="*/ 665824 h 1849426"/>
                <a:gd name="connsiteX1359" fmla="*/ 6314550 w 6386648"/>
                <a:gd name="connsiteY1359" fmla="*/ 647799 h 1849426"/>
                <a:gd name="connsiteX1360" fmla="*/ 3040116 w 6386648"/>
                <a:gd name="connsiteY1360" fmla="*/ 647799 h 1849426"/>
                <a:gd name="connsiteX1361" fmla="*/ 3058141 w 6386648"/>
                <a:gd name="connsiteY1361" fmla="*/ 665824 h 1849426"/>
                <a:gd name="connsiteX1362" fmla="*/ 3040116 w 6386648"/>
                <a:gd name="connsiteY1362" fmla="*/ 683848 h 1849426"/>
                <a:gd name="connsiteX1363" fmla="*/ 3022092 w 6386648"/>
                <a:gd name="connsiteY1363" fmla="*/ 665824 h 1849426"/>
                <a:gd name="connsiteX1364" fmla="*/ 3040116 w 6386648"/>
                <a:gd name="connsiteY1364" fmla="*/ 647799 h 1849426"/>
                <a:gd name="connsiteX1365" fmla="*/ 4025450 w 6386648"/>
                <a:gd name="connsiteY1365" fmla="*/ 641791 h 1849426"/>
                <a:gd name="connsiteX1366" fmla="*/ 4043475 w 6386648"/>
                <a:gd name="connsiteY1366" fmla="*/ 659815 h 1849426"/>
                <a:gd name="connsiteX1367" fmla="*/ 4025450 w 6386648"/>
                <a:gd name="connsiteY1367" fmla="*/ 677840 h 1849426"/>
                <a:gd name="connsiteX1368" fmla="*/ 4007426 w 6386648"/>
                <a:gd name="connsiteY1368" fmla="*/ 659815 h 1849426"/>
                <a:gd name="connsiteX1369" fmla="*/ 4025450 w 6386648"/>
                <a:gd name="connsiteY1369" fmla="*/ 641791 h 1849426"/>
                <a:gd name="connsiteX1370" fmla="*/ 5948053 w 6386648"/>
                <a:gd name="connsiteY1370" fmla="*/ 629775 h 1849426"/>
                <a:gd name="connsiteX1371" fmla="*/ 5966078 w 6386648"/>
                <a:gd name="connsiteY1371" fmla="*/ 647799 h 1849426"/>
                <a:gd name="connsiteX1372" fmla="*/ 5948053 w 6386648"/>
                <a:gd name="connsiteY1372" fmla="*/ 665824 h 1849426"/>
                <a:gd name="connsiteX1373" fmla="*/ 5930029 w 6386648"/>
                <a:gd name="connsiteY1373" fmla="*/ 647799 h 1849426"/>
                <a:gd name="connsiteX1374" fmla="*/ 5948053 w 6386648"/>
                <a:gd name="connsiteY1374" fmla="*/ 629775 h 1849426"/>
                <a:gd name="connsiteX1375" fmla="*/ 2673619 w 6386648"/>
                <a:gd name="connsiteY1375" fmla="*/ 629775 h 1849426"/>
                <a:gd name="connsiteX1376" fmla="*/ 2691644 w 6386648"/>
                <a:gd name="connsiteY1376" fmla="*/ 647799 h 1849426"/>
                <a:gd name="connsiteX1377" fmla="*/ 2673619 w 6386648"/>
                <a:gd name="connsiteY1377" fmla="*/ 665824 h 1849426"/>
                <a:gd name="connsiteX1378" fmla="*/ 2655595 w 6386648"/>
                <a:gd name="connsiteY1378" fmla="*/ 647799 h 1849426"/>
                <a:gd name="connsiteX1379" fmla="*/ 2673619 w 6386648"/>
                <a:gd name="connsiteY1379" fmla="*/ 629775 h 1849426"/>
                <a:gd name="connsiteX1380" fmla="*/ 2331156 w 6386648"/>
                <a:gd name="connsiteY1380" fmla="*/ 629775 h 1849426"/>
                <a:gd name="connsiteX1381" fmla="*/ 2349181 w 6386648"/>
                <a:gd name="connsiteY1381" fmla="*/ 647799 h 1849426"/>
                <a:gd name="connsiteX1382" fmla="*/ 2331156 w 6386648"/>
                <a:gd name="connsiteY1382" fmla="*/ 665824 h 1849426"/>
                <a:gd name="connsiteX1383" fmla="*/ 2313132 w 6386648"/>
                <a:gd name="connsiteY1383" fmla="*/ 647799 h 1849426"/>
                <a:gd name="connsiteX1384" fmla="*/ 2331156 w 6386648"/>
                <a:gd name="connsiteY1384" fmla="*/ 629775 h 1849426"/>
                <a:gd name="connsiteX1385" fmla="*/ 1514049 w 6386648"/>
                <a:gd name="connsiteY1385" fmla="*/ 629775 h 1849426"/>
                <a:gd name="connsiteX1386" fmla="*/ 1532074 w 6386648"/>
                <a:gd name="connsiteY1386" fmla="*/ 647799 h 1849426"/>
                <a:gd name="connsiteX1387" fmla="*/ 1514049 w 6386648"/>
                <a:gd name="connsiteY1387" fmla="*/ 665824 h 1849426"/>
                <a:gd name="connsiteX1388" fmla="*/ 1496025 w 6386648"/>
                <a:gd name="connsiteY1388" fmla="*/ 647799 h 1849426"/>
                <a:gd name="connsiteX1389" fmla="*/ 1514049 w 6386648"/>
                <a:gd name="connsiteY1389" fmla="*/ 629775 h 1849426"/>
                <a:gd name="connsiteX1390" fmla="*/ 901219 w 6386648"/>
                <a:gd name="connsiteY1390" fmla="*/ 629775 h 1849426"/>
                <a:gd name="connsiteX1391" fmla="*/ 919244 w 6386648"/>
                <a:gd name="connsiteY1391" fmla="*/ 647799 h 1849426"/>
                <a:gd name="connsiteX1392" fmla="*/ 901219 w 6386648"/>
                <a:gd name="connsiteY1392" fmla="*/ 665824 h 1849426"/>
                <a:gd name="connsiteX1393" fmla="*/ 883195 w 6386648"/>
                <a:gd name="connsiteY1393" fmla="*/ 647799 h 1849426"/>
                <a:gd name="connsiteX1394" fmla="*/ 901219 w 6386648"/>
                <a:gd name="connsiteY1394" fmla="*/ 629775 h 1849426"/>
                <a:gd name="connsiteX1395" fmla="*/ 5827891 w 6386648"/>
                <a:gd name="connsiteY1395" fmla="*/ 617758 h 1849426"/>
                <a:gd name="connsiteX1396" fmla="*/ 5845916 w 6386648"/>
                <a:gd name="connsiteY1396" fmla="*/ 635783 h 1849426"/>
                <a:gd name="connsiteX1397" fmla="*/ 5827891 w 6386648"/>
                <a:gd name="connsiteY1397" fmla="*/ 653807 h 1849426"/>
                <a:gd name="connsiteX1398" fmla="*/ 5809867 w 6386648"/>
                <a:gd name="connsiteY1398" fmla="*/ 635783 h 1849426"/>
                <a:gd name="connsiteX1399" fmla="*/ 5827891 w 6386648"/>
                <a:gd name="connsiteY1399" fmla="*/ 617758 h 1849426"/>
                <a:gd name="connsiteX1400" fmla="*/ 2469343 w 6386648"/>
                <a:gd name="connsiteY1400" fmla="*/ 617758 h 1849426"/>
                <a:gd name="connsiteX1401" fmla="*/ 2487368 w 6386648"/>
                <a:gd name="connsiteY1401" fmla="*/ 635783 h 1849426"/>
                <a:gd name="connsiteX1402" fmla="*/ 2469343 w 6386648"/>
                <a:gd name="connsiteY1402" fmla="*/ 653807 h 1849426"/>
                <a:gd name="connsiteX1403" fmla="*/ 2451319 w 6386648"/>
                <a:gd name="connsiteY1403" fmla="*/ 635783 h 1849426"/>
                <a:gd name="connsiteX1404" fmla="*/ 2469343 w 6386648"/>
                <a:gd name="connsiteY1404" fmla="*/ 617758 h 1849426"/>
                <a:gd name="connsiteX1405" fmla="*/ 6110273 w 6386648"/>
                <a:gd name="connsiteY1405" fmla="*/ 611750 h 1849426"/>
                <a:gd name="connsiteX1406" fmla="*/ 6128298 w 6386648"/>
                <a:gd name="connsiteY1406" fmla="*/ 629774 h 1849426"/>
                <a:gd name="connsiteX1407" fmla="*/ 6110273 w 6386648"/>
                <a:gd name="connsiteY1407" fmla="*/ 647799 h 1849426"/>
                <a:gd name="connsiteX1408" fmla="*/ 6092248 w 6386648"/>
                <a:gd name="connsiteY1408" fmla="*/ 629774 h 1849426"/>
                <a:gd name="connsiteX1409" fmla="*/ 6110273 w 6386648"/>
                <a:gd name="connsiteY1409" fmla="*/ 611750 h 1849426"/>
                <a:gd name="connsiteX1410" fmla="*/ 3598872 w 6386648"/>
                <a:gd name="connsiteY1410" fmla="*/ 611750 h 1849426"/>
                <a:gd name="connsiteX1411" fmla="*/ 3616897 w 6386648"/>
                <a:gd name="connsiteY1411" fmla="*/ 629774 h 1849426"/>
                <a:gd name="connsiteX1412" fmla="*/ 3598872 w 6386648"/>
                <a:gd name="connsiteY1412" fmla="*/ 647799 h 1849426"/>
                <a:gd name="connsiteX1413" fmla="*/ 3580848 w 6386648"/>
                <a:gd name="connsiteY1413" fmla="*/ 629774 h 1849426"/>
                <a:gd name="connsiteX1414" fmla="*/ 3598872 w 6386648"/>
                <a:gd name="connsiteY1414" fmla="*/ 611750 h 1849426"/>
                <a:gd name="connsiteX1415" fmla="*/ 2150912 w 6386648"/>
                <a:gd name="connsiteY1415" fmla="*/ 611750 h 1849426"/>
                <a:gd name="connsiteX1416" fmla="*/ 2168937 w 6386648"/>
                <a:gd name="connsiteY1416" fmla="*/ 629774 h 1849426"/>
                <a:gd name="connsiteX1417" fmla="*/ 2150912 w 6386648"/>
                <a:gd name="connsiteY1417" fmla="*/ 647799 h 1849426"/>
                <a:gd name="connsiteX1418" fmla="*/ 2132888 w 6386648"/>
                <a:gd name="connsiteY1418" fmla="*/ 629774 h 1849426"/>
                <a:gd name="connsiteX1419" fmla="*/ 2150912 w 6386648"/>
                <a:gd name="connsiteY1419" fmla="*/ 611750 h 1849426"/>
                <a:gd name="connsiteX1420" fmla="*/ 2036758 w 6386648"/>
                <a:gd name="connsiteY1420" fmla="*/ 605742 h 1849426"/>
                <a:gd name="connsiteX1421" fmla="*/ 2054782 w 6386648"/>
                <a:gd name="connsiteY1421" fmla="*/ 623766 h 1849426"/>
                <a:gd name="connsiteX1422" fmla="*/ 2036758 w 6386648"/>
                <a:gd name="connsiteY1422" fmla="*/ 641791 h 1849426"/>
                <a:gd name="connsiteX1423" fmla="*/ 2018733 w 6386648"/>
                <a:gd name="connsiteY1423" fmla="*/ 623766 h 1849426"/>
                <a:gd name="connsiteX1424" fmla="*/ 2036758 w 6386648"/>
                <a:gd name="connsiteY1424" fmla="*/ 605742 h 1849426"/>
                <a:gd name="connsiteX1425" fmla="*/ 1652236 w 6386648"/>
                <a:gd name="connsiteY1425" fmla="*/ 605742 h 1849426"/>
                <a:gd name="connsiteX1426" fmla="*/ 1670261 w 6386648"/>
                <a:gd name="connsiteY1426" fmla="*/ 623766 h 1849426"/>
                <a:gd name="connsiteX1427" fmla="*/ 1652236 w 6386648"/>
                <a:gd name="connsiteY1427" fmla="*/ 641791 h 1849426"/>
                <a:gd name="connsiteX1428" fmla="*/ 1634212 w 6386648"/>
                <a:gd name="connsiteY1428" fmla="*/ 623766 h 1849426"/>
                <a:gd name="connsiteX1429" fmla="*/ 1652236 w 6386648"/>
                <a:gd name="connsiteY1429" fmla="*/ 605742 h 1849426"/>
                <a:gd name="connsiteX1430" fmla="*/ 1027390 w 6386648"/>
                <a:gd name="connsiteY1430" fmla="*/ 605742 h 1849426"/>
                <a:gd name="connsiteX1431" fmla="*/ 1045415 w 6386648"/>
                <a:gd name="connsiteY1431" fmla="*/ 623766 h 1849426"/>
                <a:gd name="connsiteX1432" fmla="*/ 1027390 w 6386648"/>
                <a:gd name="connsiteY1432" fmla="*/ 641791 h 1849426"/>
                <a:gd name="connsiteX1433" fmla="*/ 1009366 w 6386648"/>
                <a:gd name="connsiteY1433" fmla="*/ 623766 h 1849426"/>
                <a:gd name="connsiteX1434" fmla="*/ 1027390 w 6386648"/>
                <a:gd name="connsiteY1434" fmla="*/ 605742 h 1849426"/>
                <a:gd name="connsiteX1435" fmla="*/ 504684 w 6386648"/>
                <a:gd name="connsiteY1435" fmla="*/ 605742 h 1849426"/>
                <a:gd name="connsiteX1436" fmla="*/ 522708 w 6386648"/>
                <a:gd name="connsiteY1436" fmla="*/ 623766 h 1849426"/>
                <a:gd name="connsiteX1437" fmla="*/ 504684 w 6386648"/>
                <a:gd name="connsiteY1437" fmla="*/ 641791 h 1849426"/>
                <a:gd name="connsiteX1438" fmla="*/ 486659 w 6386648"/>
                <a:gd name="connsiteY1438" fmla="*/ 623766 h 1849426"/>
                <a:gd name="connsiteX1439" fmla="*/ 504684 w 6386648"/>
                <a:gd name="connsiteY1439" fmla="*/ 605742 h 1849426"/>
                <a:gd name="connsiteX1440" fmla="*/ 378512 w 6386648"/>
                <a:gd name="connsiteY1440" fmla="*/ 605742 h 1849426"/>
                <a:gd name="connsiteX1441" fmla="*/ 396537 w 6386648"/>
                <a:gd name="connsiteY1441" fmla="*/ 623766 h 1849426"/>
                <a:gd name="connsiteX1442" fmla="*/ 378512 w 6386648"/>
                <a:gd name="connsiteY1442" fmla="*/ 641791 h 1849426"/>
                <a:gd name="connsiteX1443" fmla="*/ 360488 w 6386648"/>
                <a:gd name="connsiteY1443" fmla="*/ 623766 h 1849426"/>
                <a:gd name="connsiteX1444" fmla="*/ 378512 w 6386648"/>
                <a:gd name="connsiteY1444" fmla="*/ 605742 h 1849426"/>
                <a:gd name="connsiteX1445" fmla="*/ 3358547 w 6386648"/>
                <a:gd name="connsiteY1445" fmla="*/ 599734 h 1849426"/>
                <a:gd name="connsiteX1446" fmla="*/ 3376572 w 6386648"/>
                <a:gd name="connsiteY1446" fmla="*/ 617758 h 1849426"/>
                <a:gd name="connsiteX1447" fmla="*/ 3358547 w 6386648"/>
                <a:gd name="connsiteY1447" fmla="*/ 635783 h 1849426"/>
                <a:gd name="connsiteX1448" fmla="*/ 3340523 w 6386648"/>
                <a:gd name="connsiteY1448" fmla="*/ 617758 h 1849426"/>
                <a:gd name="connsiteX1449" fmla="*/ 3358547 w 6386648"/>
                <a:gd name="connsiteY1449" fmla="*/ 599734 h 1849426"/>
                <a:gd name="connsiteX1450" fmla="*/ 3887263 w 6386648"/>
                <a:gd name="connsiteY1450" fmla="*/ 593726 h 1849426"/>
                <a:gd name="connsiteX1451" fmla="*/ 3905288 w 6386648"/>
                <a:gd name="connsiteY1451" fmla="*/ 611750 h 1849426"/>
                <a:gd name="connsiteX1452" fmla="*/ 3887263 w 6386648"/>
                <a:gd name="connsiteY1452" fmla="*/ 629775 h 1849426"/>
                <a:gd name="connsiteX1453" fmla="*/ 3869238 w 6386648"/>
                <a:gd name="connsiteY1453" fmla="*/ 611750 h 1849426"/>
                <a:gd name="connsiteX1454" fmla="*/ 3887263 w 6386648"/>
                <a:gd name="connsiteY1454" fmla="*/ 593726 h 1849426"/>
                <a:gd name="connsiteX1455" fmla="*/ 5623614 w 6386648"/>
                <a:gd name="connsiteY1455" fmla="*/ 587718 h 1849426"/>
                <a:gd name="connsiteX1456" fmla="*/ 5641639 w 6386648"/>
                <a:gd name="connsiteY1456" fmla="*/ 605743 h 1849426"/>
                <a:gd name="connsiteX1457" fmla="*/ 5623614 w 6386648"/>
                <a:gd name="connsiteY1457" fmla="*/ 623767 h 1849426"/>
                <a:gd name="connsiteX1458" fmla="*/ 5605590 w 6386648"/>
                <a:gd name="connsiteY1458" fmla="*/ 605743 h 1849426"/>
                <a:gd name="connsiteX1459" fmla="*/ 5623614 w 6386648"/>
                <a:gd name="connsiteY1459" fmla="*/ 587718 h 1849426"/>
                <a:gd name="connsiteX1460" fmla="*/ 4157629 w 6386648"/>
                <a:gd name="connsiteY1460" fmla="*/ 587718 h 1849426"/>
                <a:gd name="connsiteX1461" fmla="*/ 4175654 w 6386648"/>
                <a:gd name="connsiteY1461" fmla="*/ 605743 h 1849426"/>
                <a:gd name="connsiteX1462" fmla="*/ 4157629 w 6386648"/>
                <a:gd name="connsiteY1462" fmla="*/ 623767 h 1849426"/>
                <a:gd name="connsiteX1463" fmla="*/ 4139604 w 6386648"/>
                <a:gd name="connsiteY1463" fmla="*/ 605743 h 1849426"/>
                <a:gd name="connsiteX1464" fmla="*/ 4157629 w 6386648"/>
                <a:gd name="connsiteY1464" fmla="*/ 587718 h 1849426"/>
                <a:gd name="connsiteX1465" fmla="*/ 1886555 w 6386648"/>
                <a:gd name="connsiteY1465" fmla="*/ 587718 h 1849426"/>
                <a:gd name="connsiteX1466" fmla="*/ 1904579 w 6386648"/>
                <a:gd name="connsiteY1466" fmla="*/ 605743 h 1849426"/>
                <a:gd name="connsiteX1467" fmla="*/ 1886555 w 6386648"/>
                <a:gd name="connsiteY1467" fmla="*/ 623767 h 1849426"/>
                <a:gd name="connsiteX1468" fmla="*/ 1868530 w 6386648"/>
                <a:gd name="connsiteY1468" fmla="*/ 605743 h 1849426"/>
                <a:gd name="connsiteX1469" fmla="*/ 1886555 w 6386648"/>
                <a:gd name="connsiteY1469" fmla="*/ 587718 h 1849426"/>
                <a:gd name="connsiteX1470" fmla="*/ 1147553 w 6386648"/>
                <a:gd name="connsiteY1470" fmla="*/ 587718 h 1849426"/>
                <a:gd name="connsiteX1471" fmla="*/ 1165578 w 6386648"/>
                <a:gd name="connsiteY1471" fmla="*/ 605743 h 1849426"/>
                <a:gd name="connsiteX1472" fmla="*/ 1147553 w 6386648"/>
                <a:gd name="connsiteY1472" fmla="*/ 623767 h 1849426"/>
                <a:gd name="connsiteX1473" fmla="*/ 1129529 w 6386648"/>
                <a:gd name="connsiteY1473" fmla="*/ 605743 h 1849426"/>
                <a:gd name="connsiteX1474" fmla="*/ 1147553 w 6386648"/>
                <a:gd name="connsiteY1474" fmla="*/ 587718 h 1849426"/>
                <a:gd name="connsiteX1475" fmla="*/ 6212411 w 6386648"/>
                <a:gd name="connsiteY1475" fmla="*/ 581710 h 1849426"/>
                <a:gd name="connsiteX1476" fmla="*/ 6230436 w 6386648"/>
                <a:gd name="connsiteY1476" fmla="*/ 599734 h 1849426"/>
                <a:gd name="connsiteX1477" fmla="*/ 6212411 w 6386648"/>
                <a:gd name="connsiteY1477" fmla="*/ 617759 h 1849426"/>
                <a:gd name="connsiteX1478" fmla="*/ 6194387 w 6386648"/>
                <a:gd name="connsiteY1478" fmla="*/ 599734 h 1849426"/>
                <a:gd name="connsiteX1479" fmla="*/ 6212411 w 6386648"/>
                <a:gd name="connsiteY1479" fmla="*/ 581710 h 1849426"/>
                <a:gd name="connsiteX1480" fmla="*/ 3478710 w 6386648"/>
                <a:gd name="connsiteY1480" fmla="*/ 581710 h 1849426"/>
                <a:gd name="connsiteX1481" fmla="*/ 3496735 w 6386648"/>
                <a:gd name="connsiteY1481" fmla="*/ 599734 h 1849426"/>
                <a:gd name="connsiteX1482" fmla="*/ 3478710 w 6386648"/>
                <a:gd name="connsiteY1482" fmla="*/ 617759 h 1849426"/>
                <a:gd name="connsiteX1483" fmla="*/ 3460686 w 6386648"/>
                <a:gd name="connsiteY1483" fmla="*/ 599734 h 1849426"/>
                <a:gd name="connsiteX1484" fmla="*/ 3478710 w 6386648"/>
                <a:gd name="connsiteY1484" fmla="*/ 581710 h 1849426"/>
                <a:gd name="connsiteX1485" fmla="*/ 2883904 w 6386648"/>
                <a:gd name="connsiteY1485" fmla="*/ 581710 h 1849426"/>
                <a:gd name="connsiteX1486" fmla="*/ 2901929 w 6386648"/>
                <a:gd name="connsiteY1486" fmla="*/ 599734 h 1849426"/>
                <a:gd name="connsiteX1487" fmla="*/ 2883904 w 6386648"/>
                <a:gd name="connsiteY1487" fmla="*/ 617759 h 1849426"/>
                <a:gd name="connsiteX1488" fmla="*/ 2865880 w 6386648"/>
                <a:gd name="connsiteY1488" fmla="*/ 599734 h 1849426"/>
                <a:gd name="connsiteX1489" fmla="*/ 2883904 w 6386648"/>
                <a:gd name="connsiteY1489" fmla="*/ 581710 h 1849426"/>
                <a:gd name="connsiteX1490" fmla="*/ 4488076 w 6386648"/>
                <a:gd name="connsiteY1490" fmla="*/ 575702 h 1849426"/>
                <a:gd name="connsiteX1491" fmla="*/ 4506101 w 6386648"/>
                <a:gd name="connsiteY1491" fmla="*/ 593726 h 1849426"/>
                <a:gd name="connsiteX1492" fmla="*/ 4488076 w 6386648"/>
                <a:gd name="connsiteY1492" fmla="*/ 611751 h 1849426"/>
                <a:gd name="connsiteX1493" fmla="*/ 4470051 w 6386648"/>
                <a:gd name="connsiteY1493" fmla="*/ 593726 h 1849426"/>
                <a:gd name="connsiteX1494" fmla="*/ 4488076 w 6386648"/>
                <a:gd name="connsiteY1494" fmla="*/ 575702 h 1849426"/>
                <a:gd name="connsiteX1495" fmla="*/ 4313840 w 6386648"/>
                <a:gd name="connsiteY1495" fmla="*/ 575702 h 1849426"/>
                <a:gd name="connsiteX1496" fmla="*/ 4331865 w 6386648"/>
                <a:gd name="connsiteY1496" fmla="*/ 593726 h 1849426"/>
                <a:gd name="connsiteX1497" fmla="*/ 4313840 w 6386648"/>
                <a:gd name="connsiteY1497" fmla="*/ 611751 h 1849426"/>
                <a:gd name="connsiteX1498" fmla="*/ 4295816 w 6386648"/>
                <a:gd name="connsiteY1498" fmla="*/ 593726 h 1849426"/>
                <a:gd name="connsiteX1499" fmla="*/ 4313840 w 6386648"/>
                <a:gd name="connsiteY1499" fmla="*/ 575702 h 1849426"/>
                <a:gd name="connsiteX1500" fmla="*/ 1381870 w 6386648"/>
                <a:gd name="connsiteY1500" fmla="*/ 569693 h 1849426"/>
                <a:gd name="connsiteX1501" fmla="*/ 1399895 w 6386648"/>
                <a:gd name="connsiteY1501" fmla="*/ 587717 h 1849426"/>
                <a:gd name="connsiteX1502" fmla="*/ 1381870 w 6386648"/>
                <a:gd name="connsiteY1502" fmla="*/ 605742 h 1849426"/>
                <a:gd name="connsiteX1503" fmla="*/ 1363846 w 6386648"/>
                <a:gd name="connsiteY1503" fmla="*/ 587717 h 1849426"/>
                <a:gd name="connsiteX1504" fmla="*/ 1381870 w 6386648"/>
                <a:gd name="connsiteY1504" fmla="*/ 569693 h 1849426"/>
                <a:gd name="connsiteX1505" fmla="*/ 126170 w 6386648"/>
                <a:gd name="connsiteY1505" fmla="*/ 563685 h 1849426"/>
                <a:gd name="connsiteX1506" fmla="*/ 144195 w 6386648"/>
                <a:gd name="connsiteY1506" fmla="*/ 581709 h 1849426"/>
                <a:gd name="connsiteX1507" fmla="*/ 126170 w 6386648"/>
                <a:gd name="connsiteY1507" fmla="*/ 599734 h 1849426"/>
                <a:gd name="connsiteX1508" fmla="*/ 108146 w 6386648"/>
                <a:gd name="connsiteY1508" fmla="*/ 581709 h 1849426"/>
                <a:gd name="connsiteX1509" fmla="*/ 126170 w 6386648"/>
                <a:gd name="connsiteY1509" fmla="*/ 563685 h 1849426"/>
                <a:gd name="connsiteX1510" fmla="*/ 2583497 w 6386648"/>
                <a:gd name="connsiteY1510" fmla="*/ 557677 h 1849426"/>
                <a:gd name="connsiteX1511" fmla="*/ 2601522 w 6386648"/>
                <a:gd name="connsiteY1511" fmla="*/ 575702 h 1849426"/>
                <a:gd name="connsiteX1512" fmla="*/ 2583497 w 6386648"/>
                <a:gd name="connsiteY1512" fmla="*/ 593726 h 1849426"/>
                <a:gd name="connsiteX1513" fmla="*/ 2565473 w 6386648"/>
                <a:gd name="connsiteY1513" fmla="*/ 575702 h 1849426"/>
                <a:gd name="connsiteX1514" fmla="*/ 2583497 w 6386648"/>
                <a:gd name="connsiteY1514" fmla="*/ 557677 h 1849426"/>
                <a:gd name="connsiteX1515" fmla="*/ 246333 w 6386648"/>
                <a:gd name="connsiteY1515" fmla="*/ 557677 h 1849426"/>
                <a:gd name="connsiteX1516" fmla="*/ 264358 w 6386648"/>
                <a:gd name="connsiteY1516" fmla="*/ 575702 h 1849426"/>
                <a:gd name="connsiteX1517" fmla="*/ 246333 w 6386648"/>
                <a:gd name="connsiteY1517" fmla="*/ 593726 h 1849426"/>
                <a:gd name="connsiteX1518" fmla="*/ 228309 w 6386648"/>
                <a:gd name="connsiteY1518" fmla="*/ 575702 h 1849426"/>
                <a:gd name="connsiteX1519" fmla="*/ 246333 w 6386648"/>
                <a:gd name="connsiteY1519" fmla="*/ 557677 h 1849426"/>
                <a:gd name="connsiteX1520" fmla="*/ 1736351 w 6386648"/>
                <a:gd name="connsiteY1520" fmla="*/ 551669 h 1849426"/>
                <a:gd name="connsiteX1521" fmla="*/ 1754375 w 6386648"/>
                <a:gd name="connsiteY1521" fmla="*/ 569693 h 1849426"/>
                <a:gd name="connsiteX1522" fmla="*/ 1736351 w 6386648"/>
                <a:gd name="connsiteY1522" fmla="*/ 587718 h 1849426"/>
                <a:gd name="connsiteX1523" fmla="*/ 1718326 w 6386648"/>
                <a:gd name="connsiteY1523" fmla="*/ 569693 h 1849426"/>
                <a:gd name="connsiteX1524" fmla="*/ 1736351 w 6386648"/>
                <a:gd name="connsiteY1524" fmla="*/ 551669 h 1849426"/>
                <a:gd name="connsiteX1525" fmla="*/ 3731051 w 6386648"/>
                <a:gd name="connsiteY1525" fmla="*/ 545661 h 1849426"/>
                <a:gd name="connsiteX1526" fmla="*/ 3749076 w 6386648"/>
                <a:gd name="connsiteY1526" fmla="*/ 563685 h 1849426"/>
                <a:gd name="connsiteX1527" fmla="*/ 3731051 w 6386648"/>
                <a:gd name="connsiteY1527" fmla="*/ 581710 h 1849426"/>
                <a:gd name="connsiteX1528" fmla="*/ 3713027 w 6386648"/>
                <a:gd name="connsiteY1528" fmla="*/ 563685 h 1849426"/>
                <a:gd name="connsiteX1529" fmla="*/ 3731051 w 6386648"/>
                <a:gd name="connsiteY1529" fmla="*/ 545661 h 1849426"/>
                <a:gd name="connsiteX1530" fmla="*/ 2763741 w 6386648"/>
                <a:gd name="connsiteY1530" fmla="*/ 545661 h 1849426"/>
                <a:gd name="connsiteX1531" fmla="*/ 2781766 w 6386648"/>
                <a:gd name="connsiteY1531" fmla="*/ 563685 h 1849426"/>
                <a:gd name="connsiteX1532" fmla="*/ 2763741 w 6386648"/>
                <a:gd name="connsiteY1532" fmla="*/ 581710 h 1849426"/>
                <a:gd name="connsiteX1533" fmla="*/ 2745717 w 6386648"/>
                <a:gd name="connsiteY1533" fmla="*/ 563685 h 1849426"/>
                <a:gd name="connsiteX1534" fmla="*/ 2763741 w 6386648"/>
                <a:gd name="connsiteY1534" fmla="*/ 545661 h 1849426"/>
                <a:gd name="connsiteX1535" fmla="*/ 726984 w 6386648"/>
                <a:gd name="connsiteY1535" fmla="*/ 545661 h 1849426"/>
                <a:gd name="connsiteX1536" fmla="*/ 745009 w 6386648"/>
                <a:gd name="connsiteY1536" fmla="*/ 563685 h 1849426"/>
                <a:gd name="connsiteX1537" fmla="*/ 726984 w 6386648"/>
                <a:gd name="connsiteY1537" fmla="*/ 581710 h 1849426"/>
                <a:gd name="connsiteX1538" fmla="*/ 708960 w 6386648"/>
                <a:gd name="connsiteY1538" fmla="*/ 563685 h 1849426"/>
                <a:gd name="connsiteX1539" fmla="*/ 726984 w 6386648"/>
                <a:gd name="connsiteY1539" fmla="*/ 545661 h 1849426"/>
                <a:gd name="connsiteX1540" fmla="*/ 3136246 w 6386648"/>
                <a:gd name="connsiteY1540" fmla="*/ 539653 h 1849426"/>
                <a:gd name="connsiteX1541" fmla="*/ 3154271 w 6386648"/>
                <a:gd name="connsiteY1541" fmla="*/ 557677 h 1849426"/>
                <a:gd name="connsiteX1542" fmla="*/ 3136246 w 6386648"/>
                <a:gd name="connsiteY1542" fmla="*/ 575702 h 1849426"/>
                <a:gd name="connsiteX1543" fmla="*/ 3118221 w 6386648"/>
                <a:gd name="connsiteY1543" fmla="*/ 557677 h 1849426"/>
                <a:gd name="connsiteX1544" fmla="*/ 3136246 w 6386648"/>
                <a:gd name="connsiteY1544" fmla="*/ 539653 h 1849426"/>
                <a:gd name="connsiteX1545" fmla="*/ 3004067 w 6386648"/>
                <a:gd name="connsiteY1545" fmla="*/ 539653 h 1849426"/>
                <a:gd name="connsiteX1546" fmla="*/ 3022092 w 6386648"/>
                <a:gd name="connsiteY1546" fmla="*/ 557677 h 1849426"/>
                <a:gd name="connsiteX1547" fmla="*/ 3004067 w 6386648"/>
                <a:gd name="connsiteY1547" fmla="*/ 575702 h 1849426"/>
                <a:gd name="connsiteX1548" fmla="*/ 2986043 w 6386648"/>
                <a:gd name="connsiteY1548" fmla="*/ 557677 h 1849426"/>
                <a:gd name="connsiteX1549" fmla="*/ 3004067 w 6386648"/>
                <a:gd name="connsiteY1549" fmla="*/ 539653 h 1849426"/>
                <a:gd name="connsiteX1550" fmla="*/ 835130 w 6386648"/>
                <a:gd name="connsiteY1550" fmla="*/ 539653 h 1849426"/>
                <a:gd name="connsiteX1551" fmla="*/ 847146 w 6386648"/>
                <a:gd name="connsiteY1551" fmla="*/ 551669 h 1849426"/>
                <a:gd name="connsiteX1552" fmla="*/ 835130 w 6386648"/>
                <a:gd name="connsiteY1552" fmla="*/ 563685 h 1849426"/>
                <a:gd name="connsiteX1553" fmla="*/ 823114 w 6386648"/>
                <a:gd name="connsiteY1553" fmla="*/ 551669 h 1849426"/>
                <a:gd name="connsiteX1554" fmla="*/ 835130 w 6386648"/>
                <a:gd name="connsiteY1554" fmla="*/ 539653 h 1849426"/>
                <a:gd name="connsiteX1555" fmla="*/ 612829 w 6386648"/>
                <a:gd name="connsiteY1555" fmla="*/ 539653 h 1849426"/>
                <a:gd name="connsiteX1556" fmla="*/ 630854 w 6386648"/>
                <a:gd name="connsiteY1556" fmla="*/ 557677 h 1849426"/>
                <a:gd name="connsiteX1557" fmla="*/ 612829 w 6386648"/>
                <a:gd name="connsiteY1557" fmla="*/ 575702 h 1849426"/>
                <a:gd name="connsiteX1558" fmla="*/ 594805 w 6386648"/>
                <a:gd name="connsiteY1558" fmla="*/ 557677 h 1849426"/>
                <a:gd name="connsiteX1559" fmla="*/ 612829 w 6386648"/>
                <a:gd name="connsiteY1559" fmla="*/ 539653 h 1849426"/>
                <a:gd name="connsiteX1560" fmla="*/ 6014143 w 6386648"/>
                <a:gd name="connsiteY1560" fmla="*/ 533645 h 1849426"/>
                <a:gd name="connsiteX1561" fmla="*/ 6032168 w 6386648"/>
                <a:gd name="connsiteY1561" fmla="*/ 551669 h 1849426"/>
                <a:gd name="connsiteX1562" fmla="*/ 6014143 w 6386648"/>
                <a:gd name="connsiteY1562" fmla="*/ 569694 h 1849426"/>
                <a:gd name="connsiteX1563" fmla="*/ 5996119 w 6386648"/>
                <a:gd name="connsiteY1563" fmla="*/ 551669 h 1849426"/>
                <a:gd name="connsiteX1564" fmla="*/ 6014143 w 6386648"/>
                <a:gd name="connsiteY1564" fmla="*/ 533645 h 1849426"/>
                <a:gd name="connsiteX1565" fmla="*/ 5725752 w 6386648"/>
                <a:gd name="connsiteY1565" fmla="*/ 533645 h 1849426"/>
                <a:gd name="connsiteX1566" fmla="*/ 5743777 w 6386648"/>
                <a:gd name="connsiteY1566" fmla="*/ 551669 h 1849426"/>
                <a:gd name="connsiteX1567" fmla="*/ 5725752 w 6386648"/>
                <a:gd name="connsiteY1567" fmla="*/ 569694 h 1849426"/>
                <a:gd name="connsiteX1568" fmla="*/ 5707728 w 6386648"/>
                <a:gd name="connsiteY1568" fmla="*/ 551669 h 1849426"/>
                <a:gd name="connsiteX1569" fmla="*/ 5725752 w 6386648"/>
                <a:gd name="connsiteY1569" fmla="*/ 533645 h 1849426"/>
                <a:gd name="connsiteX1570" fmla="*/ 4013434 w 6386648"/>
                <a:gd name="connsiteY1570" fmla="*/ 533645 h 1849426"/>
                <a:gd name="connsiteX1571" fmla="*/ 4031459 w 6386648"/>
                <a:gd name="connsiteY1571" fmla="*/ 551669 h 1849426"/>
                <a:gd name="connsiteX1572" fmla="*/ 4013434 w 6386648"/>
                <a:gd name="connsiteY1572" fmla="*/ 569694 h 1849426"/>
                <a:gd name="connsiteX1573" fmla="*/ 3995410 w 6386648"/>
                <a:gd name="connsiteY1573" fmla="*/ 551669 h 1849426"/>
                <a:gd name="connsiteX1574" fmla="*/ 4013434 w 6386648"/>
                <a:gd name="connsiteY1574" fmla="*/ 533645 h 1849426"/>
                <a:gd name="connsiteX1575" fmla="*/ 2223009 w 6386648"/>
                <a:gd name="connsiteY1575" fmla="*/ 533645 h 1849426"/>
                <a:gd name="connsiteX1576" fmla="*/ 2241034 w 6386648"/>
                <a:gd name="connsiteY1576" fmla="*/ 551669 h 1849426"/>
                <a:gd name="connsiteX1577" fmla="*/ 2223009 w 6386648"/>
                <a:gd name="connsiteY1577" fmla="*/ 569694 h 1849426"/>
                <a:gd name="connsiteX1578" fmla="*/ 2204985 w 6386648"/>
                <a:gd name="connsiteY1578" fmla="*/ 551669 h 1849426"/>
                <a:gd name="connsiteX1579" fmla="*/ 2223009 w 6386648"/>
                <a:gd name="connsiteY1579" fmla="*/ 533645 h 1849426"/>
                <a:gd name="connsiteX1580" fmla="*/ 1249691 w 6386648"/>
                <a:gd name="connsiteY1580" fmla="*/ 533645 h 1849426"/>
                <a:gd name="connsiteX1581" fmla="*/ 1267716 w 6386648"/>
                <a:gd name="connsiteY1581" fmla="*/ 551669 h 1849426"/>
                <a:gd name="connsiteX1582" fmla="*/ 1249691 w 6386648"/>
                <a:gd name="connsiteY1582" fmla="*/ 569694 h 1849426"/>
                <a:gd name="connsiteX1583" fmla="*/ 1231667 w 6386648"/>
                <a:gd name="connsiteY1583" fmla="*/ 551669 h 1849426"/>
                <a:gd name="connsiteX1584" fmla="*/ 1249691 w 6386648"/>
                <a:gd name="connsiteY1584" fmla="*/ 533645 h 1849426"/>
                <a:gd name="connsiteX1585" fmla="*/ 2409261 w 6386648"/>
                <a:gd name="connsiteY1585" fmla="*/ 527636 h 1849426"/>
                <a:gd name="connsiteX1586" fmla="*/ 2427286 w 6386648"/>
                <a:gd name="connsiteY1586" fmla="*/ 545661 h 1849426"/>
                <a:gd name="connsiteX1587" fmla="*/ 2409261 w 6386648"/>
                <a:gd name="connsiteY1587" fmla="*/ 563685 h 1849426"/>
                <a:gd name="connsiteX1588" fmla="*/ 2391237 w 6386648"/>
                <a:gd name="connsiteY1588" fmla="*/ 545661 h 1849426"/>
                <a:gd name="connsiteX1589" fmla="*/ 2409261 w 6386648"/>
                <a:gd name="connsiteY1589" fmla="*/ 527636 h 1849426"/>
                <a:gd name="connsiteX1590" fmla="*/ 5527484 w 6386648"/>
                <a:gd name="connsiteY1590" fmla="*/ 521628 h 1849426"/>
                <a:gd name="connsiteX1591" fmla="*/ 5545509 w 6386648"/>
                <a:gd name="connsiteY1591" fmla="*/ 539652 h 1849426"/>
                <a:gd name="connsiteX1592" fmla="*/ 5527484 w 6386648"/>
                <a:gd name="connsiteY1592" fmla="*/ 557677 h 1849426"/>
                <a:gd name="connsiteX1593" fmla="*/ 5509460 w 6386648"/>
                <a:gd name="connsiteY1593" fmla="*/ 539652 h 1849426"/>
                <a:gd name="connsiteX1594" fmla="*/ 5527484 w 6386648"/>
                <a:gd name="connsiteY1594" fmla="*/ 521628 h 1849426"/>
                <a:gd name="connsiteX1595" fmla="*/ 4830540 w 6386648"/>
                <a:gd name="connsiteY1595" fmla="*/ 521628 h 1849426"/>
                <a:gd name="connsiteX1596" fmla="*/ 4848565 w 6386648"/>
                <a:gd name="connsiteY1596" fmla="*/ 539652 h 1849426"/>
                <a:gd name="connsiteX1597" fmla="*/ 4830540 w 6386648"/>
                <a:gd name="connsiteY1597" fmla="*/ 557677 h 1849426"/>
                <a:gd name="connsiteX1598" fmla="*/ 4812516 w 6386648"/>
                <a:gd name="connsiteY1598" fmla="*/ 539652 h 1849426"/>
                <a:gd name="connsiteX1599" fmla="*/ 4830540 w 6386648"/>
                <a:gd name="connsiteY1599" fmla="*/ 521628 h 1849426"/>
                <a:gd name="connsiteX1600" fmla="*/ 1514049 w 6386648"/>
                <a:gd name="connsiteY1600" fmla="*/ 521628 h 1849426"/>
                <a:gd name="connsiteX1601" fmla="*/ 1532074 w 6386648"/>
                <a:gd name="connsiteY1601" fmla="*/ 539652 h 1849426"/>
                <a:gd name="connsiteX1602" fmla="*/ 1514049 w 6386648"/>
                <a:gd name="connsiteY1602" fmla="*/ 557677 h 1849426"/>
                <a:gd name="connsiteX1603" fmla="*/ 1496025 w 6386648"/>
                <a:gd name="connsiteY1603" fmla="*/ 539652 h 1849426"/>
                <a:gd name="connsiteX1604" fmla="*/ 1514049 w 6386648"/>
                <a:gd name="connsiteY1604" fmla="*/ 521628 h 1849426"/>
                <a:gd name="connsiteX1605" fmla="*/ 6332574 w 6386648"/>
                <a:gd name="connsiteY1605" fmla="*/ 515620 h 1849426"/>
                <a:gd name="connsiteX1606" fmla="*/ 6350598 w 6386648"/>
                <a:gd name="connsiteY1606" fmla="*/ 533644 h 1849426"/>
                <a:gd name="connsiteX1607" fmla="*/ 6332574 w 6386648"/>
                <a:gd name="connsiteY1607" fmla="*/ 551669 h 1849426"/>
                <a:gd name="connsiteX1608" fmla="*/ 6314549 w 6386648"/>
                <a:gd name="connsiteY1608" fmla="*/ 533644 h 1849426"/>
                <a:gd name="connsiteX1609" fmla="*/ 6332574 w 6386648"/>
                <a:gd name="connsiteY1609" fmla="*/ 515620 h 1849426"/>
                <a:gd name="connsiteX1610" fmla="*/ 5893980 w 6386648"/>
                <a:gd name="connsiteY1610" fmla="*/ 509612 h 1849426"/>
                <a:gd name="connsiteX1611" fmla="*/ 5912005 w 6386648"/>
                <a:gd name="connsiteY1611" fmla="*/ 527636 h 1849426"/>
                <a:gd name="connsiteX1612" fmla="*/ 5893980 w 6386648"/>
                <a:gd name="connsiteY1612" fmla="*/ 545661 h 1849426"/>
                <a:gd name="connsiteX1613" fmla="*/ 5875956 w 6386648"/>
                <a:gd name="connsiteY1613" fmla="*/ 527636 h 1849426"/>
                <a:gd name="connsiteX1614" fmla="*/ 5893980 w 6386648"/>
                <a:gd name="connsiteY1614" fmla="*/ 509612 h 1849426"/>
                <a:gd name="connsiteX1615" fmla="*/ 3244392 w 6386648"/>
                <a:gd name="connsiteY1615" fmla="*/ 509612 h 1849426"/>
                <a:gd name="connsiteX1616" fmla="*/ 3262417 w 6386648"/>
                <a:gd name="connsiteY1616" fmla="*/ 527636 h 1849426"/>
                <a:gd name="connsiteX1617" fmla="*/ 3244392 w 6386648"/>
                <a:gd name="connsiteY1617" fmla="*/ 545661 h 1849426"/>
                <a:gd name="connsiteX1618" fmla="*/ 3226368 w 6386648"/>
                <a:gd name="connsiteY1618" fmla="*/ 527636 h 1849426"/>
                <a:gd name="connsiteX1619" fmla="*/ 3244392 w 6386648"/>
                <a:gd name="connsiteY1619" fmla="*/ 509612 h 1849426"/>
                <a:gd name="connsiteX1620" fmla="*/ 1982684 w 6386648"/>
                <a:gd name="connsiteY1620" fmla="*/ 509612 h 1849426"/>
                <a:gd name="connsiteX1621" fmla="*/ 2000709 w 6386648"/>
                <a:gd name="connsiteY1621" fmla="*/ 527636 h 1849426"/>
                <a:gd name="connsiteX1622" fmla="*/ 1982684 w 6386648"/>
                <a:gd name="connsiteY1622" fmla="*/ 545661 h 1849426"/>
                <a:gd name="connsiteX1623" fmla="*/ 1964660 w 6386648"/>
                <a:gd name="connsiteY1623" fmla="*/ 527636 h 1849426"/>
                <a:gd name="connsiteX1624" fmla="*/ 1982684 w 6386648"/>
                <a:gd name="connsiteY1624" fmla="*/ 509612 h 1849426"/>
                <a:gd name="connsiteX1625" fmla="*/ 5040825 w 6386648"/>
                <a:gd name="connsiteY1625" fmla="*/ 503604 h 1849426"/>
                <a:gd name="connsiteX1626" fmla="*/ 5058850 w 6386648"/>
                <a:gd name="connsiteY1626" fmla="*/ 521628 h 1849426"/>
                <a:gd name="connsiteX1627" fmla="*/ 5040825 w 6386648"/>
                <a:gd name="connsiteY1627" fmla="*/ 539653 h 1849426"/>
                <a:gd name="connsiteX1628" fmla="*/ 5022801 w 6386648"/>
                <a:gd name="connsiteY1628" fmla="*/ 521628 h 1849426"/>
                <a:gd name="connsiteX1629" fmla="*/ 5040825 w 6386648"/>
                <a:gd name="connsiteY1629" fmla="*/ 503604 h 1849426"/>
                <a:gd name="connsiteX1630" fmla="*/ 4926670 w 6386648"/>
                <a:gd name="connsiteY1630" fmla="*/ 503604 h 1849426"/>
                <a:gd name="connsiteX1631" fmla="*/ 4944695 w 6386648"/>
                <a:gd name="connsiteY1631" fmla="*/ 521628 h 1849426"/>
                <a:gd name="connsiteX1632" fmla="*/ 4926670 w 6386648"/>
                <a:gd name="connsiteY1632" fmla="*/ 539653 h 1849426"/>
                <a:gd name="connsiteX1633" fmla="*/ 4908646 w 6386648"/>
                <a:gd name="connsiteY1633" fmla="*/ 521628 h 1849426"/>
                <a:gd name="connsiteX1634" fmla="*/ 4926670 w 6386648"/>
                <a:gd name="connsiteY1634" fmla="*/ 503604 h 1849426"/>
                <a:gd name="connsiteX1635" fmla="*/ 5419337 w 6386648"/>
                <a:gd name="connsiteY1635" fmla="*/ 497596 h 1849426"/>
                <a:gd name="connsiteX1636" fmla="*/ 5437362 w 6386648"/>
                <a:gd name="connsiteY1636" fmla="*/ 515621 h 1849426"/>
                <a:gd name="connsiteX1637" fmla="*/ 5419337 w 6386648"/>
                <a:gd name="connsiteY1637" fmla="*/ 533645 h 1849426"/>
                <a:gd name="connsiteX1638" fmla="*/ 5401312 w 6386648"/>
                <a:gd name="connsiteY1638" fmla="*/ 515621 h 1849426"/>
                <a:gd name="connsiteX1639" fmla="*/ 5419337 w 6386648"/>
                <a:gd name="connsiteY1639" fmla="*/ 497596 h 1849426"/>
                <a:gd name="connsiteX1640" fmla="*/ 3610889 w 6386648"/>
                <a:gd name="connsiteY1640" fmla="*/ 497596 h 1849426"/>
                <a:gd name="connsiteX1641" fmla="*/ 3628914 w 6386648"/>
                <a:gd name="connsiteY1641" fmla="*/ 515621 h 1849426"/>
                <a:gd name="connsiteX1642" fmla="*/ 3610889 w 6386648"/>
                <a:gd name="connsiteY1642" fmla="*/ 533645 h 1849426"/>
                <a:gd name="connsiteX1643" fmla="*/ 3592865 w 6386648"/>
                <a:gd name="connsiteY1643" fmla="*/ 515621 h 1849426"/>
                <a:gd name="connsiteX1644" fmla="*/ 3610889 w 6386648"/>
                <a:gd name="connsiteY1644" fmla="*/ 497596 h 1849426"/>
                <a:gd name="connsiteX1645" fmla="*/ 967309 w 6386648"/>
                <a:gd name="connsiteY1645" fmla="*/ 497596 h 1849426"/>
                <a:gd name="connsiteX1646" fmla="*/ 985334 w 6386648"/>
                <a:gd name="connsiteY1646" fmla="*/ 515621 h 1849426"/>
                <a:gd name="connsiteX1647" fmla="*/ 967309 w 6386648"/>
                <a:gd name="connsiteY1647" fmla="*/ 533645 h 1849426"/>
                <a:gd name="connsiteX1648" fmla="*/ 949285 w 6386648"/>
                <a:gd name="connsiteY1648" fmla="*/ 515621 h 1849426"/>
                <a:gd name="connsiteX1649" fmla="*/ 967309 w 6386648"/>
                <a:gd name="connsiteY1649" fmla="*/ 497596 h 1849426"/>
                <a:gd name="connsiteX1650" fmla="*/ 450609 w 6386648"/>
                <a:gd name="connsiteY1650" fmla="*/ 497596 h 1849426"/>
                <a:gd name="connsiteX1651" fmla="*/ 468634 w 6386648"/>
                <a:gd name="connsiteY1651" fmla="*/ 515621 h 1849426"/>
                <a:gd name="connsiteX1652" fmla="*/ 450609 w 6386648"/>
                <a:gd name="connsiteY1652" fmla="*/ 533645 h 1849426"/>
                <a:gd name="connsiteX1653" fmla="*/ 432585 w 6386648"/>
                <a:gd name="connsiteY1653" fmla="*/ 515621 h 1849426"/>
                <a:gd name="connsiteX1654" fmla="*/ 450609 w 6386648"/>
                <a:gd name="connsiteY1654" fmla="*/ 497596 h 1849426"/>
                <a:gd name="connsiteX1655" fmla="*/ 4632272 w 6386648"/>
                <a:gd name="connsiteY1655" fmla="*/ 485580 h 1849426"/>
                <a:gd name="connsiteX1656" fmla="*/ 4650297 w 6386648"/>
                <a:gd name="connsiteY1656" fmla="*/ 503604 h 1849426"/>
                <a:gd name="connsiteX1657" fmla="*/ 4632272 w 6386648"/>
                <a:gd name="connsiteY1657" fmla="*/ 521629 h 1849426"/>
                <a:gd name="connsiteX1658" fmla="*/ 4614248 w 6386648"/>
                <a:gd name="connsiteY1658" fmla="*/ 503604 h 1849426"/>
                <a:gd name="connsiteX1659" fmla="*/ 4632272 w 6386648"/>
                <a:gd name="connsiteY1659" fmla="*/ 485580 h 1849426"/>
                <a:gd name="connsiteX1660" fmla="*/ 4379930 w 6386648"/>
                <a:gd name="connsiteY1660" fmla="*/ 485580 h 1849426"/>
                <a:gd name="connsiteX1661" fmla="*/ 4397955 w 6386648"/>
                <a:gd name="connsiteY1661" fmla="*/ 503604 h 1849426"/>
                <a:gd name="connsiteX1662" fmla="*/ 4379930 w 6386648"/>
                <a:gd name="connsiteY1662" fmla="*/ 521629 h 1849426"/>
                <a:gd name="connsiteX1663" fmla="*/ 4361906 w 6386648"/>
                <a:gd name="connsiteY1663" fmla="*/ 503604 h 1849426"/>
                <a:gd name="connsiteX1664" fmla="*/ 4379930 w 6386648"/>
                <a:gd name="connsiteY1664" fmla="*/ 485580 h 1849426"/>
                <a:gd name="connsiteX1665" fmla="*/ 5160987 w 6386648"/>
                <a:gd name="connsiteY1665" fmla="*/ 479571 h 1849426"/>
                <a:gd name="connsiteX1666" fmla="*/ 5179012 w 6386648"/>
                <a:gd name="connsiteY1666" fmla="*/ 497595 h 1849426"/>
                <a:gd name="connsiteX1667" fmla="*/ 5160987 w 6386648"/>
                <a:gd name="connsiteY1667" fmla="*/ 515620 h 1849426"/>
                <a:gd name="connsiteX1668" fmla="*/ 5142963 w 6386648"/>
                <a:gd name="connsiteY1668" fmla="*/ 497595 h 1849426"/>
                <a:gd name="connsiteX1669" fmla="*/ 5160987 w 6386648"/>
                <a:gd name="connsiteY1669" fmla="*/ 479571 h 1849426"/>
                <a:gd name="connsiteX1670" fmla="*/ 4241743 w 6386648"/>
                <a:gd name="connsiteY1670" fmla="*/ 479571 h 1849426"/>
                <a:gd name="connsiteX1671" fmla="*/ 4259768 w 6386648"/>
                <a:gd name="connsiteY1671" fmla="*/ 497595 h 1849426"/>
                <a:gd name="connsiteX1672" fmla="*/ 4241743 w 6386648"/>
                <a:gd name="connsiteY1672" fmla="*/ 515620 h 1849426"/>
                <a:gd name="connsiteX1673" fmla="*/ 4223719 w 6386648"/>
                <a:gd name="connsiteY1673" fmla="*/ 497595 h 1849426"/>
                <a:gd name="connsiteX1674" fmla="*/ 4241743 w 6386648"/>
                <a:gd name="connsiteY1674" fmla="*/ 479571 h 1849426"/>
                <a:gd name="connsiteX1675" fmla="*/ 3821173 w 6386648"/>
                <a:gd name="connsiteY1675" fmla="*/ 479571 h 1849426"/>
                <a:gd name="connsiteX1676" fmla="*/ 3839198 w 6386648"/>
                <a:gd name="connsiteY1676" fmla="*/ 497595 h 1849426"/>
                <a:gd name="connsiteX1677" fmla="*/ 3821173 w 6386648"/>
                <a:gd name="connsiteY1677" fmla="*/ 515620 h 1849426"/>
                <a:gd name="connsiteX1678" fmla="*/ 3803149 w 6386648"/>
                <a:gd name="connsiteY1678" fmla="*/ 497595 h 1849426"/>
                <a:gd name="connsiteX1679" fmla="*/ 3821173 w 6386648"/>
                <a:gd name="connsiteY1679" fmla="*/ 479571 h 1849426"/>
                <a:gd name="connsiteX1680" fmla="*/ 3364555 w 6386648"/>
                <a:gd name="connsiteY1680" fmla="*/ 479571 h 1849426"/>
                <a:gd name="connsiteX1681" fmla="*/ 3382580 w 6386648"/>
                <a:gd name="connsiteY1681" fmla="*/ 497595 h 1849426"/>
                <a:gd name="connsiteX1682" fmla="*/ 3364555 w 6386648"/>
                <a:gd name="connsiteY1682" fmla="*/ 515620 h 1849426"/>
                <a:gd name="connsiteX1683" fmla="*/ 3346531 w 6386648"/>
                <a:gd name="connsiteY1683" fmla="*/ 497595 h 1849426"/>
                <a:gd name="connsiteX1684" fmla="*/ 3364555 w 6386648"/>
                <a:gd name="connsiteY1684" fmla="*/ 479571 h 1849426"/>
                <a:gd name="connsiteX1685" fmla="*/ 1093480 w 6386648"/>
                <a:gd name="connsiteY1685" fmla="*/ 479571 h 1849426"/>
                <a:gd name="connsiteX1686" fmla="*/ 1111505 w 6386648"/>
                <a:gd name="connsiteY1686" fmla="*/ 497595 h 1849426"/>
                <a:gd name="connsiteX1687" fmla="*/ 1093480 w 6386648"/>
                <a:gd name="connsiteY1687" fmla="*/ 515620 h 1849426"/>
                <a:gd name="connsiteX1688" fmla="*/ 1075456 w 6386648"/>
                <a:gd name="connsiteY1688" fmla="*/ 497595 h 1849426"/>
                <a:gd name="connsiteX1689" fmla="*/ 1093480 w 6386648"/>
                <a:gd name="connsiteY1689" fmla="*/ 479571 h 1849426"/>
                <a:gd name="connsiteX1690" fmla="*/ 5299175 w 6386648"/>
                <a:gd name="connsiteY1690" fmla="*/ 473563 h 1849426"/>
                <a:gd name="connsiteX1691" fmla="*/ 5317200 w 6386648"/>
                <a:gd name="connsiteY1691" fmla="*/ 491587 h 1849426"/>
                <a:gd name="connsiteX1692" fmla="*/ 5299175 w 6386648"/>
                <a:gd name="connsiteY1692" fmla="*/ 509612 h 1849426"/>
                <a:gd name="connsiteX1693" fmla="*/ 5281150 w 6386648"/>
                <a:gd name="connsiteY1693" fmla="*/ 491587 h 1849426"/>
                <a:gd name="connsiteX1694" fmla="*/ 5299175 w 6386648"/>
                <a:gd name="connsiteY1694" fmla="*/ 473563 h 1849426"/>
                <a:gd name="connsiteX1695" fmla="*/ 4506101 w 6386648"/>
                <a:gd name="connsiteY1695" fmla="*/ 473563 h 1849426"/>
                <a:gd name="connsiteX1696" fmla="*/ 4524126 w 6386648"/>
                <a:gd name="connsiteY1696" fmla="*/ 491587 h 1849426"/>
                <a:gd name="connsiteX1697" fmla="*/ 4506101 w 6386648"/>
                <a:gd name="connsiteY1697" fmla="*/ 509612 h 1849426"/>
                <a:gd name="connsiteX1698" fmla="*/ 4488077 w 6386648"/>
                <a:gd name="connsiteY1698" fmla="*/ 491587 h 1849426"/>
                <a:gd name="connsiteX1699" fmla="*/ 4506101 w 6386648"/>
                <a:gd name="connsiteY1699" fmla="*/ 473563 h 1849426"/>
                <a:gd name="connsiteX1700" fmla="*/ 4115572 w 6386648"/>
                <a:gd name="connsiteY1700" fmla="*/ 473563 h 1849426"/>
                <a:gd name="connsiteX1701" fmla="*/ 4133597 w 6386648"/>
                <a:gd name="connsiteY1701" fmla="*/ 491587 h 1849426"/>
                <a:gd name="connsiteX1702" fmla="*/ 4115572 w 6386648"/>
                <a:gd name="connsiteY1702" fmla="*/ 509612 h 1849426"/>
                <a:gd name="connsiteX1703" fmla="*/ 4097548 w 6386648"/>
                <a:gd name="connsiteY1703" fmla="*/ 491587 h 1849426"/>
                <a:gd name="connsiteX1704" fmla="*/ 4115572 w 6386648"/>
                <a:gd name="connsiteY1704" fmla="*/ 473563 h 1849426"/>
                <a:gd name="connsiteX1705" fmla="*/ 2295107 w 6386648"/>
                <a:gd name="connsiteY1705" fmla="*/ 473563 h 1849426"/>
                <a:gd name="connsiteX1706" fmla="*/ 2313132 w 6386648"/>
                <a:gd name="connsiteY1706" fmla="*/ 491587 h 1849426"/>
                <a:gd name="connsiteX1707" fmla="*/ 2295107 w 6386648"/>
                <a:gd name="connsiteY1707" fmla="*/ 509612 h 1849426"/>
                <a:gd name="connsiteX1708" fmla="*/ 2277083 w 6386648"/>
                <a:gd name="connsiteY1708" fmla="*/ 491587 h 1849426"/>
                <a:gd name="connsiteX1709" fmla="*/ 2295107 w 6386648"/>
                <a:gd name="connsiteY1709" fmla="*/ 473563 h 1849426"/>
                <a:gd name="connsiteX1710" fmla="*/ 1838489 w 6386648"/>
                <a:gd name="connsiteY1710" fmla="*/ 473563 h 1849426"/>
                <a:gd name="connsiteX1711" fmla="*/ 1856514 w 6386648"/>
                <a:gd name="connsiteY1711" fmla="*/ 491587 h 1849426"/>
                <a:gd name="connsiteX1712" fmla="*/ 1838489 w 6386648"/>
                <a:gd name="connsiteY1712" fmla="*/ 509612 h 1849426"/>
                <a:gd name="connsiteX1713" fmla="*/ 1820465 w 6386648"/>
                <a:gd name="connsiteY1713" fmla="*/ 491587 h 1849426"/>
                <a:gd name="connsiteX1714" fmla="*/ 1838489 w 6386648"/>
                <a:gd name="connsiteY1714" fmla="*/ 473563 h 1849426"/>
                <a:gd name="connsiteX1715" fmla="*/ 2889912 w 6386648"/>
                <a:gd name="connsiteY1715" fmla="*/ 467555 h 1849426"/>
                <a:gd name="connsiteX1716" fmla="*/ 2907937 w 6386648"/>
                <a:gd name="connsiteY1716" fmla="*/ 485580 h 1849426"/>
                <a:gd name="connsiteX1717" fmla="*/ 2889912 w 6386648"/>
                <a:gd name="connsiteY1717" fmla="*/ 503604 h 1849426"/>
                <a:gd name="connsiteX1718" fmla="*/ 2871888 w 6386648"/>
                <a:gd name="connsiteY1718" fmla="*/ 485580 h 1849426"/>
                <a:gd name="connsiteX1719" fmla="*/ 2889912 w 6386648"/>
                <a:gd name="connsiteY1719" fmla="*/ 467555 h 1849426"/>
                <a:gd name="connsiteX1720" fmla="*/ 2108855 w 6386648"/>
                <a:gd name="connsiteY1720" fmla="*/ 467555 h 1849426"/>
                <a:gd name="connsiteX1721" fmla="*/ 2126880 w 6386648"/>
                <a:gd name="connsiteY1721" fmla="*/ 485580 h 1849426"/>
                <a:gd name="connsiteX1722" fmla="*/ 2108855 w 6386648"/>
                <a:gd name="connsiteY1722" fmla="*/ 503604 h 1849426"/>
                <a:gd name="connsiteX1723" fmla="*/ 2090831 w 6386648"/>
                <a:gd name="connsiteY1723" fmla="*/ 485580 h 1849426"/>
                <a:gd name="connsiteX1724" fmla="*/ 2108855 w 6386648"/>
                <a:gd name="connsiteY1724" fmla="*/ 467555 h 1849426"/>
                <a:gd name="connsiteX1725" fmla="*/ 1616189 w 6386648"/>
                <a:gd name="connsiteY1725" fmla="*/ 467555 h 1849426"/>
                <a:gd name="connsiteX1726" fmla="*/ 1634213 w 6386648"/>
                <a:gd name="connsiteY1726" fmla="*/ 485580 h 1849426"/>
                <a:gd name="connsiteX1727" fmla="*/ 1616189 w 6386648"/>
                <a:gd name="connsiteY1727" fmla="*/ 503604 h 1849426"/>
                <a:gd name="connsiteX1728" fmla="*/ 1598164 w 6386648"/>
                <a:gd name="connsiteY1728" fmla="*/ 485580 h 1849426"/>
                <a:gd name="connsiteX1729" fmla="*/ 1616189 w 6386648"/>
                <a:gd name="connsiteY1729" fmla="*/ 467555 h 1849426"/>
                <a:gd name="connsiteX1730" fmla="*/ 330447 w 6386648"/>
                <a:gd name="connsiteY1730" fmla="*/ 467555 h 1849426"/>
                <a:gd name="connsiteX1731" fmla="*/ 348472 w 6386648"/>
                <a:gd name="connsiteY1731" fmla="*/ 485580 h 1849426"/>
                <a:gd name="connsiteX1732" fmla="*/ 330447 w 6386648"/>
                <a:gd name="connsiteY1732" fmla="*/ 503604 h 1849426"/>
                <a:gd name="connsiteX1733" fmla="*/ 312423 w 6386648"/>
                <a:gd name="connsiteY1733" fmla="*/ 485580 h 1849426"/>
                <a:gd name="connsiteX1734" fmla="*/ 330447 w 6386648"/>
                <a:gd name="connsiteY1734" fmla="*/ 467555 h 1849426"/>
                <a:gd name="connsiteX1735" fmla="*/ 3935328 w 6386648"/>
                <a:gd name="connsiteY1735" fmla="*/ 461547 h 1849426"/>
                <a:gd name="connsiteX1736" fmla="*/ 3953353 w 6386648"/>
                <a:gd name="connsiteY1736" fmla="*/ 479571 h 1849426"/>
                <a:gd name="connsiteX1737" fmla="*/ 3935328 w 6386648"/>
                <a:gd name="connsiteY1737" fmla="*/ 497596 h 1849426"/>
                <a:gd name="connsiteX1738" fmla="*/ 3917304 w 6386648"/>
                <a:gd name="connsiteY1738" fmla="*/ 479571 h 1849426"/>
                <a:gd name="connsiteX1739" fmla="*/ 3935328 w 6386648"/>
                <a:gd name="connsiteY1739" fmla="*/ 461547 h 1849426"/>
                <a:gd name="connsiteX1740" fmla="*/ 6224427 w 6386648"/>
                <a:gd name="connsiteY1740" fmla="*/ 455539 h 1849426"/>
                <a:gd name="connsiteX1741" fmla="*/ 6242452 w 6386648"/>
                <a:gd name="connsiteY1741" fmla="*/ 473563 h 1849426"/>
                <a:gd name="connsiteX1742" fmla="*/ 6224427 w 6386648"/>
                <a:gd name="connsiteY1742" fmla="*/ 491588 h 1849426"/>
                <a:gd name="connsiteX1743" fmla="*/ 6206403 w 6386648"/>
                <a:gd name="connsiteY1743" fmla="*/ 473563 h 1849426"/>
                <a:gd name="connsiteX1744" fmla="*/ 6224427 w 6386648"/>
                <a:gd name="connsiteY1744" fmla="*/ 455539 h 1849426"/>
                <a:gd name="connsiteX1745" fmla="*/ 6110273 w 6386648"/>
                <a:gd name="connsiteY1745" fmla="*/ 455539 h 1849426"/>
                <a:gd name="connsiteX1746" fmla="*/ 6128298 w 6386648"/>
                <a:gd name="connsiteY1746" fmla="*/ 473563 h 1849426"/>
                <a:gd name="connsiteX1747" fmla="*/ 6110273 w 6386648"/>
                <a:gd name="connsiteY1747" fmla="*/ 491588 h 1849426"/>
                <a:gd name="connsiteX1748" fmla="*/ 6092248 w 6386648"/>
                <a:gd name="connsiteY1748" fmla="*/ 473563 h 1849426"/>
                <a:gd name="connsiteX1749" fmla="*/ 6110273 w 6386648"/>
                <a:gd name="connsiteY1749" fmla="*/ 455539 h 1849426"/>
                <a:gd name="connsiteX1750" fmla="*/ 3496734 w 6386648"/>
                <a:gd name="connsiteY1750" fmla="*/ 455539 h 1849426"/>
                <a:gd name="connsiteX1751" fmla="*/ 3514759 w 6386648"/>
                <a:gd name="connsiteY1751" fmla="*/ 473563 h 1849426"/>
                <a:gd name="connsiteX1752" fmla="*/ 3496734 w 6386648"/>
                <a:gd name="connsiteY1752" fmla="*/ 491588 h 1849426"/>
                <a:gd name="connsiteX1753" fmla="*/ 3478709 w 6386648"/>
                <a:gd name="connsiteY1753" fmla="*/ 473563 h 1849426"/>
                <a:gd name="connsiteX1754" fmla="*/ 3496734 w 6386648"/>
                <a:gd name="connsiteY1754" fmla="*/ 455539 h 1849426"/>
                <a:gd name="connsiteX1755" fmla="*/ 1333805 w 6386648"/>
                <a:gd name="connsiteY1755" fmla="*/ 455539 h 1849426"/>
                <a:gd name="connsiteX1756" fmla="*/ 1351830 w 6386648"/>
                <a:gd name="connsiteY1756" fmla="*/ 473563 h 1849426"/>
                <a:gd name="connsiteX1757" fmla="*/ 1333805 w 6386648"/>
                <a:gd name="connsiteY1757" fmla="*/ 491588 h 1849426"/>
                <a:gd name="connsiteX1758" fmla="*/ 1315781 w 6386648"/>
                <a:gd name="connsiteY1758" fmla="*/ 473563 h 1849426"/>
                <a:gd name="connsiteX1759" fmla="*/ 1333805 w 6386648"/>
                <a:gd name="connsiteY1759" fmla="*/ 455539 h 1849426"/>
                <a:gd name="connsiteX1760" fmla="*/ 2727693 w 6386648"/>
                <a:gd name="connsiteY1760" fmla="*/ 449531 h 1849426"/>
                <a:gd name="connsiteX1761" fmla="*/ 2745718 w 6386648"/>
                <a:gd name="connsiteY1761" fmla="*/ 467555 h 1849426"/>
                <a:gd name="connsiteX1762" fmla="*/ 2727693 w 6386648"/>
                <a:gd name="connsiteY1762" fmla="*/ 485580 h 1849426"/>
                <a:gd name="connsiteX1763" fmla="*/ 2709669 w 6386648"/>
                <a:gd name="connsiteY1763" fmla="*/ 467555 h 1849426"/>
                <a:gd name="connsiteX1764" fmla="*/ 2727693 w 6386648"/>
                <a:gd name="connsiteY1764" fmla="*/ 449531 h 1849426"/>
                <a:gd name="connsiteX1765" fmla="*/ 2607530 w 6386648"/>
                <a:gd name="connsiteY1765" fmla="*/ 449531 h 1849426"/>
                <a:gd name="connsiteX1766" fmla="*/ 2625555 w 6386648"/>
                <a:gd name="connsiteY1766" fmla="*/ 467555 h 1849426"/>
                <a:gd name="connsiteX1767" fmla="*/ 2607530 w 6386648"/>
                <a:gd name="connsiteY1767" fmla="*/ 485580 h 1849426"/>
                <a:gd name="connsiteX1768" fmla="*/ 2589506 w 6386648"/>
                <a:gd name="connsiteY1768" fmla="*/ 467555 h 1849426"/>
                <a:gd name="connsiteX1769" fmla="*/ 2607530 w 6386648"/>
                <a:gd name="connsiteY1769" fmla="*/ 449531 h 1849426"/>
                <a:gd name="connsiteX1770" fmla="*/ 5797850 w 6386648"/>
                <a:gd name="connsiteY1770" fmla="*/ 443523 h 1849426"/>
                <a:gd name="connsiteX1771" fmla="*/ 5815875 w 6386648"/>
                <a:gd name="connsiteY1771" fmla="*/ 461547 h 1849426"/>
                <a:gd name="connsiteX1772" fmla="*/ 5797850 w 6386648"/>
                <a:gd name="connsiteY1772" fmla="*/ 479572 h 1849426"/>
                <a:gd name="connsiteX1773" fmla="*/ 5779826 w 6386648"/>
                <a:gd name="connsiteY1773" fmla="*/ 461547 h 1849426"/>
                <a:gd name="connsiteX1774" fmla="*/ 5797850 w 6386648"/>
                <a:gd name="connsiteY1774" fmla="*/ 443523 h 1849426"/>
                <a:gd name="connsiteX1775" fmla="*/ 5653655 w 6386648"/>
                <a:gd name="connsiteY1775" fmla="*/ 443523 h 1849426"/>
                <a:gd name="connsiteX1776" fmla="*/ 5671680 w 6386648"/>
                <a:gd name="connsiteY1776" fmla="*/ 461547 h 1849426"/>
                <a:gd name="connsiteX1777" fmla="*/ 5653655 w 6386648"/>
                <a:gd name="connsiteY1777" fmla="*/ 479572 h 1849426"/>
                <a:gd name="connsiteX1778" fmla="*/ 5635631 w 6386648"/>
                <a:gd name="connsiteY1778" fmla="*/ 461547 h 1849426"/>
                <a:gd name="connsiteX1779" fmla="*/ 5653655 w 6386648"/>
                <a:gd name="connsiteY1779" fmla="*/ 443523 h 1849426"/>
                <a:gd name="connsiteX1780" fmla="*/ 96129 w 6386648"/>
                <a:gd name="connsiteY1780" fmla="*/ 437514 h 1849426"/>
                <a:gd name="connsiteX1781" fmla="*/ 114154 w 6386648"/>
                <a:gd name="connsiteY1781" fmla="*/ 455539 h 1849426"/>
                <a:gd name="connsiteX1782" fmla="*/ 96129 w 6386648"/>
                <a:gd name="connsiteY1782" fmla="*/ 473563 h 1849426"/>
                <a:gd name="connsiteX1783" fmla="*/ 78105 w 6386648"/>
                <a:gd name="connsiteY1783" fmla="*/ 455539 h 1849426"/>
                <a:gd name="connsiteX1784" fmla="*/ 96129 w 6386648"/>
                <a:gd name="connsiteY1784" fmla="*/ 437514 h 1849426"/>
                <a:gd name="connsiteX1785" fmla="*/ 3058140 w 6386648"/>
                <a:gd name="connsiteY1785" fmla="*/ 431506 h 1849426"/>
                <a:gd name="connsiteX1786" fmla="*/ 3076165 w 6386648"/>
                <a:gd name="connsiteY1786" fmla="*/ 449530 h 1849426"/>
                <a:gd name="connsiteX1787" fmla="*/ 3058140 w 6386648"/>
                <a:gd name="connsiteY1787" fmla="*/ 467555 h 1849426"/>
                <a:gd name="connsiteX1788" fmla="*/ 3040116 w 6386648"/>
                <a:gd name="connsiteY1788" fmla="*/ 449530 h 1849426"/>
                <a:gd name="connsiteX1789" fmla="*/ 3058140 w 6386648"/>
                <a:gd name="connsiteY1789" fmla="*/ 431506 h 1849426"/>
                <a:gd name="connsiteX1790" fmla="*/ 2493375 w 6386648"/>
                <a:gd name="connsiteY1790" fmla="*/ 431506 h 1849426"/>
                <a:gd name="connsiteX1791" fmla="*/ 2511400 w 6386648"/>
                <a:gd name="connsiteY1791" fmla="*/ 449530 h 1849426"/>
                <a:gd name="connsiteX1792" fmla="*/ 2493375 w 6386648"/>
                <a:gd name="connsiteY1792" fmla="*/ 467555 h 1849426"/>
                <a:gd name="connsiteX1793" fmla="*/ 2475351 w 6386648"/>
                <a:gd name="connsiteY1793" fmla="*/ 449530 h 1849426"/>
                <a:gd name="connsiteX1794" fmla="*/ 2493375 w 6386648"/>
                <a:gd name="connsiteY1794" fmla="*/ 431506 h 1849426"/>
                <a:gd name="connsiteX1795" fmla="*/ 216292 w 6386648"/>
                <a:gd name="connsiteY1795" fmla="*/ 431506 h 1849426"/>
                <a:gd name="connsiteX1796" fmla="*/ 234317 w 6386648"/>
                <a:gd name="connsiteY1796" fmla="*/ 449530 h 1849426"/>
                <a:gd name="connsiteX1797" fmla="*/ 216292 w 6386648"/>
                <a:gd name="connsiteY1797" fmla="*/ 467555 h 1849426"/>
                <a:gd name="connsiteX1798" fmla="*/ 198268 w 6386648"/>
                <a:gd name="connsiteY1798" fmla="*/ 449530 h 1849426"/>
                <a:gd name="connsiteX1799" fmla="*/ 216292 w 6386648"/>
                <a:gd name="connsiteY1799" fmla="*/ 431506 h 1849426"/>
                <a:gd name="connsiteX1800" fmla="*/ 4758442 w 6386648"/>
                <a:gd name="connsiteY1800" fmla="*/ 425498 h 1849426"/>
                <a:gd name="connsiteX1801" fmla="*/ 4776467 w 6386648"/>
                <a:gd name="connsiteY1801" fmla="*/ 443522 h 1849426"/>
                <a:gd name="connsiteX1802" fmla="*/ 4758442 w 6386648"/>
                <a:gd name="connsiteY1802" fmla="*/ 461547 h 1849426"/>
                <a:gd name="connsiteX1803" fmla="*/ 4740417 w 6386648"/>
                <a:gd name="connsiteY1803" fmla="*/ 443522 h 1849426"/>
                <a:gd name="connsiteX1804" fmla="*/ 4758442 w 6386648"/>
                <a:gd name="connsiteY1804" fmla="*/ 425498 h 1849426"/>
                <a:gd name="connsiteX1805" fmla="*/ 1453968 w 6386648"/>
                <a:gd name="connsiteY1805" fmla="*/ 425498 h 1849426"/>
                <a:gd name="connsiteX1806" fmla="*/ 1471993 w 6386648"/>
                <a:gd name="connsiteY1806" fmla="*/ 443522 h 1849426"/>
                <a:gd name="connsiteX1807" fmla="*/ 1453968 w 6386648"/>
                <a:gd name="connsiteY1807" fmla="*/ 461547 h 1849426"/>
                <a:gd name="connsiteX1808" fmla="*/ 1435944 w 6386648"/>
                <a:gd name="connsiteY1808" fmla="*/ 443522 h 1849426"/>
                <a:gd name="connsiteX1809" fmla="*/ 1453968 w 6386648"/>
                <a:gd name="connsiteY1809" fmla="*/ 425498 h 1849426"/>
                <a:gd name="connsiteX1810" fmla="*/ 552748 w 6386648"/>
                <a:gd name="connsiteY1810" fmla="*/ 425498 h 1849426"/>
                <a:gd name="connsiteX1811" fmla="*/ 570773 w 6386648"/>
                <a:gd name="connsiteY1811" fmla="*/ 443522 h 1849426"/>
                <a:gd name="connsiteX1812" fmla="*/ 552748 w 6386648"/>
                <a:gd name="connsiteY1812" fmla="*/ 461547 h 1849426"/>
                <a:gd name="connsiteX1813" fmla="*/ 534724 w 6386648"/>
                <a:gd name="connsiteY1813" fmla="*/ 443522 h 1849426"/>
                <a:gd name="connsiteX1814" fmla="*/ 552748 w 6386648"/>
                <a:gd name="connsiteY1814" fmla="*/ 425498 h 1849426"/>
                <a:gd name="connsiteX1815" fmla="*/ 1742358 w 6386648"/>
                <a:gd name="connsiteY1815" fmla="*/ 419490 h 1849426"/>
                <a:gd name="connsiteX1816" fmla="*/ 1760383 w 6386648"/>
                <a:gd name="connsiteY1816" fmla="*/ 437514 h 1849426"/>
                <a:gd name="connsiteX1817" fmla="*/ 1742358 w 6386648"/>
                <a:gd name="connsiteY1817" fmla="*/ 455539 h 1849426"/>
                <a:gd name="connsiteX1818" fmla="*/ 1724334 w 6386648"/>
                <a:gd name="connsiteY1818" fmla="*/ 437514 h 1849426"/>
                <a:gd name="connsiteX1819" fmla="*/ 1742358 w 6386648"/>
                <a:gd name="connsiteY1819" fmla="*/ 419490 h 1849426"/>
                <a:gd name="connsiteX1820" fmla="*/ 1183602 w 6386648"/>
                <a:gd name="connsiteY1820" fmla="*/ 413482 h 1849426"/>
                <a:gd name="connsiteX1821" fmla="*/ 1201627 w 6386648"/>
                <a:gd name="connsiteY1821" fmla="*/ 431506 h 1849426"/>
                <a:gd name="connsiteX1822" fmla="*/ 1183602 w 6386648"/>
                <a:gd name="connsiteY1822" fmla="*/ 449531 h 1849426"/>
                <a:gd name="connsiteX1823" fmla="*/ 1165578 w 6386648"/>
                <a:gd name="connsiteY1823" fmla="*/ 431506 h 1849426"/>
                <a:gd name="connsiteX1824" fmla="*/ 1183602 w 6386648"/>
                <a:gd name="connsiteY1824" fmla="*/ 413482 h 1849426"/>
                <a:gd name="connsiteX1825" fmla="*/ 895212 w 6386648"/>
                <a:gd name="connsiteY1825" fmla="*/ 413482 h 1849426"/>
                <a:gd name="connsiteX1826" fmla="*/ 913236 w 6386648"/>
                <a:gd name="connsiteY1826" fmla="*/ 431506 h 1849426"/>
                <a:gd name="connsiteX1827" fmla="*/ 895212 w 6386648"/>
                <a:gd name="connsiteY1827" fmla="*/ 449531 h 1849426"/>
                <a:gd name="connsiteX1828" fmla="*/ 877187 w 6386648"/>
                <a:gd name="connsiteY1828" fmla="*/ 431506 h 1849426"/>
                <a:gd name="connsiteX1829" fmla="*/ 895212 w 6386648"/>
                <a:gd name="connsiteY1829" fmla="*/ 413482 h 1849426"/>
                <a:gd name="connsiteX1830" fmla="*/ 672910 w 6386648"/>
                <a:gd name="connsiteY1830" fmla="*/ 413482 h 1849426"/>
                <a:gd name="connsiteX1831" fmla="*/ 690935 w 6386648"/>
                <a:gd name="connsiteY1831" fmla="*/ 431506 h 1849426"/>
                <a:gd name="connsiteX1832" fmla="*/ 672910 w 6386648"/>
                <a:gd name="connsiteY1832" fmla="*/ 449531 h 1849426"/>
                <a:gd name="connsiteX1833" fmla="*/ 654886 w 6386648"/>
                <a:gd name="connsiteY1833" fmla="*/ 431506 h 1849426"/>
                <a:gd name="connsiteX1834" fmla="*/ 672910 w 6386648"/>
                <a:gd name="connsiteY1834" fmla="*/ 413482 h 1849426"/>
                <a:gd name="connsiteX1835" fmla="*/ 3719035 w 6386648"/>
                <a:gd name="connsiteY1835" fmla="*/ 407474 h 1849426"/>
                <a:gd name="connsiteX1836" fmla="*/ 3737060 w 6386648"/>
                <a:gd name="connsiteY1836" fmla="*/ 425499 h 1849426"/>
                <a:gd name="connsiteX1837" fmla="*/ 3719035 w 6386648"/>
                <a:gd name="connsiteY1837" fmla="*/ 443523 h 1849426"/>
                <a:gd name="connsiteX1838" fmla="*/ 3701011 w 6386648"/>
                <a:gd name="connsiteY1838" fmla="*/ 425499 h 1849426"/>
                <a:gd name="connsiteX1839" fmla="*/ 3719035 w 6386648"/>
                <a:gd name="connsiteY1839" fmla="*/ 407474 h 1849426"/>
                <a:gd name="connsiteX1840" fmla="*/ 6002126 w 6386648"/>
                <a:gd name="connsiteY1840" fmla="*/ 401466 h 1849426"/>
                <a:gd name="connsiteX1841" fmla="*/ 6020151 w 6386648"/>
                <a:gd name="connsiteY1841" fmla="*/ 419490 h 1849426"/>
                <a:gd name="connsiteX1842" fmla="*/ 6002126 w 6386648"/>
                <a:gd name="connsiteY1842" fmla="*/ 437515 h 1849426"/>
                <a:gd name="connsiteX1843" fmla="*/ 5984102 w 6386648"/>
                <a:gd name="connsiteY1843" fmla="*/ 419490 h 1849426"/>
                <a:gd name="connsiteX1844" fmla="*/ 6002126 w 6386648"/>
                <a:gd name="connsiteY1844" fmla="*/ 401466 h 1849426"/>
                <a:gd name="connsiteX1845" fmla="*/ 1970668 w 6386648"/>
                <a:gd name="connsiteY1845" fmla="*/ 401466 h 1849426"/>
                <a:gd name="connsiteX1846" fmla="*/ 1988693 w 6386648"/>
                <a:gd name="connsiteY1846" fmla="*/ 419490 h 1849426"/>
                <a:gd name="connsiteX1847" fmla="*/ 1970668 w 6386648"/>
                <a:gd name="connsiteY1847" fmla="*/ 437515 h 1849426"/>
                <a:gd name="connsiteX1848" fmla="*/ 1952644 w 6386648"/>
                <a:gd name="connsiteY1848" fmla="*/ 419490 h 1849426"/>
                <a:gd name="connsiteX1849" fmla="*/ 1970668 w 6386648"/>
                <a:gd name="connsiteY1849" fmla="*/ 401466 h 1849426"/>
                <a:gd name="connsiteX1850" fmla="*/ 5533492 w 6386648"/>
                <a:gd name="connsiteY1850" fmla="*/ 395457 h 1849426"/>
                <a:gd name="connsiteX1851" fmla="*/ 5551517 w 6386648"/>
                <a:gd name="connsiteY1851" fmla="*/ 413481 h 1849426"/>
                <a:gd name="connsiteX1852" fmla="*/ 5533492 w 6386648"/>
                <a:gd name="connsiteY1852" fmla="*/ 431506 h 1849426"/>
                <a:gd name="connsiteX1853" fmla="*/ 5515468 w 6386648"/>
                <a:gd name="connsiteY1853" fmla="*/ 413481 h 1849426"/>
                <a:gd name="connsiteX1854" fmla="*/ 5533492 w 6386648"/>
                <a:gd name="connsiteY1854" fmla="*/ 395457 h 1849426"/>
                <a:gd name="connsiteX1855" fmla="*/ 3166287 w 6386648"/>
                <a:gd name="connsiteY1855" fmla="*/ 395457 h 1849426"/>
                <a:gd name="connsiteX1856" fmla="*/ 3184312 w 6386648"/>
                <a:gd name="connsiteY1856" fmla="*/ 413481 h 1849426"/>
                <a:gd name="connsiteX1857" fmla="*/ 3166287 w 6386648"/>
                <a:gd name="connsiteY1857" fmla="*/ 431506 h 1849426"/>
                <a:gd name="connsiteX1858" fmla="*/ 3148262 w 6386648"/>
                <a:gd name="connsiteY1858" fmla="*/ 413481 h 1849426"/>
                <a:gd name="connsiteX1859" fmla="*/ 3166287 w 6386648"/>
                <a:gd name="connsiteY1859" fmla="*/ 395457 h 1849426"/>
                <a:gd name="connsiteX1860" fmla="*/ 2373213 w 6386648"/>
                <a:gd name="connsiteY1860" fmla="*/ 395457 h 1849426"/>
                <a:gd name="connsiteX1861" fmla="*/ 2391238 w 6386648"/>
                <a:gd name="connsiteY1861" fmla="*/ 413481 h 1849426"/>
                <a:gd name="connsiteX1862" fmla="*/ 2373213 w 6386648"/>
                <a:gd name="connsiteY1862" fmla="*/ 431506 h 1849426"/>
                <a:gd name="connsiteX1863" fmla="*/ 2355189 w 6386648"/>
                <a:gd name="connsiteY1863" fmla="*/ 413481 h 1849426"/>
                <a:gd name="connsiteX1864" fmla="*/ 2373213 w 6386648"/>
                <a:gd name="connsiteY1864" fmla="*/ 395457 h 1849426"/>
                <a:gd name="connsiteX1865" fmla="*/ 787065 w 6386648"/>
                <a:gd name="connsiteY1865" fmla="*/ 395457 h 1849426"/>
                <a:gd name="connsiteX1866" fmla="*/ 805090 w 6386648"/>
                <a:gd name="connsiteY1866" fmla="*/ 413481 h 1849426"/>
                <a:gd name="connsiteX1867" fmla="*/ 787065 w 6386648"/>
                <a:gd name="connsiteY1867" fmla="*/ 431506 h 1849426"/>
                <a:gd name="connsiteX1868" fmla="*/ 769041 w 6386648"/>
                <a:gd name="connsiteY1868" fmla="*/ 413481 h 1849426"/>
                <a:gd name="connsiteX1869" fmla="*/ 787065 w 6386648"/>
                <a:gd name="connsiteY1869" fmla="*/ 395457 h 1849426"/>
                <a:gd name="connsiteX1870" fmla="*/ 6344591 w 6386648"/>
                <a:gd name="connsiteY1870" fmla="*/ 389449 h 1849426"/>
                <a:gd name="connsiteX1871" fmla="*/ 6362615 w 6386648"/>
                <a:gd name="connsiteY1871" fmla="*/ 407473 h 1849426"/>
                <a:gd name="connsiteX1872" fmla="*/ 6344591 w 6386648"/>
                <a:gd name="connsiteY1872" fmla="*/ 425498 h 1849426"/>
                <a:gd name="connsiteX1873" fmla="*/ 6326566 w 6386648"/>
                <a:gd name="connsiteY1873" fmla="*/ 407473 h 1849426"/>
                <a:gd name="connsiteX1874" fmla="*/ 6344591 w 6386648"/>
                <a:gd name="connsiteY1874" fmla="*/ 389449 h 1849426"/>
                <a:gd name="connsiteX1875" fmla="*/ 5407321 w 6386648"/>
                <a:gd name="connsiteY1875" fmla="*/ 383441 h 1849426"/>
                <a:gd name="connsiteX1876" fmla="*/ 5425346 w 6386648"/>
                <a:gd name="connsiteY1876" fmla="*/ 401465 h 1849426"/>
                <a:gd name="connsiteX1877" fmla="*/ 5407321 w 6386648"/>
                <a:gd name="connsiteY1877" fmla="*/ 419490 h 1849426"/>
                <a:gd name="connsiteX1878" fmla="*/ 5389297 w 6386648"/>
                <a:gd name="connsiteY1878" fmla="*/ 401465 h 1849426"/>
                <a:gd name="connsiteX1879" fmla="*/ 5407321 w 6386648"/>
                <a:gd name="connsiteY1879" fmla="*/ 383441 h 1849426"/>
                <a:gd name="connsiteX1880" fmla="*/ 5233085 w 6386648"/>
                <a:gd name="connsiteY1880" fmla="*/ 383441 h 1849426"/>
                <a:gd name="connsiteX1881" fmla="*/ 5251110 w 6386648"/>
                <a:gd name="connsiteY1881" fmla="*/ 401465 h 1849426"/>
                <a:gd name="connsiteX1882" fmla="*/ 5233085 w 6386648"/>
                <a:gd name="connsiteY1882" fmla="*/ 419490 h 1849426"/>
                <a:gd name="connsiteX1883" fmla="*/ 5215061 w 6386648"/>
                <a:gd name="connsiteY1883" fmla="*/ 401465 h 1849426"/>
                <a:gd name="connsiteX1884" fmla="*/ 5233085 w 6386648"/>
                <a:gd name="connsiteY1884" fmla="*/ 383441 h 1849426"/>
                <a:gd name="connsiteX1885" fmla="*/ 4956711 w 6386648"/>
                <a:gd name="connsiteY1885" fmla="*/ 383441 h 1849426"/>
                <a:gd name="connsiteX1886" fmla="*/ 4974736 w 6386648"/>
                <a:gd name="connsiteY1886" fmla="*/ 401465 h 1849426"/>
                <a:gd name="connsiteX1887" fmla="*/ 4956711 w 6386648"/>
                <a:gd name="connsiteY1887" fmla="*/ 419490 h 1849426"/>
                <a:gd name="connsiteX1888" fmla="*/ 4938687 w 6386648"/>
                <a:gd name="connsiteY1888" fmla="*/ 401465 h 1849426"/>
                <a:gd name="connsiteX1889" fmla="*/ 4956711 w 6386648"/>
                <a:gd name="connsiteY1889" fmla="*/ 383441 h 1849426"/>
                <a:gd name="connsiteX1890" fmla="*/ 3604880 w 6386648"/>
                <a:gd name="connsiteY1890" fmla="*/ 377433 h 1849426"/>
                <a:gd name="connsiteX1891" fmla="*/ 3622905 w 6386648"/>
                <a:gd name="connsiteY1891" fmla="*/ 395458 h 1849426"/>
                <a:gd name="connsiteX1892" fmla="*/ 3604880 w 6386648"/>
                <a:gd name="connsiteY1892" fmla="*/ 413482 h 1849426"/>
                <a:gd name="connsiteX1893" fmla="*/ 3586856 w 6386648"/>
                <a:gd name="connsiteY1893" fmla="*/ 395458 h 1849426"/>
                <a:gd name="connsiteX1894" fmla="*/ 3604880 w 6386648"/>
                <a:gd name="connsiteY1894" fmla="*/ 377433 h 1849426"/>
                <a:gd name="connsiteX1895" fmla="*/ 5082882 w 6386648"/>
                <a:gd name="connsiteY1895" fmla="*/ 371425 h 1849426"/>
                <a:gd name="connsiteX1896" fmla="*/ 5100907 w 6386648"/>
                <a:gd name="connsiteY1896" fmla="*/ 389449 h 1849426"/>
                <a:gd name="connsiteX1897" fmla="*/ 5082882 w 6386648"/>
                <a:gd name="connsiteY1897" fmla="*/ 407474 h 1849426"/>
                <a:gd name="connsiteX1898" fmla="*/ 5064858 w 6386648"/>
                <a:gd name="connsiteY1898" fmla="*/ 389449 h 1849426"/>
                <a:gd name="connsiteX1899" fmla="*/ 5082882 w 6386648"/>
                <a:gd name="connsiteY1899" fmla="*/ 371425 h 1849426"/>
                <a:gd name="connsiteX1900" fmla="*/ 4638280 w 6386648"/>
                <a:gd name="connsiteY1900" fmla="*/ 371425 h 1849426"/>
                <a:gd name="connsiteX1901" fmla="*/ 4656305 w 6386648"/>
                <a:gd name="connsiteY1901" fmla="*/ 389449 h 1849426"/>
                <a:gd name="connsiteX1902" fmla="*/ 4638280 w 6386648"/>
                <a:gd name="connsiteY1902" fmla="*/ 407474 h 1849426"/>
                <a:gd name="connsiteX1903" fmla="*/ 4620255 w 6386648"/>
                <a:gd name="connsiteY1903" fmla="*/ 389449 h 1849426"/>
                <a:gd name="connsiteX1904" fmla="*/ 4638280 w 6386648"/>
                <a:gd name="connsiteY1904" fmla="*/ 371425 h 1849426"/>
                <a:gd name="connsiteX1905" fmla="*/ 4289808 w 6386648"/>
                <a:gd name="connsiteY1905" fmla="*/ 371425 h 1849426"/>
                <a:gd name="connsiteX1906" fmla="*/ 4307833 w 6386648"/>
                <a:gd name="connsiteY1906" fmla="*/ 389449 h 1849426"/>
                <a:gd name="connsiteX1907" fmla="*/ 4289808 w 6386648"/>
                <a:gd name="connsiteY1907" fmla="*/ 407474 h 1849426"/>
                <a:gd name="connsiteX1908" fmla="*/ 4271784 w 6386648"/>
                <a:gd name="connsiteY1908" fmla="*/ 389449 h 1849426"/>
                <a:gd name="connsiteX1909" fmla="*/ 4289808 w 6386648"/>
                <a:gd name="connsiteY1909" fmla="*/ 371425 h 1849426"/>
                <a:gd name="connsiteX1910" fmla="*/ 3412620 w 6386648"/>
                <a:gd name="connsiteY1910" fmla="*/ 371425 h 1849426"/>
                <a:gd name="connsiteX1911" fmla="*/ 3430645 w 6386648"/>
                <a:gd name="connsiteY1911" fmla="*/ 389449 h 1849426"/>
                <a:gd name="connsiteX1912" fmla="*/ 3412620 w 6386648"/>
                <a:gd name="connsiteY1912" fmla="*/ 407474 h 1849426"/>
                <a:gd name="connsiteX1913" fmla="*/ 3394596 w 6386648"/>
                <a:gd name="connsiteY1913" fmla="*/ 389449 h 1849426"/>
                <a:gd name="connsiteX1914" fmla="*/ 3412620 w 6386648"/>
                <a:gd name="connsiteY1914" fmla="*/ 371425 h 1849426"/>
                <a:gd name="connsiteX1915" fmla="*/ 3286449 w 6386648"/>
                <a:gd name="connsiteY1915" fmla="*/ 371425 h 1849426"/>
                <a:gd name="connsiteX1916" fmla="*/ 3304474 w 6386648"/>
                <a:gd name="connsiteY1916" fmla="*/ 389449 h 1849426"/>
                <a:gd name="connsiteX1917" fmla="*/ 3286449 w 6386648"/>
                <a:gd name="connsiteY1917" fmla="*/ 407474 h 1849426"/>
                <a:gd name="connsiteX1918" fmla="*/ 3268424 w 6386648"/>
                <a:gd name="connsiteY1918" fmla="*/ 389449 h 1849426"/>
                <a:gd name="connsiteX1919" fmla="*/ 3286449 w 6386648"/>
                <a:gd name="connsiteY1919" fmla="*/ 371425 h 1849426"/>
                <a:gd name="connsiteX1920" fmla="*/ 2204985 w 6386648"/>
                <a:gd name="connsiteY1920" fmla="*/ 371425 h 1849426"/>
                <a:gd name="connsiteX1921" fmla="*/ 2223010 w 6386648"/>
                <a:gd name="connsiteY1921" fmla="*/ 389449 h 1849426"/>
                <a:gd name="connsiteX1922" fmla="*/ 2204985 w 6386648"/>
                <a:gd name="connsiteY1922" fmla="*/ 407474 h 1849426"/>
                <a:gd name="connsiteX1923" fmla="*/ 2186961 w 6386648"/>
                <a:gd name="connsiteY1923" fmla="*/ 389449 h 1849426"/>
                <a:gd name="connsiteX1924" fmla="*/ 2204985 w 6386648"/>
                <a:gd name="connsiteY1924" fmla="*/ 371425 h 1849426"/>
                <a:gd name="connsiteX1925" fmla="*/ 1033398 w 6386648"/>
                <a:gd name="connsiteY1925" fmla="*/ 371425 h 1849426"/>
                <a:gd name="connsiteX1926" fmla="*/ 1051423 w 6386648"/>
                <a:gd name="connsiteY1926" fmla="*/ 389449 h 1849426"/>
                <a:gd name="connsiteX1927" fmla="*/ 1033398 w 6386648"/>
                <a:gd name="connsiteY1927" fmla="*/ 407474 h 1849426"/>
                <a:gd name="connsiteX1928" fmla="*/ 1015374 w 6386648"/>
                <a:gd name="connsiteY1928" fmla="*/ 389449 h 1849426"/>
                <a:gd name="connsiteX1929" fmla="*/ 1033398 w 6386648"/>
                <a:gd name="connsiteY1929" fmla="*/ 371425 h 1849426"/>
                <a:gd name="connsiteX1930" fmla="*/ 432585 w 6386648"/>
                <a:gd name="connsiteY1930" fmla="*/ 371425 h 1849426"/>
                <a:gd name="connsiteX1931" fmla="*/ 450610 w 6386648"/>
                <a:gd name="connsiteY1931" fmla="*/ 389449 h 1849426"/>
                <a:gd name="connsiteX1932" fmla="*/ 432585 w 6386648"/>
                <a:gd name="connsiteY1932" fmla="*/ 407474 h 1849426"/>
                <a:gd name="connsiteX1933" fmla="*/ 414561 w 6386648"/>
                <a:gd name="connsiteY1933" fmla="*/ 389449 h 1849426"/>
                <a:gd name="connsiteX1934" fmla="*/ 432585 w 6386648"/>
                <a:gd name="connsiteY1934" fmla="*/ 371425 h 1849426"/>
                <a:gd name="connsiteX1935" fmla="*/ 4037466 w 6386648"/>
                <a:gd name="connsiteY1935" fmla="*/ 365417 h 1849426"/>
                <a:gd name="connsiteX1936" fmla="*/ 4055491 w 6386648"/>
                <a:gd name="connsiteY1936" fmla="*/ 383441 h 1849426"/>
                <a:gd name="connsiteX1937" fmla="*/ 4037466 w 6386648"/>
                <a:gd name="connsiteY1937" fmla="*/ 401466 h 1849426"/>
                <a:gd name="connsiteX1938" fmla="*/ 4019441 w 6386648"/>
                <a:gd name="connsiteY1938" fmla="*/ 383441 h 1849426"/>
                <a:gd name="connsiteX1939" fmla="*/ 4037466 w 6386648"/>
                <a:gd name="connsiteY1939" fmla="*/ 365417 h 1849426"/>
                <a:gd name="connsiteX1940" fmla="*/ 2943986 w 6386648"/>
                <a:gd name="connsiteY1940" fmla="*/ 365417 h 1849426"/>
                <a:gd name="connsiteX1941" fmla="*/ 2962011 w 6386648"/>
                <a:gd name="connsiteY1941" fmla="*/ 383441 h 1849426"/>
                <a:gd name="connsiteX1942" fmla="*/ 2943986 w 6386648"/>
                <a:gd name="connsiteY1942" fmla="*/ 401466 h 1849426"/>
                <a:gd name="connsiteX1943" fmla="*/ 2925962 w 6386648"/>
                <a:gd name="connsiteY1943" fmla="*/ 383441 h 1849426"/>
                <a:gd name="connsiteX1944" fmla="*/ 2943986 w 6386648"/>
                <a:gd name="connsiteY1944" fmla="*/ 365417 h 1849426"/>
                <a:gd name="connsiteX1945" fmla="*/ 2811807 w 6386648"/>
                <a:gd name="connsiteY1945" fmla="*/ 365417 h 1849426"/>
                <a:gd name="connsiteX1946" fmla="*/ 2829832 w 6386648"/>
                <a:gd name="connsiteY1946" fmla="*/ 383441 h 1849426"/>
                <a:gd name="connsiteX1947" fmla="*/ 2811807 w 6386648"/>
                <a:gd name="connsiteY1947" fmla="*/ 401466 h 1849426"/>
                <a:gd name="connsiteX1948" fmla="*/ 2793783 w 6386648"/>
                <a:gd name="connsiteY1948" fmla="*/ 383441 h 1849426"/>
                <a:gd name="connsiteX1949" fmla="*/ 2811807 w 6386648"/>
                <a:gd name="connsiteY1949" fmla="*/ 365417 h 1849426"/>
                <a:gd name="connsiteX1950" fmla="*/ 5899988 w 6386648"/>
                <a:gd name="connsiteY1950" fmla="*/ 353401 h 1849426"/>
                <a:gd name="connsiteX1951" fmla="*/ 5918013 w 6386648"/>
                <a:gd name="connsiteY1951" fmla="*/ 371425 h 1849426"/>
                <a:gd name="connsiteX1952" fmla="*/ 5899988 w 6386648"/>
                <a:gd name="connsiteY1952" fmla="*/ 389450 h 1849426"/>
                <a:gd name="connsiteX1953" fmla="*/ 5881963 w 6386648"/>
                <a:gd name="connsiteY1953" fmla="*/ 371425 h 1849426"/>
                <a:gd name="connsiteX1954" fmla="*/ 5899988 w 6386648"/>
                <a:gd name="connsiteY1954" fmla="*/ 353401 h 1849426"/>
                <a:gd name="connsiteX1955" fmla="*/ 4842556 w 6386648"/>
                <a:gd name="connsiteY1955" fmla="*/ 353401 h 1849426"/>
                <a:gd name="connsiteX1956" fmla="*/ 4860581 w 6386648"/>
                <a:gd name="connsiteY1956" fmla="*/ 371425 h 1849426"/>
                <a:gd name="connsiteX1957" fmla="*/ 4842556 w 6386648"/>
                <a:gd name="connsiteY1957" fmla="*/ 389450 h 1849426"/>
                <a:gd name="connsiteX1958" fmla="*/ 4824532 w 6386648"/>
                <a:gd name="connsiteY1958" fmla="*/ 371425 h 1849426"/>
                <a:gd name="connsiteX1959" fmla="*/ 4842556 w 6386648"/>
                <a:gd name="connsiteY1959" fmla="*/ 353401 h 1849426"/>
                <a:gd name="connsiteX1960" fmla="*/ 4518117 w 6386648"/>
                <a:gd name="connsiteY1960" fmla="*/ 353401 h 1849426"/>
                <a:gd name="connsiteX1961" fmla="*/ 4536142 w 6386648"/>
                <a:gd name="connsiteY1961" fmla="*/ 371425 h 1849426"/>
                <a:gd name="connsiteX1962" fmla="*/ 4518117 w 6386648"/>
                <a:gd name="connsiteY1962" fmla="*/ 389450 h 1849426"/>
                <a:gd name="connsiteX1963" fmla="*/ 4500092 w 6386648"/>
                <a:gd name="connsiteY1963" fmla="*/ 371425 h 1849426"/>
                <a:gd name="connsiteX1964" fmla="*/ 4518117 w 6386648"/>
                <a:gd name="connsiteY1964" fmla="*/ 353401 h 1849426"/>
                <a:gd name="connsiteX1965" fmla="*/ 4403962 w 6386648"/>
                <a:gd name="connsiteY1965" fmla="*/ 353401 h 1849426"/>
                <a:gd name="connsiteX1966" fmla="*/ 4421987 w 6386648"/>
                <a:gd name="connsiteY1966" fmla="*/ 371425 h 1849426"/>
                <a:gd name="connsiteX1967" fmla="*/ 4403962 w 6386648"/>
                <a:gd name="connsiteY1967" fmla="*/ 389450 h 1849426"/>
                <a:gd name="connsiteX1968" fmla="*/ 4385938 w 6386648"/>
                <a:gd name="connsiteY1968" fmla="*/ 371425 h 1849426"/>
                <a:gd name="connsiteX1969" fmla="*/ 4403962 w 6386648"/>
                <a:gd name="connsiteY1969" fmla="*/ 353401 h 1849426"/>
                <a:gd name="connsiteX1970" fmla="*/ 4151621 w 6386648"/>
                <a:gd name="connsiteY1970" fmla="*/ 353401 h 1849426"/>
                <a:gd name="connsiteX1971" fmla="*/ 4169646 w 6386648"/>
                <a:gd name="connsiteY1971" fmla="*/ 371425 h 1849426"/>
                <a:gd name="connsiteX1972" fmla="*/ 4151621 w 6386648"/>
                <a:gd name="connsiteY1972" fmla="*/ 389450 h 1849426"/>
                <a:gd name="connsiteX1973" fmla="*/ 4133597 w 6386648"/>
                <a:gd name="connsiteY1973" fmla="*/ 371425 h 1849426"/>
                <a:gd name="connsiteX1974" fmla="*/ 4151621 w 6386648"/>
                <a:gd name="connsiteY1974" fmla="*/ 353401 h 1849426"/>
                <a:gd name="connsiteX1975" fmla="*/ 3911295 w 6386648"/>
                <a:gd name="connsiteY1975" fmla="*/ 347392 h 1849426"/>
                <a:gd name="connsiteX1976" fmla="*/ 3929320 w 6386648"/>
                <a:gd name="connsiteY1976" fmla="*/ 365417 h 1849426"/>
                <a:gd name="connsiteX1977" fmla="*/ 3911295 w 6386648"/>
                <a:gd name="connsiteY1977" fmla="*/ 383441 h 1849426"/>
                <a:gd name="connsiteX1978" fmla="*/ 3893271 w 6386648"/>
                <a:gd name="connsiteY1978" fmla="*/ 365417 h 1849426"/>
                <a:gd name="connsiteX1979" fmla="*/ 3911295 w 6386648"/>
                <a:gd name="connsiteY1979" fmla="*/ 347392 h 1849426"/>
                <a:gd name="connsiteX1980" fmla="*/ 2078814 w 6386648"/>
                <a:gd name="connsiteY1980" fmla="*/ 347392 h 1849426"/>
                <a:gd name="connsiteX1981" fmla="*/ 2096839 w 6386648"/>
                <a:gd name="connsiteY1981" fmla="*/ 365417 h 1849426"/>
                <a:gd name="connsiteX1982" fmla="*/ 2078814 w 6386648"/>
                <a:gd name="connsiteY1982" fmla="*/ 383441 h 1849426"/>
                <a:gd name="connsiteX1983" fmla="*/ 2060790 w 6386648"/>
                <a:gd name="connsiteY1983" fmla="*/ 365417 h 1849426"/>
                <a:gd name="connsiteX1984" fmla="*/ 2078814 w 6386648"/>
                <a:gd name="connsiteY1984" fmla="*/ 347392 h 1849426"/>
                <a:gd name="connsiteX1985" fmla="*/ 1345823 w 6386648"/>
                <a:gd name="connsiteY1985" fmla="*/ 347392 h 1849426"/>
                <a:gd name="connsiteX1986" fmla="*/ 1363847 w 6386648"/>
                <a:gd name="connsiteY1986" fmla="*/ 365417 h 1849426"/>
                <a:gd name="connsiteX1987" fmla="*/ 1345823 w 6386648"/>
                <a:gd name="connsiteY1987" fmla="*/ 383441 h 1849426"/>
                <a:gd name="connsiteX1988" fmla="*/ 1327798 w 6386648"/>
                <a:gd name="connsiteY1988" fmla="*/ 365417 h 1849426"/>
                <a:gd name="connsiteX1989" fmla="*/ 1345823 w 6386648"/>
                <a:gd name="connsiteY1989" fmla="*/ 347392 h 1849426"/>
                <a:gd name="connsiteX1990" fmla="*/ 1556107 w 6386648"/>
                <a:gd name="connsiteY1990" fmla="*/ 341384 h 1849426"/>
                <a:gd name="connsiteX1991" fmla="*/ 1574131 w 6386648"/>
                <a:gd name="connsiteY1991" fmla="*/ 359408 h 1849426"/>
                <a:gd name="connsiteX1992" fmla="*/ 1556107 w 6386648"/>
                <a:gd name="connsiteY1992" fmla="*/ 377433 h 1849426"/>
                <a:gd name="connsiteX1993" fmla="*/ 1538082 w 6386648"/>
                <a:gd name="connsiteY1993" fmla="*/ 359408 h 1849426"/>
                <a:gd name="connsiteX1994" fmla="*/ 1556107 w 6386648"/>
                <a:gd name="connsiteY1994" fmla="*/ 341384 h 1849426"/>
                <a:gd name="connsiteX1995" fmla="*/ 306414 w 6386648"/>
                <a:gd name="connsiteY1995" fmla="*/ 341384 h 1849426"/>
                <a:gd name="connsiteX1996" fmla="*/ 324439 w 6386648"/>
                <a:gd name="connsiteY1996" fmla="*/ 359408 h 1849426"/>
                <a:gd name="connsiteX1997" fmla="*/ 306414 w 6386648"/>
                <a:gd name="connsiteY1997" fmla="*/ 377433 h 1849426"/>
                <a:gd name="connsiteX1998" fmla="*/ 288390 w 6386648"/>
                <a:gd name="connsiteY1998" fmla="*/ 359408 h 1849426"/>
                <a:gd name="connsiteX1999" fmla="*/ 306414 w 6386648"/>
                <a:gd name="connsiteY1999" fmla="*/ 341384 h 1849426"/>
                <a:gd name="connsiteX2000" fmla="*/ 6206403 w 6386648"/>
                <a:gd name="connsiteY2000" fmla="*/ 335376 h 1849426"/>
                <a:gd name="connsiteX2001" fmla="*/ 6224428 w 6386648"/>
                <a:gd name="connsiteY2001" fmla="*/ 353400 h 1849426"/>
                <a:gd name="connsiteX2002" fmla="*/ 6206403 w 6386648"/>
                <a:gd name="connsiteY2002" fmla="*/ 371425 h 1849426"/>
                <a:gd name="connsiteX2003" fmla="*/ 6188379 w 6386648"/>
                <a:gd name="connsiteY2003" fmla="*/ 353400 h 1849426"/>
                <a:gd name="connsiteX2004" fmla="*/ 6206403 w 6386648"/>
                <a:gd name="connsiteY2004" fmla="*/ 335376 h 1849426"/>
                <a:gd name="connsiteX2005" fmla="*/ 1670261 w 6386648"/>
                <a:gd name="connsiteY2005" fmla="*/ 335376 h 1849426"/>
                <a:gd name="connsiteX2006" fmla="*/ 1688286 w 6386648"/>
                <a:gd name="connsiteY2006" fmla="*/ 353400 h 1849426"/>
                <a:gd name="connsiteX2007" fmla="*/ 1670261 w 6386648"/>
                <a:gd name="connsiteY2007" fmla="*/ 371425 h 1849426"/>
                <a:gd name="connsiteX2008" fmla="*/ 1652237 w 6386648"/>
                <a:gd name="connsiteY2008" fmla="*/ 353400 h 1849426"/>
                <a:gd name="connsiteX2009" fmla="*/ 1670261 w 6386648"/>
                <a:gd name="connsiteY2009" fmla="*/ 335376 h 1849426"/>
                <a:gd name="connsiteX2010" fmla="*/ 5767809 w 6386648"/>
                <a:gd name="connsiteY2010" fmla="*/ 329368 h 1849426"/>
                <a:gd name="connsiteX2011" fmla="*/ 5785834 w 6386648"/>
                <a:gd name="connsiteY2011" fmla="*/ 347392 h 1849426"/>
                <a:gd name="connsiteX2012" fmla="*/ 5767809 w 6386648"/>
                <a:gd name="connsiteY2012" fmla="*/ 365417 h 1849426"/>
                <a:gd name="connsiteX2013" fmla="*/ 5749785 w 6386648"/>
                <a:gd name="connsiteY2013" fmla="*/ 347392 h 1849426"/>
                <a:gd name="connsiteX2014" fmla="*/ 5767809 w 6386648"/>
                <a:gd name="connsiteY2014" fmla="*/ 329368 h 1849426"/>
                <a:gd name="connsiteX2015" fmla="*/ 3797141 w 6386648"/>
                <a:gd name="connsiteY2015" fmla="*/ 329368 h 1849426"/>
                <a:gd name="connsiteX2016" fmla="*/ 3815166 w 6386648"/>
                <a:gd name="connsiteY2016" fmla="*/ 347392 h 1849426"/>
                <a:gd name="connsiteX2017" fmla="*/ 3797141 w 6386648"/>
                <a:gd name="connsiteY2017" fmla="*/ 365417 h 1849426"/>
                <a:gd name="connsiteX2018" fmla="*/ 3779116 w 6386648"/>
                <a:gd name="connsiteY2018" fmla="*/ 347392 h 1849426"/>
                <a:gd name="connsiteX2019" fmla="*/ 3797141 w 6386648"/>
                <a:gd name="connsiteY2019" fmla="*/ 329368 h 1849426"/>
                <a:gd name="connsiteX2020" fmla="*/ 2673619 w 6386648"/>
                <a:gd name="connsiteY2020" fmla="*/ 329368 h 1849426"/>
                <a:gd name="connsiteX2021" fmla="*/ 2691644 w 6386648"/>
                <a:gd name="connsiteY2021" fmla="*/ 347392 h 1849426"/>
                <a:gd name="connsiteX2022" fmla="*/ 2673619 w 6386648"/>
                <a:gd name="connsiteY2022" fmla="*/ 365417 h 1849426"/>
                <a:gd name="connsiteX2023" fmla="*/ 2655595 w 6386648"/>
                <a:gd name="connsiteY2023" fmla="*/ 347392 h 1849426"/>
                <a:gd name="connsiteX2024" fmla="*/ 2673619 w 6386648"/>
                <a:gd name="connsiteY2024" fmla="*/ 329368 h 1849426"/>
                <a:gd name="connsiteX2025" fmla="*/ 1898570 w 6386648"/>
                <a:gd name="connsiteY2025" fmla="*/ 329368 h 1849426"/>
                <a:gd name="connsiteX2026" fmla="*/ 1916595 w 6386648"/>
                <a:gd name="connsiteY2026" fmla="*/ 347392 h 1849426"/>
                <a:gd name="connsiteX2027" fmla="*/ 1898570 w 6386648"/>
                <a:gd name="connsiteY2027" fmla="*/ 365417 h 1849426"/>
                <a:gd name="connsiteX2028" fmla="*/ 1880546 w 6386648"/>
                <a:gd name="connsiteY2028" fmla="*/ 347392 h 1849426"/>
                <a:gd name="connsiteX2029" fmla="*/ 1898570 w 6386648"/>
                <a:gd name="connsiteY2029" fmla="*/ 329368 h 1849426"/>
                <a:gd name="connsiteX2030" fmla="*/ 66089 w 6386648"/>
                <a:gd name="connsiteY2030" fmla="*/ 323360 h 1849426"/>
                <a:gd name="connsiteX2031" fmla="*/ 84114 w 6386648"/>
                <a:gd name="connsiteY2031" fmla="*/ 341384 h 1849426"/>
                <a:gd name="connsiteX2032" fmla="*/ 66089 w 6386648"/>
                <a:gd name="connsiteY2032" fmla="*/ 359409 h 1849426"/>
                <a:gd name="connsiteX2033" fmla="*/ 48065 w 6386648"/>
                <a:gd name="connsiteY2033" fmla="*/ 341384 h 1849426"/>
                <a:gd name="connsiteX2034" fmla="*/ 66089 w 6386648"/>
                <a:gd name="connsiteY2034" fmla="*/ 323360 h 1849426"/>
                <a:gd name="connsiteX2035" fmla="*/ 5647646 w 6386648"/>
                <a:gd name="connsiteY2035" fmla="*/ 317352 h 1849426"/>
                <a:gd name="connsiteX2036" fmla="*/ 5665671 w 6386648"/>
                <a:gd name="connsiteY2036" fmla="*/ 335377 h 1849426"/>
                <a:gd name="connsiteX2037" fmla="*/ 5647646 w 6386648"/>
                <a:gd name="connsiteY2037" fmla="*/ 353401 h 1849426"/>
                <a:gd name="connsiteX2038" fmla="*/ 5629622 w 6386648"/>
                <a:gd name="connsiteY2038" fmla="*/ 335377 h 1849426"/>
                <a:gd name="connsiteX2039" fmla="*/ 5647646 w 6386648"/>
                <a:gd name="connsiteY2039" fmla="*/ 317352 h 1849426"/>
                <a:gd name="connsiteX2040" fmla="*/ 3064148 w 6386648"/>
                <a:gd name="connsiteY2040" fmla="*/ 311344 h 1849426"/>
                <a:gd name="connsiteX2041" fmla="*/ 3082173 w 6386648"/>
                <a:gd name="connsiteY2041" fmla="*/ 329368 h 1849426"/>
                <a:gd name="connsiteX2042" fmla="*/ 3064148 w 6386648"/>
                <a:gd name="connsiteY2042" fmla="*/ 347393 h 1849426"/>
                <a:gd name="connsiteX2043" fmla="*/ 3046124 w 6386648"/>
                <a:gd name="connsiteY2043" fmla="*/ 329368 h 1849426"/>
                <a:gd name="connsiteX2044" fmla="*/ 3064148 w 6386648"/>
                <a:gd name="connsiteY2044" fmla="*/ 311344 h 1849426"/>
                <a:gd name="connsiteX2045" fmla="*/ 2553457 w 6386648"/>
                <a:gd name="connsiteY2045" fmla="*/ 311344 h 1849426"/>
                <a:gd name="connsiteX2046" fmla="*/ 2571482 w 6386648"/>
                <a:gd name="connsiteY2046" fmla="*/ 329368 h 1849426"/>
                <a:gd name="connsiteX2047" fmla="*/ 2553457 w 6386648"/>
                <a:gd name="connsiteY2047" fmla="*/ 347393 h 1849426"/>
                <a:gd name="connsiteX2048" fmla="*/ 2535433 w 6386648"/>
                <a:gd name="connsiteY2048" fmla="*/ 329368 h 1849426"/>
                <a:gd name="connsiteX2049" fmla="*/ 2553457 w 6386648"/>
                <a:gd name="connsiteY2049" fmla="*/ 311344 h 1849426"/>
                <a:gd name="connsiteX2050" fmla="*/ 6098257 w 6386648"/>
                <a:gd name="connsiteY2050" fmla="*/ 305335 h 1849426"/>
                <a:gd name="connsiteX2051" fmla="*/ 6116282 w 6386648"/>
                <a:gd name="connsiteY2051" fmla="*/ 323359 h 1849426"/>
                <a:gd name="connsiteX2052" fmla="*/ 6098257 w 6386648"/>
                <a:gd name="connsiteY2052" fmla="*/ 341384 h 1849426"/>
                <a:gd name="connsiteX2053" fmla="*/ 6080233 w 6386648"/>
                <a:gd name="connsiteY2053" fmla="*/ 323359 h 1849426"/>
                <a:gd name="connsiteX2054" fmla="*/ 6098257 w 6386648"/>
                <a:gd name="connsiteY2054" fmla="*/ 305335 h 1849426"/>
                <a:gd name="connsiteX2055" fmla="*/ 1231667 w 6386648"/>
                <a:gd name="connsiteY2055" fmla="*/ 305335 h 1849426"/>
                <a:gd name="connsiteX2056" fmla="*/ 1249692 w 6386648"/>
                <a:gd name="connsiteY2056" fmla="*/ 323359 h 1849426"/>
                <a:gd name="connsiteX2057" fmla="*/ 1231667 w 6386648"/>
                <a:gd name="connsiteY2057" fmla="*/ 341384 h 1849426"/>
                <a:gd name="connsiteX2058" fmla="*/ 1213643 w 6386648"/>
                <a:gd name="connsiteY2058" fmla="*/ 323359 h 1849426"/>
                <a:gd name="connsiteX2059" fmla="*/ 1231667 w 6386648"/>
                <a:gd name="connsiteY2059" fmla="*/ 305335 h 1849426"/>
                <a:gd name="connsiteX2060" fmla="*/ 174235 w 6386648"/>
                <a:gd name="connsiteY2060" fmla="*/ 305335 h 1849426"/>
                <a:gd name="connsiteX2061" fmla="*/ 192260 w 6386648"/>
                <a:gd name="connsiteY2061" fmla="*/ 323359 h 1849426"/>
                <a:gd name="connsiteX2062" fmla="*/ 174235 w 6386648"/>
                <a:gd name="connsiteY2062" fmla="*/ 341384 h 1849426"/>
                <a:gd name="connsiteX2063" fmla="*/ 156211 w 6386648"/>
                <a:gd name="connsiteY2063" fmla="*/ 323359 h 1849426"/>
                <a:gd name="connsiteX2064" fmla="*/ 174235 w 6386648"/>
                <a:gd name="connsiteY2064" fmla="*/ 305335 h 1849426"/>
                <a:gd name="connsiteX2065" fmla="*/ 3520767 w 6386648"/>
                <a:gd name="connsiteY2065" fmla="*/ 299327 h 1849426"/>
                <a:gd name="connsiteX2066" fmla="*/ 3538792 w 6386648"/>
                <a:gd name="connsiteY2066" fmla="*/ 317351 h 1849426"/>
                <a:gd name="connsiteX2067" fmla="*/ 3520767 w 6386648"/>
                <a:gd name="connsiteY2067" fmla="*/ 335376 h 1849426"/>
                <a:gd name="connsiteX2068" fmla="*/ 3502743 w 6386648"/>
                <a:gd name="connsiteY2068" fmla="*/ 317351 h 1849426"/>
                <a:gd name="connsiteX2069" fmla="*/ 3520767 w 6386648"/>
                <a:gd name="connsiteY2069" fmla="*/ 299327 h 1849426"/>
                <a:gd name="connsiteX2070" fmla="*/ 5347240 w 6386648"/>
                <a:gd name="connsiteY2070" fmla="*/ 293319 h 1849426"/>
                <a:gd name="connsiteX2071" fmla="*/ 5365265 w 6386648"/>
                <a:gd name="connsiteY2071" fmla="*/ 311343 h 1849426"/>
                <a:gd name="connsiteX2072" fmla="*/ 5347240 w 6386648"/>
                <a:gd name="connsiteY2072" fmla="*/ 329368 h 1849426"/>
                <a:gd name="connsiteX2073" fmla="*/ 5329216 w 6386648"/>
                <a:gd name="connsiteY2073" fmla="*/ 311343 h 1849426"/>
                <a:gd name="connsiteX2074" fmla="*/ 5347240 w 6386648"/>
                <a:gd name="connsiteY2074" fmla="*/ 293319 h 1849426"/>
                <a:gd name="connsiteX2075" fmla="*/ 2439302 w 6386648"/>
                <a:gd name="connsiteY2075" fmla="*/ 293319 h 1849426"/>
                <a:gd name="connsiteX2076" fmla="*/ 2457327 w 6386648"/>
                <a:gd name="connsiteY2076" fmla="*/ 311343 h 1849426"/>
                <a:gd name="connsiteX2077" fmla="*/ 2439302 w 6386648"/>
                <a:gd name="connsiteY2077" fmla="*/ 329368 h 1849426"/>
                <a:gd name="connsiteX2078" fmla="*/ 2421278 w 6386648"/>
                <a:gd name="connsiteY2078" fmla="*/ 311343 h 1849426"/>
                <a:gd name="connsiteX2079" fmla="*/ 2439302 w 6386648"/>
                <a:gd name="connsiteY2079" fmla="*/ 293319 h 1849426"/>
                <a:gd name="connsiteX2080" fmla="*/ 2301115 w 6386648"/>
                <a:gd name="connsiteY2080" fmla="*/ 293319 h 1849426"/>
                <a:gd name="connsiteX2081" fmla="*/ 2319140 w 6386648"/>
                <a:gd name="connsiteY2081" fmla="*/ 311343 h 1849426"/>
                <a:gd name="connsiteX2082" fmla="*/ 2301115 w 6386648"/>
                <a:gd name="connsiteY2082" fmla="*/ 329368 h 1849426"/>
                <a:gd name="connsiteX2083" fmla="*/ 2283091 w 6386648"/>
                <a:gd name="connsiteY2083" fmla="*/ 311343 h 1849426"/>
                <a:gd name="connsiteX2084" fmla="*/ 2301115 w 6386648"/>
                <a:gd name="connsiteY2084" fmla="*/ 293319 h 1849426"/>
                <a:gd name="connsiteX2085" fmla="*/ 1447960 w 6386648"/>
                <a:gd name="connsiteY2085" fmla="*/ 293319 h 1849426"/>
                <a:gd name="connsiteX2086" fmla="*/ 1465985 w 6386648"/>
                <a:gd name="connsiteY2086" fmla="*/ 311343 h 1849426"/>
                <a:gd name="connsiteX2087" fmla="*/ 1447960 w 6386648"/>
                <a:gd name="connsiteY2087" fmla="*/ 329368 h 1849426"/>
                <a:gd name="connsiteX2088" fmla="*/ 1429936 w 6386648"/>
                <a:gd name="connsiteY2088" fmla="*/ 311343 h 1849426"/>
                <a:gd name="connsiteX2089" fmla="*/ 1447960 w 6386648"/>
                <a:gd name="connsiteY2089" fmla="*/ 293319 h 1849426"/>
                <a:gd name="connsiteX2090" fmla="*/ 901219 w 6386648"/>
                <a:gd name="connsiteY2090" fmla="*/ 293319 h 1849426"/>
                <a:gd name="connsiteX2091" fmla="*/ 919244 w 6386648"/>
                <a:gd name="connsiteY2091" fmla="*/ 311343 h 1849426"/>
                <a:gd name="connsiteX2092" fmla="*/ 901219 w 6386648"/>
                <a:gd name="connsiteY2092" fmla="*/ 329368 h 1849426"/>
                <a:gd name="connsiteX2093" fmla="*/ 883195 w 6386648"/>
                <a:gd name="connsiteY2093" fmla="*/ 311343 h 1849426"/>
                <a:gd name="connsiteX2094" fmla="*/ 901219 w 6386648"/>
                <a:gd name="connsiteY2094" fmla="*/ 293319 h 1849426"/>
                <a:gd name="connsiteX2095" fmla="*/ 552748 w 6386648"/>
                <a:gd name="connsiteY2095" fmla="*/ 293319 h 1849426"/>
                <a:gd name="connsiteX2096" fmla="*/ 570773 w 6386648"/>
                <a:gd name="connsiteY2096" fmla="*/ 311343 h 1849426"/>
                <a:gd name="connsiteX2097" fmla="*/ 552748 w 6386648"/>
                <a:gd name="connsiteY2097" fmla="*/ 329368 h 1849426"/>
                <a:gd name="connsiteX2098" fmla="*/ 534724 w 6386648"/>
                <a:gd name="connsiteY2098" fmla="*/ 311343 h 1849426"/>
                <a:gd name="connsiteX2099" fmla="*/ 552748 w 6386648"/>
                <a:gd name="connsiteY2099" fmla="*/ 293319 h 1849426"/>
                <a:gd name="connsiteX2100" fmla="*/ 6326566 w 6386648"/>
                <a:gd name="connsiteY2100" fmla="*/ 287311 h 1849426"/>
                <a:gd name="connsiteX2101" fmla="*/ 6344591 w 6386648"/>
                <a:gd name="connsiteY2101" fmla="*/ 305336 h 1849426"/>
                <a:gd name="connsiteX2102" fmla="*/ 6326566 w 6386648"/>
                <a:gd name="connsiteY2102" fmla="*/ 323360 h 1849426"/>
                <a:gd name="connsiteX2103" fmla="*/ 6308542 w 6386648"/>
                <a:gd name="connsiteY2103" fmla="*/ 305336 h 1849426"/>
                <a:gd name="connsiteX2104" fmla="*/ 6326566 w 6386648"/>
                <a:gd name="connsiteY2104" fmla="*/ 287311 h 1849426"/>
                <a:gd name="connsiteX2105" fmla="*/ 5503451 w 6386648"/>
                <a:gd name="connsiteY2105" fmla="*/ 287311 h 1849426"/>
                <a:gd name="connsiteX2106" fmla="*/ 5521476 w 6386648"/>
                <a:gd name="connsiteY2106" fmla="*/ 305336 h 1849426"/>
                <a:gd name="connsiteX2107" fmla="*/ 5503451 w 6386648"/>
                <a:gd name="connsiteY2107" fmla="*/ 323360 h 1849426"/>
                <a:gd name="connsiteX2108" fmla="*/ 5485427 w 6386648"/>
                <a:gd name="connsiteY2108" fmla="*/ 305336 h 1849426"/>
                <a:gd name="connsiteX2109" fmla="*/ 5503451 w 6386648"/>
                <a:gd name="connsiteY2109" fmla="*/ 287311 h 1849426"/>
                <a:gd name="connsiteX2110" fmla="*/ 1808448 w 6386648"/>
                <a:gd name="connsiteY2110" fmla="*/ 287311 h 1849426"/>
                <a:gd name="connsiteX2111" fmla="*/ 1826473 w 6386648"/>
                <a:gd name="connsiteY2111" fmla="*/ 305336 h 1849426"/>
                <a:gd name="connsiteX2112" fmla="*/ 1808448 w 6386648"/>
                <a:gd name="connsiteY2112" fmla="*/ 323360 h 1849426"/>
                <a:gd name="connsiteX2113" fmla="*/ 1790424 w 6386648"/>
                <a:gd name="connsiteY2113" fmla="*/ 305336 h 1849426"/>
                <a:gd name="connsiteX2114" fmla="*/ 1808448 w 6386648"/>
                <a:gd name="connsiteY2114" fmla="*/ 287311 h 1849426"/>
                <a:gd name="connsiteX2115" fmla="*/ 672910 w 6386648"/>
                <a:gd name="connsiteY2115" fmla="*/ 287311 h 1849426"/>
                <a:gd name="connsiteX2116" fmla="*/ 690935 w 6386648"/>
                <a:gd name="connsiteY2116" fmla="*/ 305336 h 1849426"/>
                <a:gd name="connsiteX2117" fmla="*/ 672910 w 6386648"/>
                <a:gd name="connsiteY2117" fmla="*/ 323360 h 1849426"/>
                <a:gd name="connsiteX2118" fmla="*/ 654886 w 6386648"/>
                <a:gd name="connsiteY2118" fmla="*/ 305336 h 1849426"/>
                <a:gd name="connsiteX2119" fmla="*/ 672910 w 6386648"/>
                <a:gd name="connsiteY2119" fmla="*/ 287311 h 1849426"/>
                <a:gd name="connsiteX2120" fmla="*/ 4710377 w 6386648"/>
                <a:gd name="connsiteY2120" fmla="*/ 275295 h 1849426"/>
                <a:gd name="connsiteX2121" fmla="*/ 4728402 w 6386648"/>
                <a:gd name="connsiteY2121" fmla="*/ 293319 h 1849426"/>
                <a:gd name="connsiteX2122" fmla="*/ 4710377 w 6386648"/>
                <a:gd name="connsiteY2122" fmla="*/ 311344 h 1849426"/>
                <a:gd name="connsiteX2123" fmla="*/ 4692353 w 6386648"/>
                <a:gd name="connsiteY2123" fmla="*/ 293319 h 1849426"/>
                <a:gd name="connsiteX2124" fmla="*/ 4710377 w 6386648"/>
                <a:gd name="connsiteY2124" fmla="*/ 275295 h 1849426"/>
                <a:gd name="connsiteX2125" fmla="*/ 4962719 w 6386648"/>
                <a:gd name="connsiteY2125" fmla="*/ 269287 h 1849426"/>
                <a:gd name="connsiteX2126" fmla="*/ 4980744 w 6386648"/>
                <a:gd name="connsiteY2126" fmla="*/ 287311 h 1849426"/>
                <a:gd name="connsiteX2127" fmla="*/ 4962719 w 6386648"/>
                <a:gd name="connsiteY2127" fmla="*/ 305336 h 1849426"/>
                <a:gd name="connsiteX2128" fmla="*/ 4944695 w 6386648"/>
                <a:gd name="connsiteY2128" fmla="*/ 287311 h 1849426"/>
                <a:gd name="connsiteX2129" fmla="*/ 4962719 w 6386648"/>
                <a:gd name="connsiteY2129" fmla="*/ 269287 h 1849426"/>
                <a:gd name="connsiteX2130" fmla="*/ 3652945 w 6386648"/>
                <a:gd name="connsiteY2130" fmla="*/ 269287 h 1849426"/>
                <a:gd name="connsiteX2131" fmla="*/ 3670970 w 6386648"/>
                <a:gd name="connsiteY2131" fmla="*/ 287311 h 1849426"/>
                <a:gd name="connsiteX2132" fmla="*/ 3652945 w 6386648"/>
                <a:gd name="connsiteY2132" fmla="*/ 305336 h 1849426"/>
                <a:gd name="connsiteX2133" fmla="*/ 3634921 w 6386648"/>
                <a:gd name="connsiteY2133" fmla="*/ 287311 h 1849426"/>
                <a:gd name="connsiteX2134" fmla="*/ 3652945 w 6386648"/>
                <a:gd name="connsiteY2134" fmla="*/ 269287 h 1849426"/>
                <a:gd name="connsiteX2135" fmla="*/ 1123520 w 6386648"/>
                <a:gd name="connsiteY2135" fmla="*/ 269287 h 1849426"/>
                <a:gd name="connsiteX2136" fmla="*/ 1141545 w 6386648"/>
                <a:gd name="connsiteY2136" fmla="*/ 287311 h 1849426"/>
                <a:gd name="connsiteX2137" fmla="*/ 1123520 w 6386648"/>
                <a:gd name="connsiteY2137" fmla="*/ 305336 h 1849426"/>
                <a:gd name="connsiteX2138" fmla="*/ 1105496 w 6386648"/>
                <a:gd name="connsiteY2138" fmla="*/ 287311 h 1849426"/>
                <a:gd name="connsiteX2139" fmla="*/ 1123520 w 6386648"/>
                <a:gd name="connsiteY2139" fmla="*/ 269287 h 1849426"/>
                <a:gd name="connsiteX2140" fmla="*/ 5112922 w 6386648"/>
                <a:gd name="connsiteY2140" fmla="*/ 263279 h 1849426"/>
                <a:gd name="connsiteX2141" fmla="*/ 5130947 w 6386648"/>
                <a:gd name="connsiteY2141" fmla="*/ 281303 h 1849426"/>
                <a:gd name="connsiteX2142" fmla="*/ 5112922 w 6386648"/>
                <a:gd name="connsiteY2142" fmla="*/ 299328 h 1849426"/>
                <a:gd name="connsiteX2143" fmla="*/ 5094898 w 6386648"/>
                <a:gd name="connsiteY2143" fmla="*/ 281303 h 1849426"/>
                <a:gd name="connsiteX2144" fmla="*/ 5112922 w 6386648"/>
                <a:gd name="connsiteY2144" fmla="*/ 263279 h 1849426"/>
                <a:gd name="connsiteX2145" fmla="*/ 4217710 w 6386648"/>
                <a:gd name="connsiteY2145" fmla="*/ 263279 h 1849426"/>
                <a:gd name="connsiteX2146" fmla="*/ 4235735 w 6386648"/>
                <a:gd name="connsiteY2146" fmla="*/ 281303 h 1849426"/>
                <a:gd name="connsiteX2147" fmla="*/ 4217710 w 6386648"/>
                <a:gd name="connsiteY2147" fmla="*/ 299328 h 1849426"/>
                <a:gd name="connsiteX2148" fmla="*/ 4199685 w 6386648"/>
                <a:gd name="connsiteY2148" fmla="*/ 281303 h 1849426"/>
                <a:gd name="connsiteX2149" fmla="*/ 4217710 w 6386648"/>
                <a:gd name="connsiteY2149" fmla="*/ 263279 h 1849426"/>
                <a:gd name="connsiteX2150" fmla="*/ 3190319 w 6386648"/>
                <a:gd name="connsiteY2150" fmla="*/ 263279 h 1849426"/>
                <a:gd name="connsiteX2151" fmla="*/ 3208344 w 6386648"/>
                <a:gd name="connsiteY2151" fmla="*/ 281303 h 1849426"/>
                <a:gd name="connsiteX2152" fmla="*/ 3190319 w 6386648"/>
                <a:gd name="connsiteY2152" fmla="*/ 299328 h 1849426"/>
                <a:gd name="connsiteX2153" fmla="*/ 3172295 w 6386648"/>
                <a:gd name="connsiteY2153" fmla="*/ 281303 h 1849426"/>
                <a:gd name="connsiteX2154" fmla="*/ 3190319 w 6386648"/>
                <a:gd name="connsiteY2154" fmla="*/ 263279 h 1849426"/>
                <a:gd name="connsiteX2155" fmla="*/ 5996118 w 6386648"/>
                <a:gd name="connsiteY2155" fmla="*/ 257270 h 1849426"/>
                <a:gd name="connsiteX2156" fmla="*/ 6014143 w 6386648"/>
                <a:gd name="connsiteY2156" fmla="*/ 275295 h 1849426"/>
                <a:gd name="connsiteX2157" fmla="*/ 5996118 w 6386648"/>
                <a:gd name="connsiteY2157" fmla="*/ 293319 h 1849426"/>
                <a:gd name="connsiteX2158" fmla="*/ 5978094 w 6386648"/>
                <a:gd name="connsiteY2158" fmla="*/ 275295 h 1849426"/>
                <a:gd name="connsiteX2159" fmla="*/ 5996118 w 6386648"/>
                <a:gd name="connsiteY2159" fmla="*/ 257270 h 1849426"/>
                <a:gd name="connsiteX2160" fmla="*/ 5233085 w 6386648"/>
                <a:gd name="connsiteY2160" fmla="*/ 257270 h 1849426"/>
                <a:gd name="connsiteX2161" fmla="*/ 5251110 w 6386648"/>
                <a:gd name="connsiteY2161" fmla="*/ 275295 h 1849426"/>
                <a:gd name="connsiteX2162" fmla="*/ 5233085 w 6386648"/>
                <a:gd name="connsiteY2162" fmla="*/ 293319 h 1849426"/>
                <a:gd name="connsiteX2163" fmla="*/ 5215061 w 6386648"/>
                <a:gd name="connsiteY2163" fmla="*/ 275295 h 1849426"/>
                <a:gd name="connsiteX2164" fmla="*/ 5233085 w 6386648"/>
                <a:gd name="connsiteY2164" fmla="*/ 257270 h 1849426"/>
                <a:gd name="connsiteX2165" fmla="*/ 4584206 w 6386648"/>
                <a:gd name="connsiteY2165" fmla="*/ 257270 h 1849426"/>
                <a:gd name="connsiteX2166" fmla="*/ 4602231 w 6386648"/>
                <a:gd name="connsiteY2166" fmla="*/ 275295 h 1849426"/>
                <a:gd name="connsiteX2167" fmla="*/ 4584206 w 6386648"/>
                <a:gd name="connsiteY2167" fmla="*/ 293319 h 1849426"/>
                <a:gd name="connsiteX2168" fmla="*/ 4566182 w 6386648"/>
                <a:gd name="connsiteY2168" fmla="*/ 275295 h 1849426"/>
                <a:gd name="connsiteX2169" fmla="*/ 4584206 w 6386648"/>
                <a:gd name="connsiteY2169" fmla="*/ 257270 h 1849426"/>
                <a:gd name="connsiteX2170" fmla="*/ 2156921 w 6386648"/>
                <a:gd name="connsiteY2170" fmla="*/ 257270 h 1849426"/>
                <a:gd name="connsiteX2171" fmla="*/ 2174945 w 6386648"/>
                <a:gd name="connsiteY2171" fmla="*/ 275295 h 1849426"/>
                <a:gd name="connsiteX2172" fmla="*/ 2156921 w 6386648"/>
                <a:gd name="connsiteY2172" fmla="*/ 293319 h 1849426"/>
                <a:gd name="connsiteX2173" fmla="*/ 2138896 w 6386648"/>
                <a:gd name="connsiteY2173" fmla="*/ 275295 h 1849426"/>
                <a:gd name="connsiteX2174" fmla="*/ 2156921 w 6386648"/>
                <a:gd name="connsiteY2174" fmla="*/ 257270 h 1849426"/>
                <a:gd name="connsiteX2175" fmla="*/ 781057 w 6386648"/>
                <a:gd name="connsiteY2175" fmla="*/ 257270 h 1849426"/>
                <a:gd name="connsiteX2176" fmla="*/ 799082 w 6386648"/>
                <a:gd name="connsiteY2176" fmla="*/ 275295 h 1849426"/>
                <a:gd name="connsiteX2177" fmla="*/ 781057 w 6386648"/>
                <a:gd name="connsiteY2177" fmla="*/ 293319 h 1849426"/>
                <a:gd name="connsiteX2178" fmla="*/ 763033 w 6386648"/>
                <a:gd name="connsiteY2178" fmla="*/ 275295 h 1849426"/>
                <a:gd name="connsiteX2179" fmla="*/ 781057 w 6386648"/>
                <a:gd name="connsiteY2179" fmla="*/ 257270 h 1849426"/>
                <a:gd name="connsiteX2180" fmla="*/ 420569 w 6386648"/>
                <a:gd name="connsiteY2180" fmla="*/ 257270 h 1849426"/>
                <a:gd name="connsiteX2181" fmla="*/ 438594 w 6386648"/>
                <a:gd name="connsiteY2181" fmla="*/ 275295 h 1849426"/>
                <a:gd name="connsiteX2182" fmla="*/ 420569 w 6386648"/>
                <a:gd name="connsiteY2182" fmla="*/ 293319 h 1849426"/>
                <a:gd name="connsiteX2183" fmla="*/ 402545 w 6386648"/>
                <a:gd name="connsiteY2183" fmla="*/ 275295 h 1849426"/>
                <a:gd name="connsiteX2184" fmla="*/ 420569 w 6386648"/>
                <a:gd name="connsiteY2184" fmla="*/ 257270 h 1849426"/>
                <a:gd name="connsiteX2185" fmla="*/ 5845915 w 6386648"/>
                <a:gd name="connsiteY2185" fmla="*/ 245254 h 1849426"/>
                <a:gd name="connsiteX2186" fmla="*/ 5863940 w 6386648"/>
                <a:gd name="connsiteY2186" fmla="*/ 263278 h 1849426"/>
                <a:gd name="connsiteX2187" fmla="*/ 5845915 w 6386648"/>
                <a:gd name="connsiteY2187" fmla="*/ 281303 h 1849426"/>
                <a:gd name="connsiteX2188" fmla="*/ 5827891 w 6386648"/>
                <a:gd name="connsiteY2188" fmla="*/ 263278 h 1849426"/>
                <a:gd name="connsiteX2189" fmla="*/ 5845915 w 6386648"/>
                <a:gd name="connsiteY2189" fmla="*/ 245254 h 1849426"/>
                <a:gd name="connsiteX2190" fmla="*/ 4013434 w 6386648"/>
                <a:gd name="connsiteY2190" fmla="*/ 245254 h 1849426"/>
                <a:gd name="connsiteX2191" fmla="*/ 4031459 w 6386648"/>
                <a:gd name="connsiteY2191" fmla="*/ 263278 h 1849426"/>
                <a:gd name="connsiteX2192" fmla="*/ 4013434 w 6386648"/>
                <a:gd name="connsiteY2192" fmla="*/ 281303 h 1849426"/>
                <a:gd name="connsiteX2193" fmla="*/ 3995410 w 6386648"/>
                <a:gd name="connsiteY2193" fmla="*/ 263278 h 1849426"/>
                <a:gd name="connsiteX2194" fmla="*/ 4013434 w 6386648"/>
                <a:gd name="connsiteY2194" fmla="*/ 245254 h 1849426"/>
                <a:gd name="connsiteX2195" fmla="*/ 2841847 w 6386648"/>
                <a:gd name="connsiteY2195" fmla="*/ 245254 h 1849426"/>
                <a:gd name="connsiteX2196" fmla="*/ 2859872 w 6386648"/>
                <a:gd name="connsiteY2196" fmla="*/ 263278 h 1849426"/>
                <a:gd name="connsiteX2197" fmla="*/ 2841847 w 6386648"/>
                <a:gd name="connsiteY2197" fmla="*/ 281303 h 1849426"/>
                <a:gd name="connsiteX2198" fmla="*/ 2823823 w 6386648"/>
                <a:gd name="connsiteY2198" fmla="*/ 263278 h 1849426"/>
                <a:gd name="connsiteX2199" fmla="*/ 2841847 w 6386648"/>
                <a:gd name="connsiteY2199" fmla="*/ 245254 h 1849426"/>
                <a:gd name="connsiteX2200" fmla="*/ 2006717 w 6386648"/>
                <a:gd name="connsiteY2200" fmla="*/ 245254 h 1849426"/>
                <a:gd name="connsiteX2201" fmla="*/ 2024741 w 6386648"/>
                <a:gd name="connsiteY2201" fmla="*/ 263278 h 1849426"/>
                <a:gd name="connsiteX2202" fmla="*/ 2006717 w 6386648"/>
                <a:gd name="connsiteY2202" fmla="*/ 281303 h 1849426"/>
                <a:gd name="connsiteX2203" fmla="*/ 1988692 w 6386648"/>
                <a:gd name="connsiteY2203" fmla="*/ 263278 h 1849426"/>
                <a:gd name="connsiteX2204" fmla="*/ 2006717 w 6386648"/>
                <a:gd name="connsiteY2204" fmla="*/ 245254 h 1849426"/>
                <a:gd name="connsiteX2205" fmla="*/ 1009366 w 6386648"/>
                <a:gd name="connsiteY2205" fmla="*/ 245254 h 1849426"/>
                <a:gd name="connsiteX2206" fmla="*/ 1027391 w 6386648"/>
                <a:gd name="connsiteY2206" fmla="*/ 263278 h 1849426"/>
                <a:gd name="connsiteX2207" fmla="*/ 1009366 w 6386648"/>
                <a:gd name="connsiteY2207" fmla="*/ 281303 h 1849426"/>
                <a:gd name="connsiteX2208" fmla="*/ 991342 w 6386648"/>
                <a:gd name="connsiteY2208" fmla="*/ 263278 h 1849426"/>
                <a:gd name="connsiteX2209" fmla="*/ 1009366 w 6386648"/>
                <a:gd name="connsiteY2209" fmla="*/ 245254 h 1849426"/>
                <a:gd name="connsiteX2210" fmla="*/ 4337873 w 6386648"/>
                <a:gd name="connsiteY2210" fmla="*/ 239246 h 1849426"/>
                <a:gd name="connsiteX2211" fmla="*/ 4355898 w 6386648"/>
                <a:gd name="connsiteY2211" fmla="*/ 257270 h 1849426"/>
                <a:gd name="connsiteX2212" fmla="*/ 4337873 w 6386648"/>
                <a:gd name="connsiteY2212" fmla="*/ 275295 h 1849426"/>
                <a:gd name="connsiteX2213" fmla="*/ 4319848 w 6386648"/>
                <a:gd name="connsiteY2213" fmla="*/ 257270 h 1849426"/>
                <a:gd name="connsiteX2214" fmla="*/ 4337873 w 6386648"/>
                <a:gd name="connsiteY2214" fmla="*/ 239246 h 1849426"/>
                <a:gd name="connsiteX2215" fmla="*/ 3310482 w 6386648"/>
                <a:gd name="connsiteY2215" fmla="*/ 239246 h 1849426"/>
                <a:gd name="connsiteX2216" fmla="*/ 3328507 w 6386648"/>
                <a:gd name="connsiteY2216" fmla="*/ 257270 h 1849426"/>
                <a:gd name="connsiteX2217" fmla="*/ 3310482 w 6386648"/>
                <a:gd name="connsiteY2217" fmla="*/ 275295 h 1849426"/>
                <a:gd name="connsiteX2218" fmla="*/ 3292458 w 6386648"/>
                <a:gd name="connsiteY2218" fmla="*/ 257270 h 1849426"/>
                <a:gd name="connsiteX2219" fmla="*/ 3310482 w 6386648"/>
                <a:gd name="connsiteY2219" fmla="*/ 239246 h 1849426"/>
                <a:gd name="connsiteX2220" fmla="*/ 3418628 w 6386648"/>
                <a:gd name="connsiteY2220" fmla="*/ 233238 h 1849426"/>
                <a:gd name="connsiteX2221" fmla="*/ 3436653 w 6386648"/>
                <a:gd name="connsiteY2221" fmla="*/ 251262 h 1849426"/>
                <a:gd name="connsiteX2222" fmla="*/ 3418628 w 6386648"/>
                <a:gd name="connsiteY2222" fmla="*/ 269287 h 1849426"/>
                <a:gd name="connsiteX2223" fmla="*/ 3400604 w 6386648"/>
                <a:gd name="connsiteY2223" fmla="*/ 251262 h 1849426"/>
                <a:gd name="connsiteX2224" fmla="*/ 3418628 w 6386648"/>
                <a:gd name="connsiteY2224" fmla="*/ 233238 h 1849426"/>
                <a:gd name="connsiteX2225" fmla="*/ 4836548 w 6386648"/>
                <a:gd name="connsiteY2225" fmla="*/ 227230 h 1849426"/>
                <a:gd name="connsiteX2226" fmla="*/ 4854573 w 6386648"/>
                <a:gd name="connsiteY2226" fmla="*/ 245255 h 1849426"/>
                <a:gd name="connsiteX2227" fmla="*/ 4836548 w 6386648"/>
                <a:gd name="connsiteY2227" fmla="*/ 263279 h 1849426"/>
                <a:gd name="connsiteX2228" fmla="*/ 4818524 w 6386648"/>
                <a:gd name="connsiteY2228" fmla="*/ 245255 h 1849426"/>
                <a:gd name="connsiteX2229" fmla="*/ 4836548 w 6386648"/>
                <a:gd name="connsiteY2229" fmla="*/ 227230 h 1849426"/>
                <a:gd name="connsiteX2230" fmla="*/ 2949994 w 6386648"/>
                <a:gd name="connsiteY2230" fmla="*/ 227230 h 1849426"/>
                <a:gd name="connsiteX2231" fmla="*/ 2968019 w 6386648"/>
                <a:gd name="connsiteY2231" fmla="*/ 245255 h 1849426"/>
                <a:gd name="connsiteX2232" fmla="*/ 2949994 w 6386648"/>
                <a:gd name="connsiteY2232" fmla="*/ 263279 h 1849426"/>
                <a:gd name="connsiteX2233" fmla="*/ 2931970 w 6386648"/>
                <a:gd name="connsiteY2233" fmla="*/ 245255 h 1849426"/>
                <a:gd name="connsiteX2234" fmla="*/ 2949994 w 6386648"/>
                <a:gd name="connsiteY2234" fmla="*/ 227230 h 1849426"/>
                <a:gd name="connsiteX2235" fmla="*/ 2727693 w 6386648"/>
                <a:gd name="connsiteY2235" fmla="*/ 227230 h 1849426"/>
                <a:gd name="connsiteX2236" fmla="*/ 2745718 w 6386648"/>
                <a:gd name="connsiteY2236" fmla="*/ 245255 h 1849426"/>
                <a:gd name="connsiteX2237" fmla="*/ 2727693 w 6386648"/>
                <a:gd name="connsiteY2237" fmla="*/ 263279 h 1849426"/>
                <a:gd name="connsiteX2238" fmla="*/ 2709669 w 6386648"/>
                <a:gd name="connsiteY2238" fmla="*/ 245255 h 1849426"/>
                <a:gd name="connsiteX2239" fmla="*/ 2727693 w 6386648"/>
                <a:gd name="connsiteY2239" fmla="*/ 227230 h 1849426"/>
                <a:gd name="connsiteX2240" fmla="*/ 270365 w 6386648"/>
                <a:gd name="connsiteY2240" fmla="*/ 227230 h 1849426"/>
                <a:gd name="connsiteX2241" fmla="*/ 288390 w 6386648"/>
                <a:gd name="connsiteY2241" fmla="*/ 245255 h 1849426"/>
                <a:gd name="connsiteX2242" fmla="*/ 270365 w 6386648"/>
                <a:gd name="connsiteY2242" fmla="*/ 263279 h 1849426"/>
                <a:gd name="connsiteX2243" fmla="*/ 252341 w 6386648"/>
                <a:gd name="connsiteY2243" fmla="*/ 245255 h 1849426"/>
                <a:gd name="connsiteX2244" fmla="*/ 270365 w 6386648"/>
                <a:gd name="connsiteY2244" fmla="*/ 227230 h 1849426"/>
                <a:gd name="connsiteX2245" fmla="*/ 3893271 w 6386648"/>
                <a:gd name="connsiteY2245" fmla="*/ 221222 h 1849426"/>
                <a:gd name="connsiteX2246" fmla="*/ 3911296 w 6386648"/>
                <a:gd name="connsiteY2246" fmla="*/ 239246 h 1849426"/>
                <a:gd name="connsiteX2247" fmla="*/ 3893271 w 6386648"/>
                <a:gd name="connsiteY2247" fmla="*/ 257271 h 1849426"/>
                <a:gd name="connsiteX2248" fmla="*/ 3875247 w 6386648"/>
                <a:gd name="connsiteY2248" fmla="*/ 239246 h 1849426"/>
                <a:gd name="connsiteX2249" fmla="*/ 3893271 w 6386648"/>
                <a:gd name="connsiteY2249" fmla="*/ 221222 h 1849426"/>
                <a:gd name="connsiteX2250" fmla="*/ 1682277 w 6386648"/>
                <a:gd name="connsiteY2250" fmla="*/ 221222 h 1849426"/>
                <a:gd name="connsiteX2251" fmla="*/ 1700302 w 6386648"/>
                <a:gd name="connsiteY2251" fmla="*/ 239246 h 1849426"/>
                <a:gd name="connsiteX2252" fmla="*/ 1682277 w 6386648"/>
                <a:gd name="connsiteY2252" fmla="*/ 257271 h 1849426"/>
                <a:gd name="connsiteX2253" fmla="*/ 1664253 w 6386648"/>
                <a:gd name="connsiteY2253" fmla="*/ 239246 h 1849426"/>
                <a:gd name="connsiteX2254" fmla="*/ 1682277 w 6386648"/>
                <a:gd name="connsiteY2254" fmla="*/ 221222 h 1849426"/>
                <a:gd name="connsiteX2255" fmla="*/ 4458036 w 6386648"/>
                <a:gd name="connsiteY2255" fmla="*/ 215213 h 1849426"/>
                <a:gd name="connsiteX2256" fmla="*/ 4476061 w 6386648"/>
                <a:gd name="connsiteY2256" fmla="*/ 233237 h 1849426"/>
                <a:gd name="connsiteX2257" fmla="*/ 4458036 w 6386648"/>
                <a:gd name="connsiteY2257" fmla="*/ 251262 h 1849426"/>
                <a:gd name="connsiteX2258" fmla="*/ 4440011 w 6386648"/>
                <a:gd name="connsiteY2258" fmla="*/ 233237 h 1849426"/>
                <a:gd name="connsiteX2259" fmla="*/ 4458036 w 6386648"/>
                <a:gd name="connsiteY2259" fmla="*/ 215213 h 1849426"/>
                <a:gd name="connsiteX2260" fmla="*/ 3767100 w 6386648"/>
                <a:gd name="connsiteY2260" fmla="*/ 215213 h 1849426"/>
                <a:gd name="connsiteX2261" fmla="*/ 3785125 w 6386648"/>
                <a:gd name="connsiteY2261" fmla="*/ 233237 h 1849426"/>
                <a:gd name="connsiteX2262" fmla="*/ 3767100 w 6386648"/>
                <a:gd name="connsiteY2262" fmla="*/ 251262 h 1849426"/>
                <a:gd name="connsiteX2263" fmla="*/ 3749075 w 6386648"/>
                <a:gd name="connsiteY2263" fmla="*/ 233237 h 1849426"/>
                <a:gd name="connsiteX2264" fmla="*/ 3767100 w 6386648"/>
                <a:gd name="connsiteY2264" fmla="*/ 215213 h 1849426"/>
                <a:gd name="connsiteX2265" fmla="*/ 6224427 w 6386648"/>
                <a:gd name="connsiteY2265" fmla="*/ 209205 h 1849426"/>
                <a:gd name="connsiteX2266" fmla="*/ 6242452 w 6386648"/>
                <a:gd name="connsiteY2266" fmla="*/ 227229 h 1849426"/>
                <a:gd name="connsiteX2267" fmla="*/ 6224427 w 6386648"/>
                <a:gd name="connsiteY2267" fmla="*/ 245254 h 1849426"/>
                <a:gd name="connsiteX2268" fmla="*/ 6206403 w 6386648"/>
                <a:gd name="connsiteY2268" fmla="*/ 227229 h 1849426"/>
                <a:gd name="connsiteX2269" fmla="*/ 6224427 w 6386648"/>
                <a:gd name="connsiteY2269" fmla="*/ 209205 h 1849426"/>
                <a:gd name="connsiteX2270" fmla="*/ 1315782 w 6386648"/>
                <a:gd name="connsiteY2270" fmla="*/ 209205 h 1849426"/>
                <a:gd name="connsiteX2271" fmla="*/ 1333806 w 6386648"/>
                <a:gd name="connsiteY2271" fmla="*/ 227229 h 1849426"/>
                <a:gd name="connsiteX2272" fmla="*/ 1315782 w 6386648"/>
                <a:gd name="connsiteY2272" fmla="*/ 245254 h 1849426"/>
                <a:gd name="connsiteX2273" fmla="*/ 1297757 w 6386648"/>
                <a:gd name="connsiteY2273" fmla="*/ 227229 h 1849426"/>
                <a:gd name="connsiteX2274" fmla="*/ 1315782 w 6386648"/>
                <a:gd name="connsiteY2274" fmla="*/ 209205 h 1849426"/>
                <a:gd name="connsiteX2275" fmla="*/ 5713736 w 6386648"/>
                <a:gd name="connsiteY2275" fmla="*/ 203197 h 1849426"/>
                <a:gd name="connsiteX2276" fmla="*/ 5731761 w 6386648"/>
                <a:gd name="connsiteY2276" fmla="*/ 221221 h 1849426"/>
                <a:gd name="connsiteX2277" fmla="*/ 5713736 w 6386648"/>
                <a:gd name="connsiteY2277" fmla="*/ 239246 h 1849426"/>
                <a:gd name="connsiteX2278" fmla="*/ 5695712 w 6386648"/>
                <a:gd name="connsiteY2278" fmla="*/ 221221 h 1849426"/>
                <a:gd name="connsiteX2279" fmla="*/ 5713736 w 6386648"/>
                <a:gd name="connsiteY2279" fmla="*/ 203197 h 1849426"/>
                <a:gd name="connsiteX2280" fmla="*/ 1550098 w 6386648"/>
                <a:gd name="connsiteY2280" fmla="*/ 203197 h 1849426"/>
                <a:gd name="connsiteX2281" fmla="*/ 1568123 w 6386648"/>
                <a:gd name="connsiteY2281" fmla="*/ 221221 h 1849426"/>
                <a:gd name="connsiteX2282" fmla="*/ 1550098 w 6386648"/>
                <a:gd name="connsiteY2282" fmla="*/ 239246 h 1849426"/>
                <a:gd name="connsiteX2283" fmla="*/ 1532074 w 6386648"/>
                <a:gd name="connsiteY2283" fmla="*/ 221221 h 1849426"/>
                <a:gd name="connsiteX2284" fmla="*/ 1550098 w 6386648"/>
                <a:gd name="connsiteY2284" fmla="*/ 203197 h 1849426"/>
                <a:gd name="connsiteX2285" fmla="*/ 5587565 w 6386648"/>
                <a:gd name="connsiteY2285" fmla="*/ 197189 h 1849426"/>
                <a:gd name="connsiteX2286" fmla="*/ 5605590 w 6386648"/>
                <a:gd name="connsiteY2286" fmla="*/ 215214 h 1849426"/>
                <a:gd name="connsiteX2287" fmla="*/ 5587565 w 6386648"/>
                <a:gd name="connsiteY2287" fmla="*/ 233238 h 1849426"/>
                <a:gd name="connsiteX2288" fmla="*/ 5569541 w 6386648"/>
                <a:gd name="connsiteY2288" fmla="*/ 215214 h 1849426"/>
                <a:gd name="connsiteX2289" fmla="*/ 5587565 w 6386648"/>
                <a:gd name="connsiteY2289" fmla="*/ 197189 h 1849426"/>
                <a:gd name="connsiteX2290" fmla="*/ 4121580 w 6386648"/>
                <a:gd name="connsiteY2290" fmla="*/ 197189 h 1849426"/>
                <a:gd name="connsiteX2291" fmla="*/ 4139605 w 6386648"/>
                <a:gd name="connsiteY2291" fmla="*/ 215214 h 1849426"/>
                <a:gd name="connsiteX2292" fmla="*/ 4121580 w 6386648"/>
                <a:gd name="connsiteY2292" fmla="*/ 233238 h 1849426"/>
                <a:gd name="connsiteX2293" fmla="*/ 4103556 w 6386648"/>
                <a:gd name="connsiteY2293" fmla="*/ 215214 h 1849426"/>
                <a:gd name="connsiteX2294" fmla="*/ 4121580 w 6386648"/>
                <a:gd name="connsiteY2294" fmla="*/ 197189 h 1849426"/>
                <a:gd name="connsiteX2295" fmla="*/ 3076164 w 6386648"/>
                <a:gd name="connsiteY2295" fmla="*/ 197189 h 1849426"/>
                <a:gd name="connsiteX2296" fmla="*/ 3094189 w 6386648"/>
                <a:gd name="connsiteY2296" fmla="*/ 215214 h 1849426"/>
                <a:gd name="connsiteX2297" fmla="*/ 3076164 w 6386648"/>
                <a:gd name="connsiteY2297" fmla="*/ 233238 h 1849426"/>
                <a:gd name="connsiteX2298" fmla="*/ 3058139 w 6386648"/>
                <a:gd name="connsiteY2298" fmla="*/ 215214 h 1849426"/>
                <a:gd name="connsiteX2299" fmla="*/ 3076164 w 6386648"/>
                <a:gd name="connsiteY2299" fmla="*/ 197189 h 1849426"/>
                <a:gd name="connsiteX2300" fmla="*/ 5449378 w 6386648"/>
                <a:gd name="connsiteY2300" fmla="*/ 191181 h 1849426"/>
                <a:gd name="connsiteX2301" fmla="*/ 5467403 w 6386648"/>
                <a:gd name="connsiteY2301" fmla="*/ 209205 h 1849426"/>
                <a:gd name="connsiteX2302" fmla="*/ 5449378 w 6386648"/>
                <a:gd name="connsiteY2302" fmla="*/ 227230 h 1849426"/>
                <a:gd name="connsiteX2303" fmla="*/ 5431353 w 6386648"/>
                <a:gd name="connsiteY2303" fmla="*/ 209205 h 1849426"/>
                <a:gd name="connsiteX2304" fmla="*/ 5449378 w 6386648"/>
                <a:gd name="connsiteY2304" fmla="*/ 191181 h 1849426"/>
                <a:gd name="connsiteX2305" fmla="*/ 2607530 w 6386648"/>
                <a:gd name="connsiteY2305" fmla="*/ 191181 h 1849426"/>
                <a:gd name="connsiteX2306" fmla="*/ 2625555 w 6386648"/>
                <a:gd name="connsiteY2306" fmla="*/ 209205 h 1849426"/>
                <a:gd name="connsiteX2307" fmla="*/ 2607530 w 6386648"/>
                <a:gd name="connsiteY2307" fmla="*/ 227230 h 1849426"/>
                <a:gd name="connsiteX2308" fmla="*/ 2589506 w 6386648"/>
                <a:gd name="connsiteY2308" fmla="*/ 209205 h 1849426"/>
                <a:gd name="connsiteX2309" fmla="*/ 2607530 w 6386648"/>
                <a:gd name="connsiteY2309" fmla="*/ 191181 h 1849426"/>
                <a:gd name="connsiteX2310" fmla="*/ 30040 w 6386648"/>
                <a:gd name="connsiteY2310" fmla="*/ 191181 h 1849426"/>
                <a:gd name="connsiteX2311" fmla="*/ 48065 w 6386648"/>
                <a:gd name="connsiteY2311" fmla="*/ 209205 h 1849426"/>
                <a:gd name="connsiteX2312" fmla="*/ 30040 w 6386648"/>
                <a:gd name="connsiteY2312" fmla="*/ 227230 h 1849426"/>
                <a:gd name="connsiteX2313" fmla="*/ 12016 w 6386648"/>
                <a:gd name="connsiteY2313" fmla="*/ 209205 h 1849426"/>
                <a:gd name="connsiteX2314" fmla="*/ 30040 w 6386648"/>
                <a:gd name="connsiteY2314" fmla="*/ 191181 h 1849426"/>
                <a:gd name="connsiteX2315" fmla="*/ 6368623 w 6386648"/>
                <a:gd name="connsiteY2315" fmla="*/ 185173 h 1849426"/>
                <a:gd name="connsiteX2316" fmla="*/ 6386648 w 6386648"/>
                <a:gd name="connsiteY2316" fmla="*/ 203197 h 1849426"/>
                <a:gd name="connsiteX2317" fmla="*/ 6368623 w 6386648"/>
                <a:gd name="connsiteY2317" fmla="*/ 221222 h 1849426"/>
                <a:gd name="connsiteX2318" fmla="*/ 6350599 w 6386648"/>
                <a:gd name="connsiteY2318" fmla="*/ 203197 h 1849426"/>
                <a:gd name="connsiteX2319" fmla="*/ 6368623 w 6386648"/>
                <a:gd name="connsiteY2319" fmla="*/ 185173 h 1849426"/>
                <a:gd name="connsiteX2320" fmla="*/ 2379221 w 6386648"/>
                <a:gd name="connsiteY2320" fmla="*/ 179165 h 1849426"/>
                <a:gd name="connsiteX2321" fmla="*/ 2397246 w 6386648"/>
                <a:gd name="connsiteY2321" fmla="*/ 197189 h 1849426"/>
                <a:gd name="connsiteX2322" fmla="*/ 2379221 w 6386648"/>
                <a:gd name="connsiteY2322" fmla="*/ 215214 h 1849426"/>
                <a:gd name="connsiteX2323" fmla="*/ 2361197 w 6386648"/>
                <a:gd name="connsiteY2323" fmla="*/ 197189 h 1849426"/>
                <a:gd name="connsiteX2324" fmla="*/ 2379221 w 6386648"/>
                <a:gd name="connsiteY2324" fmla="*/ 179165 h 1849426"/>
                <a:gd name="connsiteX2325" fmla="*/ 2253050 w 6386648"/>
                <a:gd name="connsiteY2325" fmla="*/ 179165 h 1849426"/>
                <a:gd name="connsiteX2326" fmla="*/ 2271075 w 6386648"/>
                <a:gd name="connsiteY2326" fmla="*/ 197189 h 1849426"/>
                <a:gd name="connsiteX2327" fmla="*/ 2253050 w 6386648"/>
                <a:gd name="connsiteY2327" fmla="*/ 215214 h 1849426"/>
                <a:gd name="connsiteX2328" fmla="*/ 2235026 w 6386648"/>
                <a:gd name="connsiteY2328" fmla="*/ 197189 h 1849426"/>
                <a:gd name="connsiteX2329" fmla="*/ 2253050 w 6386648"/>
                <a:gd name="connsiteY2329" fmla="*/ 179165 h 1849426"/>
                <a:gd name="connsiteX2330" fmla="*/ 624846 w 6386648"/>
                <a:gd name="connsiteY2330" fmla="*/ 179165 h 1849426"/>
                <a:gd name="connsiteX2331" fmla="*/ 642870 w 6386648"/>
                <a:gd name="connsiteY2331" fmla="*/ 197189 h 1849426"/>
                <a:gd name="connsiteX2332" fmla="*/ 624846 w 6386648"/>
                <a:gd name="connsiteY2332" fmla="*/ 215214 h 1849426"/>
                <a:gd name="connsiteX2333" fmla="*/ 606821 w 6386648"/>
                <a:gd name="connsiteY2333" fmla="*/ 197189 h 1849426"/>
                <a:gd name="connsiteX2334" fmla="*/ 624846 w 6386648"/>
                <a:gd name="connsiteY2334" fmla="*/ 179165 h 1849426"/>
                <a:gd name="connsiteX2335" fmla="*/ 6116281 w 6386648"/>
                <a:gd name="connsiteY2335" fmla="*/ 167148 h 1849426"/>
                <a:gd name="connsiteX2336" fmla="*/ 6134306 w 6386648"/>
                <a:gd name="connsiteY2336" fmla="*/ 185173 h 1849426"/>
                <a:gd name="connsiteX2337" fmla="*/ 6116281 w 6386648"/>
                <a:gd name="connsiteY2337" fmla="*/ 203197 h 1849426"/>
                <a:gd name="connsiteX2338" fmla="*/ 6098257 w 6386648"/>
                <a:gd name="connsiteY2338" fmla="*/ 185173 h 1849426"/>
                <a:gd name="connsiteX2339" fmla="*/ 6116281 w 6386648"/>
                <a:gd name="connsiteY2339" fmla="*/ 167148 h 1849426"/>
                <a:gd name="connsiteX2340" fmla="*/ 5311191 w 6386648"/>
                <a:gd name="connsiteY2340" fmla="*/ 167148 h 1849426"/>
                <a:gd name="connsiteX2341" fmla="*/ 5329216 w 6386648"/>
                <a:gd name="connsiteY2341" fmla="*/ 185173 h 1849426"/>
                <a:gd name="connsiteX2342" fmla="*/ 5311191 w 6386648"/>
                <a:gd name="connsiteY2342" fmla="*/ 203197 h 1849426"/>
                <a:gd name="connsiteX2343" fmla="*/ 5293167 w 6386648"/>
                <a:gd name="connsiteY2343" fmla="*/ 185173 h 1849426"/>
                <a:gd name="connsiteX2344" fmla="*/ 5311191 w 6386648"/>
                <a:gd name="connsiteY2344" fmla="*/ 167148 h 1849426"/>
                <a:gd name="connsiteX2345" fmla="*/ 3508750 w 6386648"/>
                <a:gd name="connsiteY2345" fmla="*/ 167148 h 1849426"/>
                <a:gd name="connsiteX2346" fmla="*/ 3526775 w 6386648"/>
                <a:gd name="connsiteY2346" fmla="*/ 185173 h 1849426"/>
                <a:gd name="connsiteX2347" fmla="*/ 3508750 w 6386648"/>
                <a:gd name="connsiteY2347" fmla="*/ 203197 h 1849426"/>
                <a:gd name="connsiteX2348" fmla="*/ 3490726 w 6386648"/>
                <a:gd name="connsiteY2348" fmla="*/ 185173 h 1849426"/>
                <a:gd name="connsiteX2349" fmla="*/ 3508750 w 6386648"/>
                <a:gd name="connsiteY2349" fmla="*/ 167148 h 1849426"/>
                <a:gd name="connsiteX2350" fmla="*/ 1820464 w 6386648"/>
                <a:gd name="connsiteY2350" fmla="*/ 167148 h 1849426"/>
                <a:gd name="connsiteX2351" fmla="*/ 1838489 w 6386648"/>
                <a:gd name="connsiteY2351" fmla="*/ 185173 h 1849426"/>
                <a:gd name="connsiteX2352" fmla="*/ 1820464 w 6386648"/>
                <a:gd name="connsiteY2352" fmla="*/ 203197 h 1849426"/>
                <a:gd name="connsiteX2353" fmla="*/ 1802440 w 6386648"/>
                <a:gd name="connsiteY2353" fmla="*/ 185173 h 1849426"/>
                <a:gd name="connsiteX2354" fmla="*/ 1820464 w 6386648"/>
                <a:gd name="connsiteY2354" fmla="*/ 167148 h 1849426"/>
                <a:gd name="connsiteX2355" fmla="*/ 1423927 w 6386648"/>
                <a:gd name="connsiteY2355" fmla="*/ 167148 h 1849426"/>
                <a:gd name="connsiteX2356" fmla="*/ 1441952 w 6386648"/>
                <a:gd name="connsiteY2356" fmla="*/ 185173 h 1849426"/>
                <a:gd name="connsiteX2357" fmla="*/ 1423927 w 6386648"/>
                <a:gd name="connsiteY2357" fmla="*/ 203197 h 1849426"/>
                <a:gd name="connsiteX2358" fmla="*/ 1405903 w 6386648"/>
                <a:gd name="connsiteY2358" fmla="*/ 185173 h 1849426"/>
                <a:gd name="connsiteX2359" fmla="*/ 1423927 w 6386648"/>
                <a:gd name="connsiteY2359" fmla="*/ 167148 h 1849426"/>
                <a:gd name="connsiteX2360" fmla="*/ 5100906 w 6386648"/>
                <a:gd name="connsiteY2360" fmla="*/ 161140 h 1849426"/>
                <a:gd name="connsiteX2361" fmla="*/ 5118931 w 6386648"/>
                <a:gd name="connsiteY2361" fmla="*/ 179164 h 1849426"/>
                <a:gd name="connsiteX2362" fmla="*/ 5100906 w 6386648"/>
                <a:gd name="connsiteY2362" fmla="*/ 197189 h 1849426"/>
                <a:gd name="connsiteX2363" fmla="*/ 5082882 w 6386648"/>
                <a:gd name="connsiteY2363" fmla="*/ 179164 h 1849426"/>
                <a:gd name="connsiteX2364" fmla="*/ 5100906 w 6386648"/>
                <a:gd name="connsiteY2364" fmla="*/ 161140 h 1849426"/>
                <a:gd name="connsiteX2365" fmla="*/ 1189610 w 6386648"/>
                <a:gd name="connsiteY2365" fmla="*/ 161140 h 1849426"/>
                <a:gd name="connsiteX2366" fmla="*/ 1207635 w 6386648"/>
                <a:gd name="connsiteY2366" fmla="*/ 179164 h 1849426"/>
                <a:gd name="connsiteX2367" fmla="*/ 1189610 w 6386648"/>
                <a:gd name="connsiteY2367" fmla="*/ 197189 h 1849426"/>
                <a:gd name="connsiteX2368" fmla="*/ 1171586 w 6386648"/>
                <a:gd name="connsiteY2368" fmla="*/ 179164 h 1849426"/>
                <a:gd name="connsiteX2369" fmla="*/ 1189610 w 6386648"/>
                <a:gd name="connsiteY2369" fmla="*/ 161140 h 1849426"/>
                <a:gd name="connsiteX2370" fmla="*/ 492666 w 6386648"/>
                <a:gd name="connsiteY2370" fmla="*/ 161140 h 1849426"/>
                <a:gd name="connsiteX2371" fmla="*/ 510691 w 6386648"/>
                <a:gd name="connsiteY2371" fmla="*/ 179164 h 1849426"/>
                <a:gd name="connsiteX2372" fmla="*/ 492666 w 6386648"/>
                <a:gd name="connsiteY2372" fmla="*/ 197189 h 1849426"/>
                <a:gd name="connsiteX2373" fmla="*/ 474642 w 6386648"/>
                <a:gd name="connsiteY2373" fmla="*/ 179164 h 1849426"/>
                <a:gd name="connsiteX2374" fmla="*/ 492666 w 6386648"/>
                <a:gd name="connsiteY2374" fmla="*/ 161140 h 1849426"/>
                <a:gd name="connsiteX2375" fmla="*/ 132178 w 6386648"/>
                <a:gd name="connsiteY2375" fmla="*/ 161140 h 1849426"/>
                <a:gd name="connsiteX2376" fmla="*/ 150203 w 6386648"/>
                <a:gd name="connsiteY2376" fmla="*/ 179164 h 1849426"/>
                <a:gd name="connsiteX2377" fmla="*/ 132178 w 6386648"/>
                <a:gd name="connsiteY2377" fmla="*/ 197189 h 1849426"/>
                <a:gd name="connsiteX2378" fmla="*/ 114154 w 6386648"/>
                <a:gd name="connsiteY2378" fmla="*/ 179164 h 1849426"/>
                <a:gd name="connsiteX2379" fmla="*/ 132178 w 6386648"/>
                <a:gd name="connsiteY2379" fmla="*/ 161140 h 1849426"/>
                <a:gd name="connsiteX2380" fmla="*/ 4968727 w 6386648"/>
                <a:gd name="connsiteY2380" fmla="*/ 155132 h 1849426"/>
                <a:gd name="connsiteX2381" fmla="*/ 4986752 w 6386648"/>
                <a:gd name="connsiteY2381" fmla="*/ 173156 h 1849426"/>
                <a:gd name="connsiteX2382" fmla="*/ 4968727 w 6386648"/>
                <a:gd name="connsiteY2382" fmla="*/ 191181 h 1849426"/>
                <a:gd name="connsiteX2383" fmla="*/ 4950702 w 6386648"/>
                <a:gd name="connsiteY2383" fmla="*/ 173156 h 1849426"/>
                <a:gd name="connsiteX2384" fmla="*/ 4968727 w 6386648"/>
                <a:gd name="connsiteY2384" fmla="*/ 155132 h 1849426"/>
                <a:gd name="connsiteX2385" fmla="*/ 3634921 w 6386648"/>
                <a:gd name="connsiteY2385" fmla="*/ 155132 h 1849426"/>
                <a:gd name="connsiteX2386" fmla="*/ 3652946 w 6386648"/>
                <a:gd name="connsiteY2386" fmla="*/ 173156 h 1849426"/>
                <a:gd name="connsiteX2387" fmla="*/ 3634921 w 6386648"/>
                <a:gd name="connsiteY2387" fmla="*/ 191181 h 1849426"/>
                <a:gd name="connsiteX2388" fmla="*/ 3616897 w 6386648"/>
                <a:gd name="connsiteY2388" fmla="*/ 173156 h 1849426"/>
                <a:gd name="connsiteX2389" fmla="*/ 3634921 w 6386648"/>
                <a:gd name="connsiteY2389" fmla="*/ 155132 h 1849426"/>
                <a:gd name="connsiteX2390" fmla="*/ 2493375 w 6386648"/>
                <a:gd name="connsiteY2390" fmla="*/ 155132 h 1849426"/>
                <a:gd name="connsiteX2391" fmla="*/ 2511400 w 6386648"/>
                <a:gd name="connsiteY2391" fmla="*/ 173156 h 1849426"/>
                <a:gd name="connsiteX2392" fmla="*/ 2493375 w 6386648"/>
                <a:gd name="connsiteY2392" fmla="*/ 191181 h 1849426"/>
                <a:gd name="connsiteX2393" fmla="*/ 2475351 w 6386648"/>
                <a:gd name="connsiteY2393" fmla="*/ 173156 h 1849426"/>
                <a:gd name="connsiteX2394" fmla="*/ 2493375 w 6386648"/>
                <a:gd name="connsiteY2394" fmla="*/ 155132 h 1849426"/>
                <a:gd name="connsiteX2395" fmla="*/ 1922603 w 6386648"/>
                <a:gd name="connsiteY2395" fmla="*/ 155132 h 1849426"/>
                <a:gd name="connsiteX2396" fmla="*/ 1940628 w 6386648"/>
                <a:gd name="connsiteY2396" fmla="*/ 173156 h 1849426"/>
                <a:gd name="connsiteX2397" fmla="*/ 1922603 w 6386648"/>
                <a:gd name="connsiteY2397" fmla="*/ 191181 h 1849426"/>
                <a:gd name="connsiteX2398" fmla="*/ 1904579 w 6386648"/>
                <a:gd name="connsiteY2398" fmla="*/ 173156 h 1849426"/>
                <a:gd name="connsiteX2399" fmla="*/ 1922603 w 6386648"/>
                <a:gd name="connsiteY2399" fmla="*/ 155132 h 1849426"/>
                <a:gd name="connsiteX2400" fmla="*/ 919244 w 6386648"/>
                <a:gd name="connsiteY2400" fmla="*/ 155132 h 1849426"/>
                <a:gd name="connsiteX2401" fmla="*/ 937269 w 6386648"/>
                <a:gd name="connsiteY2401" fmla="*/ 173156 h 1849426"/>
                <a:gd name="connsiteX2402" fmla="*/ 919244 w 6386648"/>
                <a:gd name="connsiteY2402" fmla="*/ 191181 h 1849426"/>
                <a:gd name="connsiteX2403" fmla="*/ 901220 w 6386648"/>
                <a:gd name="connsiteY2403" fmla="*/ 173156 h 1849426"/>
                <a:gd name="connsiteX2404" fmla="*/ 919244 w 6386648"/>
                <a:gd name="connsiteY2404" fmla="*/ 155132 h 1849426"/>
                <a:gd name="connsiteX2405" fmla="*/ 5905996 w 6386648"/>
                <a:gd name="connsiteY2405" fmla="*/ 149124 h 1849426"/>
                <a:gd name="connsiteX2406" fmla="*/ 5924021 w 6386648"/>
                <a:gd name="connsiteY2406" fmla="*/ 167148 h 1849426"/>
                <a:gd name="connsiteX2407" fmla="*/ 5905996 w 6386648"/>
                <a:gd name="connsiteY2407" fmla="*/ 185173 h 1849426"/>
                <a:gd name="connsiteX2408" fmla="*/ 5887972 w 6386648"/>
                <a:gd name="connsiteY2408" fmla="*/ 167148 h 1849426"/>
                <a:gd name="connsiteX2409" fmla="*/ 5905996 w 6386648"/>
                <a:gd name="connsiteY2409" fmla="*/ 149124 h 1849426"/>
                <a:gd name="connsiteX2410" fmla="*/ 4644288 w 6386648"/>
                <a:gd name="connsiteY2410" fmla="*/ 149124 h 1849426"/>
                <a:gd name="connsiteX2411" fmla="*/ 4662313 w 6386648"/>
                <a:gd name="connsiteY2411" fmla="*/ 167148 h 1849426"/>
                <a:gd name="connsiteX2412" fmla="*/ 4644288 w 6386648"/>
                <a:gd name="connsiteY2412" fmla="*/ 185173 h 1849426"/>
                <a:gd name="connsiteX2413" fmla="*/ 4626264 w 6386648"/>
                <a:gd name="connsiteY2413" fmla="*/ 167148 h 1849426"/>
                <a:gd name="connsiteX2414" fmla="*/ 4644288 w 6386648"/>
                <a:gd name="connsiteY2414" fmla="*/ 149124 h 1849426"/>
                <a:gd name="connsiteX2415" fmla="*/ 2126880 w 6386648"/>
                <a:gd name="connsiteY2415" fmla="*/ 149124 h 1849426"/>
                <a:gd name="connsiteX2416" fmla="*/ 2144904 w 6386648"/>
                <a:gd name="connsiteY2416" fmla="*/ 167148 h 1849426"/>
                <a:gd name="connsiteX2417" fmla="*/ 2126880 w 6386648"/>
                <a:gd name="connsiteY2417" fmla="*/ 185173 h 1849426"/>
                <a:gd name="connsiteX2418" fmla="*/ 2108855 w 6386648"/>
                <a:gd name="connsiteY2418" fmla="*/ 167148 h 1849426"/>
                <a:gd name="connsiteX2419" fmla="*/ 2126880 w 6386648"/>
                <a:gd name="connsiteY2419" fmla="*/ 149124 h 1849426"/>
                <a:gd name="connsiteX2420" fmla="*/ 799081 w 6386648"/>
                <a:gd name="connsiteY2420" fmla="*/ 149124 h 1849426"/>
                <a:gd name="connsiteX2421" fmla="*/ 817106 w 6386648"/>
                <a:gd name="connsiteY2421" fmla="*/ 167148 h 1849426"/>
                <a:gd name="connsiteX2422" fmla="*/ 799081 w 6386648"/>
                <a:gd name="connsiteY2422" fmla="*/ 185173 h 1849426"/>
                <a:gd name="connsiteX2423" fmla="*/ 781057 w 6386648"/>
                <a:gd name="connsiteY2423" fmla="*/ 167148 h 1849426"/>
                <a:gd name="connsiteX2424" fmla="*/ 799081 w 6386648"/>
                <a:gd name="connsiteY2424" fmla="*/ 149124 h 1849426"/>
                <a:gd name="connsiteX2425" fmla="*/ 366495 w 6386648"/>
                <a:gd name="connsiteY2425" fmla="*/ 149124 h 1849426"/>
                <a:gd name="connsiteX2426" fmla="*/ 384520 w 6386648"/>
                <a:gd name="connsiteY2426" fmla="*/ 167148 h 1849426"/>
                <a:gd name="connsiteX2427" fmla="*/ 366495 w 6386648"/>
                <a:gd name="connsiteY2427" fmla="*/ 185173 h 1849426"/>
                <a:gd name="connsiteX2428" fmla="*/ 348471 w 6386648"/>
                <a:gd name="connsiteY2428" fmla="*/ 167148 h 1849426"/>
                <a:gd name="connsiteX2429" fmla="*/ 366495 w 6386648"/>
                <a:gd name="connsiteY2429" fmla="*/ 149124 h 1849426"/>
                <a:gd name="connsiteX2430" fmla="*/ 4758442 w 6386648"/>
                <a:gd name="connsiteY2430" fmla="*/ 143116 h 1849426"/>
                <a:gd name="connsiteX2431" fmla="*/ 4776467 w 6386648"/>
                <a:gd name="connsiteY2431" fmla="*/ 161140 h 1849426"/>
                <a:gd name="connsiteX2432" fmla="*/ 4758442 w 6386648"/>
                <a:gd name="connsiteY2432" fmla="*/ 179165 h 1849426"/>
                <a:gd name="connsiteX2433" fmla="*/ 4740417 w 6386648"/>
                <a:gd name="connsiteY2433" fmla="*/ 161140 h 1849426"/>
                <a:gd name="connsiteX2434" fmla="*/ 4758442 w 6386648"/>
                <a:gd name="connsiteY2434" fmla="*/ 143116 h 1849426"/>
                <a:gd name="connsiteX2435" fmla="*/ 3226368 w 6386648"/>
                <a:gd name="connsiteY2435" fmla="*/ 143116 h 1849426"/>
                <a:gd name="connsiteX2436" fmla="*/ 3244393 w 6386648"/>
                <a:gd name="connsiteY2436" fmla="*/ 161140 h 1849426"/>
                <a:gd name="connsiteX2437" fmla="*/ 3226368 w 6386648"/>
                <a:gd name="connsiteY2437" fmla="*/ 179165 h 1849426"/>
                <a:gd name="connsiteX2438" fmla="*/ 3208343 w 6386648"/>
                <a:gd name="connsiteY2438" fmla="*/ 161140 h 1849426"/>
                <a:gd name="connsiteX2439" fmla="*/ 3226368 w 6386648"/>
                <a:gd name="connsiteY2439" fmla="*/ 143116 h 1849426"/>
                <a:gd name="connsiteX2440" fmla="*/ 4235735 w 6386648"/>
                <a:gd name="connsiteY2440" fmla="*/ 131100 h 1849426"/>
                <a:gd name="connsiteX2441" fmla="*/ 4253760 w 6386648"/>
                <a:gd name="connsiteY2441" fmla="*/ 149124 h 1849426"/>
                <a:gd name="connsiteX2442" fmla="*/ 4235735 w 6386648"/>
                <a:gd name="connsiteY2442" fmla="*/ 167149 h 1849426"/>
                <a:gd name="connsiteX2443" fmla="*/ 4217711 w 6386648"/>
                <a:gd name="connsiteY2443" fmla="*/ 149124 h 1849426"/>
                <a:gd name="connsiteX2444" fmla="*/ 4235735 w 6386648"/>
                <a:gd name="connsiteY2444" fmla="*/ 131100 h 1849426"/>
                <a:gd name="connsiteX2445" fmla="*/ 1057431 w 6386648"/>
                <a:gd name="connsiteY2445" fmla="*/ 131100 h 1849426"/>
                <a:gd name="connsiteX2446" fmla="*/ 1075456 w 6386648"/>
                <a:gd name="connsiteY2446" fmla="*/ 149124 h 1849426"/>
                <a:gd name="connsiteX2447" fmla="*/ 1057431 w 6386648"/>
                <a:gd name="connsiteY2447" fmla="*/ 167149 h 1849426"/>
                <a:gd name="connsiteX2448" fmla="*/ 1039407 w 6386648"/>
                <a:gd name="connsiteY2448" fmla="*/ 149124 h 1849426"/>
                <a:gd name="connsiteX2449" fmla="*/ 1057431 w 6386648"/>
                <a:gd name="connsiteY2449" fmla="*/ 131100 h 1849426"/>
                <a:gd name="connsiteX2450" fmla="*/ 4536141 w 6386648"/>
                <a:gd name="connsiteY2450" fmla="*/ 119083 h 1849426"/>
                <a:gd name="connsiteX2451" fmla="*/ 4554166 w 6386648"/>
                <a:gd name="connsiteY2451" fmla="*/ 137107 h 1849426"/>
                <a:gd name="connsiteX2452" fmla="*/ 4536141 w 6386648"/>
                <a:gd name="connsiteY2452" fmla="*/ 155132 h 1849426"/>
                <a:gd name="connsiteX2453" fmla="*/ 4518117 w 6386648"/>
                <a:gd name="connsiteY2453" fmla="*/ 137107 h 1849426"/>
                <a:gd name="connsiteX2454" fmla="*/ 4536141 w 6386648"/>
                <a:gd name="connsiteY2454" fmla="*/ 119083 h 1849426"/>
                <a:gd name="connsiteX2455" fmla="*/ 4361905 w 6386648"/>
                <a:gd name="connsiteY2455" fmla="*/ 119083 h 1849426"/>
                <a:gd name="connsiteX2456" fmla="*/ 4379930 w 6386648"/>
                <a:gd name="connsiteY2456" fmla="*/ 137107 h 1849426"/>
                <a:gd name="connsiteX2457" fmla="*/ 4361905 w 6386648"/>
                <a:gd name="connsiteY2457" fmla="*/ 155132 h 1849426"/>
                <a:gd name="connsiteX2458" fmla="*/ 4343881 w 6386648"/>
                <a:gd name="connsiteY2458" fmla="*/ 137107 h 1849426"/>
                <a:gd name="connsiteX2459" fmla="*/ 4361905 w 6386648"/>
                <a:gd name="connsiteY2459" fmla="*/ 119083 h 1849426"/>
                <a:gd name="connsiteX2460" fmla="*/ 6020151 w 6386648"/>
                <a:gd name="connsiteY2460" fmla="*/ 113075 h 1849426"/>
                <a:gd name="connsiteX2461" fmla="*/ 6038176 w 6386648"/>
                <a:gd name="connsiteY2461" fmla="*/ 131099 h 1849426"/>
                <a:gd name="connsiteX2462" fmla="*/ 6020151 w 6386648"/>
                <a:gd name="connsiteY2462" fmla="*/ 149124 h 1849426"/>
                <a:gd name="connsiteX2463" fmla="*/ 6002126 w 6386648"/>
                <a:gd name="connsiteY2463" fmla="*/ 131099 h 1849426"/>
                <a:gd name="connsiteX2464" fmla="*/ 6020151 w 6386648"/>
                <a:gd name="connsiteY2464" fmla="*/ 113075 h 1849426"/>
                <a:gd name="connsiteX2465" fmla="*/ 5209053 w 6386648"/>
                <a:gd name="connsiteY2465" fmla="*/ 113075 h 1849426"/>
                <a:gd name="connsiteX2466" fmla="*/ 5227078 w 6386648"/>
                <a:gd name="connsiteY2466" fmla="*/ 131099 h 1849426"/>
                <a:gd name="connsiteX2467" fmla="*/ 5209053 w 6386648"/>
                <a:gd name="connsiteY2467" fmla="*/ 149124 h 1849426"/>
                <a:gd name="connsiteX2468" fmla="*/ 5191028 w 6386648"/>
                <a:gd name="connsiteY2468" fmla="*/ 131099 h 1849426"/>
                <a:gd name="connsiteX2469" fmla="*/ 5209053 w 6386648"/>
                <a:gd name="connsiteY2469" fmla="*/ 113075 h 1849426"/>
                <a:gd name="connsiteX2470" fmla="*/ 2865880 w 6386648"/>
                <a:gd name="connsiteY2470" fmla="*/ 113075 h 1849426"/>
                <a:gd name="connsiteX2471" fmla="*/ 2883905 w 6386648"/>
                <a:gd name="connsiteY2471" fmla="*/ 131099 h 1849426"/>
                <a:gd name="connsiteX2472" fmla="*/ 2865880 w 6386648"/>
                <a:gd name="connsiteY2472" fmla="*/ 149124 h 1849426"/>
                <a:gd name="connsiteX2473" fmla="*/ 2847855 w 6386648"/>
                <a:gd name="connsiteY2473" fmla="*/ 131099 h 1849426"/>
                <a:gd name="connsiteX2474" fmla="*/ 2865880 w 6386648"/>
                <a:gd name="connsiteY2474" fmla="*/ 113075 h 1849426"/>
                <a:gd name="connsiteX2475" fmla="*/ 2751725 w 6386648"/>
                <a:gd name="connsiteY2475" fmla="*/ 113075 h 1849426"/>
                <a:gd name="connsiteX2476" fmla="*/ 2769750 w 6386648"/>
                <a:gd name="connsiteY2476" fmla="*/ 131099 h 1849426"/>
                <a:gd name="connsiteX2477" fmla="*/ 2751725 w 6386648"/>
                <a:gd name="connsiteY2477" fmla="*/ 149124 h 1849426"/>
                <a:gd name="connsiteX2478" fmla="*/ 2733701 w 6386648"/>
                <a:gd name="connsiteY2478" fmla="*/ 131099 h 1849426"/>
                <a:gd name="connsiteX2479" fmla="*/ 2751725 w 6386648"/>
                <a:gd name="connsiteY2479" fmla="*/ 113075 h 1849426"/>
                <a:gd name="connsiteX2480" fmla="*/ 5797850 w 6386648"/>
                <a:gd name="connsiteY2480" fmla="*/ 107067 h 1849426"/>
                <a:gd name="connsiteX2481" fmla="*/ 5815875 w 6386648"/>
                <a:gd name="connsiteY2481" fmla="*/ 125092 h 1849426"/>
                <a:gd name="connsiteX2482" fmla="*/ 5797850 w 6386648"/>
                <a:gd name="connsiteY2482" fmla="*/ 143116 h 1849426"/>
                <a:gd name="connsiteX2483" fmla="*/ 5779826 w 6386648"/>
                <a:gd name="connsiteY2483" fmla="*/ 125092 h 1849426"/>
                <a:gd name="connsiteX2484" fmla="*/ 5797850 w 6386648"/>
                <a:gd name="connsiteY2484" fmla="*/ 107067 h 1849426"/>
                <a:gd name="connsiteX2485" fmla="*/ 4055491 w 6386648"/>
                <a:gd name="connsiteY2485" fmla="*/ 107067 h 1849426"/>
                <a:gd name="connsiteX2486" fmla="*/ 4073516 w 6386648"/>
                <a:gd name="connsiteY2486" fmla="*/ 125092 h 1849426"/>
                <a:gd name="connsiteX2487" fmla="*/ 4055491 w 6386648"/>
                <a:gd name="connsiteY2487" fmla="*/ 143116 h 1849426"/>
                <a:gd name="connsiteX2488" fmla="*/ 4037467 w 6386648"/>
                <a:gd name="connsiteY2488" fmla="*/ 125092 h 1849426"/>
                <a:gd name="connsiteX2489" fmla="*/ 4055491 w 6386648"/>
                <a:gd name="connsiteY2489" fmla="*/ 107067 h 1849426"/>
                <a:gd name="connsiteX2490" fmla="*/ 3917303 w 6386648"/>
                <a:gd name="connsiteY2490" fmla="*/ 107067 h 1849426"/>
                <a:gd name="connsiteX2491" fmla="*/ 3935328 w 6386648"/>
                <a:gd name="connsiteY2491" fmla="*/ 125092 h 1849426"/>
                <a:gd name="connsiteX2492" fmla="*/ 3917303 w 6386648"/>
                <a:gd name="connsiteY2492" fmla="*/ 143116 h 1849426"/>
                <a:gd name="connsiteX2493" fmla="*/ 3899278 w 6386648"/>
                <a:gd name="connsiteY2493" fmla="*/ 125092 h 1849426"/>
                <a:gd name="connsiteX2494" fmla="*/ 3917303 w 6386648"/>
                <a:gd name="connsiteY2494" fmla="*/ 107067 h 1849426"/>
                <a:gd name="connsiteX2495" fmla="*/ 3346531 w 6386648"/>
                <a:gd name="connsiteY2495" fmla="*/ 107067 h 1849426"/>
                <a:gd name="connsiteX2496" fmla="*/ 3364556 w 6386648"/>
                <a:gd name="connsiteY2496" fmla="*/ 125092 h 1849426"/>
                <a:gd name="connsiteX2497" fmla="*/ 3346531 w 6386648"/>
                <a:gd name="connsiteY2497" fmla="*/ 143116 h 1849426"/>
                <a:gd name="connsiteX2498" fmla="*/ 3328506 w 6386648"/>
                <a:gd name="connsiteY2498" fmla="*/ 125092 h 1849426"/>
                <a:gd name="connsiteX2499" fmla="*/ 3346531 w 6386648"/>
                <a:gd name="connsiteY2499" fmla="*/ 107067 h 1849426"/>
                <a:gd name="connsiteX2500" fmla="*/ 2024741 w 6386648"/>
                <a:gd name="connsiteY2500" fmla="*/ 107067 h 1849426"/>
                <a:gd name="connsiteX2501" fmla="*/ 2042766 w 6386648"/>
                <a:gd name="connsiteY2501" fmla="*/ 125092 h 1849426"/>
                <a:gd name="connsiteX2502" fmla="*/ 2024741 w 6386648"/>
                <a:gd name="connsiteY2502" fmla="*/ 143116 h 1849426"/>
                <a:gd name="connsiteX2503" fmla="*/ 2006717 w 6386648"/>
                <a:gd name="connsiteY2503" fmla="*/ 125092 h 1849426"/>
                <a:gd name="connsiteX2504" fmla="*/ 2024741 w 6386648"/>
                <a:gd name="connsiteY2504" fmla="*/ 107067 h 1849426"/>
                <a:gd name="connsiteX2505" fmla="*/ 240325 w 6386648"/>
                <a:gd name="connsiteY2505" fmla="*/ 107067 h 1849426"/>
                <a:gd name="connsiteX2506" fmla="*/ 258350 w 6386648"/>
                <a:gd name="connsiteY2506" fmla="*/ 125092 h 1849426"/>
                <a:gd name="connsiteX2507" fmla="*/ 240325 w 6386648"/>
                <a:gd name="connsiteY2507" fmla="*/ 143116 h 1849426"/>
                <a:gd name="connsiteX2508" fmla="*/ 222301 w 6386648"/>
                <a:gd name="connsiteY2508" fmla="*/ 125092 h 1849426"/>
                <a:gd name="connsiteX2509" fmla="*/ 240325 w 6386648"/>
                <a:gd name="connsiteY2509" fmla="*/ 107067 h 1849426"/>
                <a:gd name="connsiteX2510" fmla="*/ 3761092 w 6386648"/>
                <a:gd name="connsiteY2510" fmla="*/ 101059 h 1849426"/>
                <a:gd name="connsiteX2511" fmla="*/ 3779117 w 6386648"/>
                <a:gd name="connsiteY2511" fmla="*/ 119083 h 1849426"/>
                <a:gd name="connsiteX2512" fmla="*/ 3761092 w 6386648"/>
                <a:gd name="connsiteY2512" fmla="*/ 137108 h 1849426"/>
                <a:gd name="connsiteX2513" fmla="*/ 3743068 w 6386648"/>
                <a:gd name="connsiteY2513" fmla="*/ 119083 h 1849426"/>
                <a:gd name="connsiteX2514" fmla="*/ 3761092 w 6386648"/>
                <a:gd name="connsiteY2514" fmla="*/ 101059 h 1849426"/>
                <a:gd name="connsiteX2515" fmla="*/ 1706311 w 6386648"/>
                <a:gd name="connsiteY2515" fmla="*/ 101059 h 1849426"/>
                <a:gd name="connsiteX2516" fmla="*/ 1724335 w 6386648"/>
                <a:gd name="connsiteY2516" fmla="*/ 119083 h 1849426"/>
                <a:gd name="connsiteX2517" fmla="*/ 1706311 w 6386648"/>
                <a:gd name="connsiteY2517" fmla="*/ 137108 h 1849426"/>
                <a:gd name="connsiteX2518" fmla="*/ 1688286 w 6386648"/>
                <a:gd name="connsiteY2518" fmla="*/ 119083 h 1849426"/>
                <a:gd name="connsiteX2519" fmla="*/ 1706311 w 6386648"/>
                <a:gd name="connsiteY2519" fmla="*/ 101059 h 1849426"/>
                <a:gd name="connsiteX2520" fmla="*/ 1574131 w 6386648"/>
                <a:gd name="connsiteY2520" fmla="*/ 101059 h 1849426"/>
                <a:gd name="connsiteX2521" fmla="*/ 1592156 w 6386648"/>
                <a:gd name="connsiteY2521" fmla="*/ 119083 h 1849426"/>
                <a:gd name="connsiteX2522" fmla="*/ 1574131 w 6386648"/>
                <a:gd name="connsiteY2522" fmla="*/ 137108 h 1849426"/>
                <a:gd name="connsiteX2523" fmla="*/ 1556107 w 6386648"/>
                <a:gd name="connsiteY2523" fmla="*/ 119083 h 1849426"/>
                <a:gd name="connsiteX2524" fmla="*/ 1574131 w 6386648"/>
                <a:gd name="connsiteY2524" fmla="*/ 101059 h 1849426"/>
                <a:gd name="connsiteX2525" fmla="*/ 5611598 w 6386648"/>
                <a:gd name="connsiteY2525" fmla="*/ 89043 h 1849426"/>
                <a:gd name="connsiteX2526" fmla="*/ 5629623 w 6386648"/>
                <a:gd name="connsiteY2526" fmla="*/ 107067 h 1849426"/>
                <a:gd name="connsiteX2527" fmla="*/ 5611598 w 6386648"/>
                <a:gd name="connsiteY2527" fmla="*/ 125092 h 1849426"/>
                <a:gd name="connsiteX2528" fmla="*/ 5593574 w 6386648"/>
                <a:gd name="connsiteY2528" fmla="*/ 107067 h 1849426"/>
                <a:gd name="connsiteX2529" fmla="*/ 5611598 w 6386648"/>
                <a:gd name="connsiteY2529" fmla="*/ 89043 h 1849426"/>
                <a:gd name="connsiteX2530" fmla="*/ 5419337 w 6386648"/>
                <a:gd name="connsiteY2530" fmla="*/ 89043 h 1849426"/>
                <a:gd name="connsiteX2531" fmla="*/ 5437362 w 6386648"/>
                <a:gd name="connsiteY2531" fmla="*/ 107067 h 1849426"/>
                <a:gd name="connsiteX2532" fmla="*/ 5419337 w 6386648"/>
                <a:gd name="connsiteY2532" fmla="*/ 125092 h 1849426"/>
                <a:gd name="connsiteX2533" fmla="*/ 5401312 w 6386648"/>
                <a:gd name="connsiteY2533" fmla="*/ 107067 h 1849426"/>
                <a:gd name="connsiteX2534" fmla="*/ 5419337 w 6386648"/>
                <a:gd name="connsiteY2534" fmla="*/ 89043 h 1849426"/>
                <a:gd name="connsiteX2535" fmla="*/ 2992051 w 6386648"/>
                <a:gd name="connsiteY2535" fmla="*/ 89043 h 1849426"/>
                <a:gd name="connsiteX2536" fmla="*/ 3010076 w 6386648"/>
                <a:gd name="connsiteY2536" fmla="*/ 107067 h 1849426"/>
                <a:gd name="connsiteX2537" fmla="*/ 2992051 w 6386648"/>
                <a:gd name="connsiteY2537" fmla="*/ 125092 h 1849426"/>
                <a:gd name="connsiteX2538" fmla="*/ 2974027 w 6386648"/>
                <a:gd name="connsiteY2538" fmla="*/ 107067 h 1849426"/>
                <a:gd name="connsiteX2539" fmla="*/ 2992051 w 6386648"/>
                <a:gd name="connsiteY2539" fmla="*/ 89043 h 1849426"/>
                <a:gd name="connsiteX2540" fmla="*/ 6368623 w 6386648"/>
                <a:gd name="connsiteY2540" fmla="*/ 83034 h 1849426"/>
                <a:gd name="connsiteX2541" fmla="*/ 6386648 w 6386648"/>
                <a:gd name="connsiteY2541" fmla="*/ 101058 h 1849426"/>
                <a:gd name="connsiteX2542" fmla="*/ 6368623 w 6386648"/>
                <a:gd name="connsiteY2542" fmla="*/ 119083 h 1849426"/>
                <a:gd name="connsiteX2543" fmla="*/ 6350599 w 6386648"/>
                <a:gd name="connsiteY2543" fmla="*/ 101058 h 1849426"/>
                <a:gd name="connsiteX2544" fmla="*/ 6368623 w 6386648"/>
                <a:gd name="connsiteY2544" fmla="*/ 83034 h 1849426"/>
                <a:gd name="connsiteX2545" fmla="*/ 6242452 w 6386648"/>
                <a:gd name="connsiteY2545" fmla="*/ 83034 h 1849426"/>
                <a:gd name="connsiteX2546" fmla="*/ 6260477 w 6386648"/>
                <a:gd name="connsiteY2546" fmla="*/ 101058 h 1849426"/>
                <a:gd name="connsiteX2547" fmla="*/ 6242452 w 6386648"/>
                <a:gd name="connsiteY2547" fmla="*/ 119083 h 1849426"/>
                <a:gd name="connsiteX2548" fmla="*/ 6224428 w 6386648"/>
                <a:gd name="connsiteY2548" fmla="*/ 101058 h 1849426"/>
                <a:gd name="connsiteX2549" fmla="*/ 6242452 w 6386648"/>
                <a:gd name="connsiteY2549" fmla="*/ 83034 h 1849426"/>
                <a:gd name="connsiteX2550" fmla="*/ 4884613 w 6386648"/>
                <a:gd name="connsiteY2550" fmla="*/ 83034 h 1849426"/>
                <a:gd name="connsiteX2551" fmla="*/ 4902638 w 6386648"/>
                <a:gd name="connsiteY2551" fmla="*/ 101058 h 1849426"/>
                <a:gd name="connsiteX2552" fmla="*/ 4884613 w 6386648"/>
                <a:gd name="connsiteY2552" fmla="*/ 119083 h 1849426"/>
                <a:gd name="connsiteX2553" fmla="*/ 4866589 w 6386648"/>
                <a:gd name="connsiteY2553" fmla="*/ 101058 h 1849426"/>
                <a:gd name="connsiteX2554" fmla="*/ 4884613 w 6386648"/>
                <a:gd name="connsiteY2554" fmla="*/ 83034 h 1849426"/>
                <a:gd name="connsiteX2555" fmla="*/ 3118221 w 6386648"/>
                <a:gd name="connsiteY2555" fmla="*/ 83034 h 1849426"/>
                <a:gd name="connsiteX2556" fmla="*/ 3136246 w 6386648"/>
                <a:gd name="connsiteY2556" fmla="*/ 101058 h 1849426"/>
                <a:gd name="connsiteX2557" fmla="*/ 3118221 w 6386648"/>
                <a:gd name="connsiteY2557" fmla="*/ 119083 h 1849426"/>
                <a:gd name="connsiteX2558" fmla="*/ 3100197 w 6386648"/>
                <a:gd name="connsiteY2558" fmla="*/ 101058 h 1849426"/>
                <a:gd name="connsiteX2559" fmla="*/ 3118221 w 6386648"/>
                <a:gd name="connsiteY2559" fmla="*/ 83034 h 1849426"/>
                <a:gd name="connsiteX2560" fmla="*/ 2619546 w 6386648"/>
                <a:gd name="connsiteY2560" fmla="*/ 83034 h 1849426"/>
                <a:gd name="connsiteX2561" fmla="*/ 2637571 w 6386648"/>
                <a:gd name="connsiteY2561" fmla="*/ 101058 h 1849426"/>
                <a:gd name="connsiteX2562" fmla="*/ 2619546 w 6386648"/>
                <a:gd name="connsiteY2562" fmla="*/ 119083 h 1849426"/>
                <a:gd name="connsiteX2563" fmla="*/ 2601522 w 6386648"/>
                <a:gd name="connsiteY2563" fmla="*/ 101058 h 1849426"/>
                <a:gd name="connsiteX2564" fmla="*/ 2619546 w 6386648"/>
                <a:gd name="connsiteY2564" fmla="*/ 83034 h 1849426"/>
                <a:gd name="connsiteX2565" fmla="*/ 1291748 w 6386648"/>
                <a:gd name="connsiteY2565" fmla="*/ 83034 h 1849426"/>
                <a:gd name="connsiteX2566" fmla="*/ 1309773 w 6386648"/>
                <a:gd name="connsiteY2566" fmla="*/ 101058 h 1849426"/>
                <a:gd name="connsiteX2567" fmla="*/ 1291748 w 6386648"/>
                <a:gd name="connsiteY2567" fmla="*/ 119083 h 1849426"/>
                <a:gd name="connsiteX2568" fmla="*/ 1273724 w 6386648"/>
                <a:gd name="connsiteY2568" fmla="*/ 101058 h 1849426"/>
                <a:gd name="connsiteX2569" fmla="*/ 1291748 w 6386648"/>
                <a:gd name="connsiteY2569" fmla="*/ 83034 h 1849426"/>
                <a:gd name="connsiteX2570" fmla="*/ 702951 w 6386648"/>
                <a:gd name="connsiteY2570" fmla="*/ 83034 h 1849426"/>
                <a:gd name="connsiteX2571" fmla="*/ 720976 w 6386648"/>
                <a:gd name="connsiteY2571" fmla="*/ 101058 h 1849426"/>
                <a:gd name="connsiteX2572" fmla="*/ 702951 w 6386648"/>
                <a:gd name="connsiteY2572" fmla="*/ 119083 h 1849426"/>
                <a:gd name="connsiteX2573" fmla="*/ 684927 w 6386648"/>
                <a:gd name="connsiteY2573" fmla="*/ 101058 h 1849426"/>
                <a:gd name="connsiteX2574" fmla="*/ 702951 w 6386648"/>
                <a:gd name="connsiteY2574" fmla="*/ 83034 h 1849426"/>
                <a:gd name="connsiteX2575" fmla="*/ 2319139 w 6386648"/>
                <a:gd name="connsiteY2575" fmla="*/ 65010 h 1849426"/>
                <a:gd name="connsiteX2576" fmla="*/ 2337164 w 6386648"/>
                <a:gd name="connsiteY2576" fmla="*/ 83034 h 1849426"/>
                <a:gd name="connsiteX2577" fmla="*/ 2319139 w 6386648"/>
                <a:gd name="connsiteY2577" fmla="*/ 101059 h 1849426"/>
                <a:gd name="connsiteX2578" fmla="*/ 2301115 w 6386648"/>
                <a:gd name="connsiteY2578" fmla="*/ 83034 h 1849426"/>
                <a:gd name="connsiteX2579" fmla="*/ 2319139 w 6386648"/>
                <a:gd name="connsiteY2579" fmla="*/ 65010 h 1849426"/>
                <a:gd name="connsiteX2580" fmla="*/ 564765 w 6386648"/>
                <a:gd name="connsiteY2580" fmla="*/ 65010 h 1849426"/>
                <a:gd name="connsiteX2581" fmla="*/ 582789 w 6386648"/>
                <a:gd name="connsiteY2581" fmla="*/ 83034 h 1849426"/>
                <a:gd name="connsiteX2582" fmla="*/ 564765 w 6386648"/>
                <a:gd name="connsiteY2582" fmla="*/ 101059 h 1849426"/>
                <a:gd name="connsiteX2583" fmla="*/ 546740 w 6386648"/>
                <a:gd name="connsiteY2583" fmla="*/ 83034 h 1849426"/>
                <a:gd name="connsiteX2584" fmla="*/ 564765 w 6386648"/>
                <a:gd name="connsiteY2584" fmla="*/ 65010 h 1849426"/>
                <a:gd name="connsiteX2585" fmla="*/ 18024 w 6386648"/>
                <a:gd name="connsiteY2585" fmla="*/ 65010 h 1849426"/>
                <a:gd name="connsiteX2586" fmla="*/ 36049 w 6386648"/>
                <a:gd name="connsiteY2586" fmla="*/ 83034 h 1849426"/>
                <a:gd name="connsiteX2587" fmla="*/ 18024 w 6386648"/>
                <a:gd name="connsiteY2587" fmla="*/ 101059 h 1849426"/>
                <a:gd name="connsiteX2588" fmla="*/ 0 w 6386648"/>
                <a:gd name="connsiteY2588" fmla="*/ 83034 h 1849426"/>
                <a:gd name="connsiteX2589" fmla="*/ 18024 w 6386648"/>
                <a:gd name="connsiteY2589" fmla="*/ 65010 h 1849426"/>
                <a:gd name="connsiteX2590" fmla="*/ 5052841 w 6386648"/>
                <a:gd name="connsiteY2590" fmla="*/ 59002 h 1849426"/>
                <a:gd name="connsiteX2591" fmla="*/ 5070866 w 6386648"/>
                <a:gd name="connsiteY2591" fmla="*/ 77026 h 1849426"/>
                <a:gd name="connsiteX2592" fmla="*/ 5052841 w 6386648"/>
                <a:gd name="connsiteY2592" fmla="*/ 95051 h 1849426"/>
                <a:gd name="connsiteX2593" fmla="*/ 5034817 w 6386648"/>
                <a:gd name="connsiteY2593" fmla="*/ 77026 h 1849426"/>
                <a:gd name="connsiteX2594" fmla="*/ 5052841 w 6386648"/>
                <a:gd name="connsiteY2594" fmla="*/ 59002 h 1849426"/>
                <a:gd name="connsiteX2595" fmla="*/ 3490726 w 6386648"/>
                <a:gd name="connsiteY2595" fmla="*/ 59002 h 1849426"/>
                <a:gd name="connsiteX2596" fmla="*/ 3508751 w 6386648"/>
                <a:gd name="connsiteY2596" fmla="*/ 77026 h 1849426"/>
                <a:gd name="connsiteX2597" fmla="*/ 3490726 w 6386648"/>
                <a:gd name="connsiteY2597" fmla="*/ 95051 h 1849426"/>
                <a:gd name="connsiteX2598" fmla="*/ 3472702 w 6386648"/>
                <a:gd name="connsiteY2598" fmla="*/ 77026 h 1849426"/>
                <a:gd name="connsiteX2599" fmla="*/ 3490726 w 6386648"/>
                <a:gd name="connsiteY2599" fmla="*/ 59002 h 1849426"/>
                <a:gd name="connsiteX2600" fmla="*/ 1447960 w 6386648"/>
                <a:gd name="connsiteY2600" fmla="*/ 59002 h 1849426"/>
                <a:gd name="connsiteX2601" fmla="*/ 1465985 w 6386648"/>
                <a:gd name="connsiteY2601" fmla="*/ 77026 h 1849426"/>
                <a:gd name="connsiteX2602" fmla="*/ 1447960 w 6386648"/>
                <a:gd name="connsiteY2602" fmla="*/ 95051 h 1849426"/>
                <a:gd name="connsiteX2603" fmla="*/ 1429936 w 6386648"/>
                <a:gd name="connsiteY2603" fmla="*/ 77026 h 1849426"/>
                <a:gd name="connsiteX2604" fmla="*/ 1447960 w 6386648"/>
                <a:gd name="connsiteY2604" fmla="*/ 59002 h 1849426"/>
                <a:gd name="connsiteX2605" fmla="*/ 2192969 w 6386648"/>
                <a:gd name="connsiteY2605" fmla="*/ 46987 h 1849426"/>
                <a:gd name="connsiteX2606" fmla="*/ 2210994 w 6386648"/>
                <a:gd name="connsiteY2606" fmla="*/ 65012 h 1849426"/>
                <a:gd name="connsiteX2607" fmla="*/ 2192969 w 6386648"/>
                <a:gd name="connsiteY2607" fmla="*/ 83036 h 1849426"/>
                <a:gd name="connsiteX2608" fmla="*/ 2174945 w 6386648"/>
                <a:gd name="connsiteY2608" fmla="*/ 65012 h 1849426"/>
                <a:gd name="connsiteX2609" fmla="*/ 2192969 w 6386648"/>
                <a:gd name="connsiteY2609" fmla="*/ 46987 h 1849426"/>
                <a:gd name="connsiteX2610" fmla="*/ 4434003 w 6386648"/>
                <a:gd name="connsiteY2610" fmla="*/ 40979 h 1849426"/>
                <a:gd name="connsiteX2611" fmla="*/ 4452028 w 6386648"/>
                <a:gd name="connsiteY2611" fmla="*/ 59003 h 1849426"/>
                <a:gd name="connsiteX2612" fmla="*/ 4434003 w 6386648"/>
                <a:gd name="connsiteY2612" fmla="*/ 77028 h 1849426"/>
                <a:gd name="connsiteX2613" fmla="*/ 4415979 w 6386648"/>
                <a:gd name="connsiteY2613" fmla="*/ 59003 h 1849426"/>
                <a:gd name="connsiteX2614" fmla="*/ 4434003 w 6386648"/>
                <a:gd name="connsiteY2614" fmla="*/ 40979 h 1849426"/>
                <a:gd name="connsiteX2615" fmla="*/ 3616897 w 6386648"/>
                <a:gd name="connsiteY2615" fmla="*/ 40979 h 1849426"/>
                <a:gd name="connsiteX2616" fmla="*/ 3634922 w 6386648"/>
                <a:gd name="connsiteY2616" fmla="*/ 59003 h 1849426"/>
                <a:gd name="connsiteX2617" fmla="*/ 3616897 w 6386648"/>
                <a:gd name="connsiteY2617" fmla="*/ 77028 h 1849426"/>
                <a:gd name="connsiteX2618" fmla="*/ 3598872 w 6386648"/>
                <a:gd name="connsiteY2618" fmla="*/ 59003 h 1849426"/>
                <a:gd name="connsiteX2619" fmla="*/ 3616897 w 6386648"/>
                <a:gd name="connsiteY2619" fmla="*/ 40979 h 1849426"/>
                <a:gd name="connsiteX2620" fmla="*/ 1826473 w 6386648"/>
                <a:gd name="connsiteY2620" fmla="*/ 40979 h 1849426"/>
                <a:gd name="connsiteX2621" fmla="*/ 1844497 w 6386648"/>
                <a:gd name="connsiteY2621" fmla="*/ 59003 h 1849426"/>
                <a:gd name="connsiteX2622" fmla="*/ 1826473 w 6386648"/>
                <a:gd name="connsiteY2622" fmla="*/ 77028 h 1849426"/>
                <a:gd name="connsiteX2623" fmla="*/ 1808448 w 6386648"/>
                <a:gd name="connsiteY2623" fmla="*/ 59003 h 1849426"/>
                <a:gd name="connsiteX2624" fmla="*/ 1826473 w 6386648"/>
                <a:gd name="connsiteY2624" fmla="*/ 40979 h 1849426"/>
                <a:gd name="connsiteX2625" fmla="*/ 5942045 w 6386648"/>
                <a:gd name="connsiteY2625" fmla="*/ 34970 h 1849426"/>
                <a:gd name="connsiteX2626" fmla="*/ 5960070 w 6386648"/>
                <a:gd name="connsiteY2626" fmla="*/ 52994 h 1849426"/>
                <a:gd name="connsiteX2627" fmla="*/ 5942045 w 6386648"/>
                <a:gd name="connsiteY2627" fmla="*/ 71019 h 1849426"/>
                <a:gd name="connsiteX2628" fmla="*/ 5924021 w 6386648"/>
                <a:gd name="connsiteY2628" fmla="*/ 52994 h 1849426"/>
                <a:gd name="connsiteX2629" fmla="*/ 5942045 w 6386648"/>
                <a:gd name="connsiteY2629" fmla="*/ 34970 h 1849426"/>
                <a:gd name="connsiteX2630" fmla="*/ 5719744 w 6386648"/>
                <a:gd name="connsiteY2630" fmla="*/ 34970 h 1849426"/>
                <a:gd name="connsiteX2631" fmla="*/ 5737769 w 6386648"/>
                <a:gd name="connsiteY2631" fmla="*/ 52994 h 1849426"/>
                <a:gd name="connsiteX2632" fmla="*/ 5719744 w 6386648"/>
                <a:gd name="connsiteY2632" fmla="*/ 71019 h 1849426"/>
                <a:gd name="connsiteX2633" fmla="*/ 5701719 w 6386648"/>
                <a:gd name="connsiteY2633" fmla="*/ 52994 h 1849426"/>
                <a:gd name="connsiteX2634" fmla="*/ 5719744 w 6386648"/>
                <a:gd name="connsiteY2634" fmla="*/ 34970 h 1849426"/>
                <a:gd name="connsiteX2635" fmla="*/ 1171586 w 6386648"/>
                <a:gd name="connsiteY2635" fmla="*/ 34970 h 1849426"/>
                <a:gd name="connsiteX2636" fmla="*/ 1189611 w 6386648"/>
                <a:gd name="connsiteY2636" fmla="*/ 52994 h 1849426"/>
                <a:gd name="connsiteX2637" fmla="*/ 1171586 w 6386648"/>
                <a:gd name="connsiteY2637" fmla="*/ 71019 h 1849426"/>
                <a:gd name="connsiteX2638" fmla="*/ 1153562 w 6386648"/>
                <a:gd name="connsiteY2638" fmla="*/ 52994 h 1849426"/>
                <a:gd name="connsiteX2639" fmla="*/ 1171586 w 6386648"/>
                <a:gd name="connsiteY2639" fmla="*/ 34970 h 1849426"/>
                <a:gd name="connsiteX2640" fmla="*/ 937268 w 6386648"/>
                <a:gd name="connsiteY2640" fmla="*/ 34970 h 1849426"/>
                <a:gd name="connsiteX2641" fmla="*/ 955293 w 6386648"/>
                <a:gd name="connsiteY2641" fmla="*/ 52994 h 1849426"/>
                <a:gd name="connsiteX2642" fmla="*/ 937268 w 6386648"/>
                <a:gd name="connsiteY2642" fmla="*/ 71019 h 1849426"/>
                <a:gd name="connsiteX2643" fmla="*/ 919244 w 6386648"/>
                <a:gd name="connsiteY2643" fmla="*/ 52994 h 1849426"/>
                <a:gd name="connsiteX2644" fmla="*/ 937268 w 6386648"/>
                <a:gd name="connsiteY2644" fmla="*/ 34970 h 1849426"/>
                <a:gd name="connsiteX2645" fmla="*/ 426577 w 6386648"/>
                <a:gd name="connsiteY2645" fmla="*/ 34970 h 1849426"/>
                <a:gd name="connsiteX2646" fmla="*/ 444602 w 6386648"/>
                <a:gd name="connsiteY2646" fmla="*/ 52994 h 1849426"/>
                <a:gd name="connsiteX2647" fmla="*/ 426577 w 6386648"/>
                <a:gd name="connsiteY2647" fmla="*/ 71019 h 1849426"/>
                <a:gd name="connsiteX2648" fmla="*/ 408553 w 6386648"/>
                <a:gd name="connsiteY2648" fmla="*/ 52994 h 1849426"/>
                <a:gd name="connsiteX2649" fmla="*/ 426577 w 6386648"/>
                <a:gd name="connsiteY2649" fmla="*/ 34970 h 1849426"/>
                <a:gd name="connsiteX2650" fmla="*/ 6146322 w 6386648"/>
                <a:gd name="connsiteY2650" fmla="*/ 28962 h 1849426"/>
                <a:gd name="connsiteX2651" fmla="*/ 6164347 w 6386648"/>
                <a:gd name="connsiteY2651" fmla="*/ 46986 h 1849426"/>
                <a:gd name="connsiteX2652" fmla="*/ 6146322 w 6386648"/>
                <a:gd name="connsiteY2652" fmla="*/ 65011 h 1849426"/>
                <a:gd name="connsiteX2653" fmla="*/ 6128298 w 6386648"/>
                <a:gd name="connsiteY2653" fmla="*/ 46986 h 1849426"/>
                <a:gd name="connsiteX2654" fmla="*/ 6146322 w 6386648"/>
                <a:gd name="connsiteY2654" fmla="*/ 28962 h 1849426"/>
                <a:gd name="connsiteX2655" fmla="*/ 4776467 w 6386648"/>
                <a:gd name="connsiteY2655" fmla="*/ 28962 h 1849426"/>
                <a:gd name="connsiteX2656" fmla="*/ 4794492 w 6386648"/>
                <a:gd name="connsiteY2656" fmla="*/ 46986 h 1849426"/>
                <a:gd name="connsiteX2657" fmla="*/ 4776467 w 6386648"/>
                <a:gd name="connsiteY2657" fmla="*/ 65011 h 1849426"/>
                <a:gd name="connsiteX2658" fmla="*/ 4758443 w 6386648"/>
                <a:gd name="connsiteY2658" fmla="*/ 46986 h 1849426"/>
                <a:gd name="connsiteX2659" fmla="*/ 4776467 w 6386648"/>
                <a:gd name="connsiteY2659" fmla="*/ 28962 h 1849426"/>
                <a:gd name="connsiteX2660" fmla="*/ 2451318 w 6386648"/>
                <a:gd name="connsiteY2660" fmla="*/ 28962 h 1849426"/>
                <a:gd name="connsiteX2661" fmla="*/ 2469343 w 6386648"/>
                <a:gd name="connsiteY2661" fmla="*/ 46986 h 1849426"/>
                <a:gd name="connsiteX2662" fmla="*/ 2451318 w 6386648"/>
                <a:gd name="connsiteY2662" fmla="*/ 65011 h 1849426"/>
                <a:gd name="connsiteX2663" fmla="*/ 2433294 w 6386648"/>
                <a:gd name="connsiteY2663" fmla="*/ 46986 h 1849426"/>
                <a:gd name="connsiteX2664" fmla="*/ 2451318 w 6386648"/>
                <a:gd name="connsiteY2664" fmla="*/ 28962 h 1849426"/>
                <a:gd name="connsiteX2665" fmla="*/ 150203 w 6386648"/>
                <a:gd name="connsiteY2665" fmla="*/ 28962 h 1849426"/>
                <a:gd name="connsiteX2666" fmla="*/ 168228 w 6386648"/>
                <a:gd name="connsiteY2666" fmla="*/ 46986 h 1849426"/>
                <a:gd name="connsiteX2667" fmla="*/ 150203 w 6386648"/>
                <a:gd name="connsiteY2667" fmla="*/ 65011 h 1849426"/>
                <a:gd name="connsiteX2668" fmla="*/ 132179 w 6386648"/>
                <a:gd name="connsiteY2668" fmla="*/ 46986 h 1849426"/>
                <a:gd name="connsiteX2669" fmla="*/ 150203 w 6386648"/>
                <a:gd name="connsiteY2669" fmla="*/ 28962 h 1849426"/>
                <a:gd name="connsiteX2670" fmla="*/ 4277792 w 6386648"/>
                <a:gd name="connsiteY2670" fmla="*/ 22954 h 1849426"/>
                <a:gd name="connsiteX2671" fmla="*/ 4295817 w 6386648"/>
                <a:gd name="connsiteY2671" fmla="*/ 40978 h 1849426"/>
                <a:gd name="connsiteX2672" fmla="*/ 4277792 w 6386648"/>
                <a:gd name="connsiteY2672" fmla="*/ 59003 h 1849426"/>
                <a:gd name="connsiteX2673" fmla="*/ 4259767 w 6386648"/>
                <a:gd name="connsiteY2673" fmla="*/ 40978 h 1849426"/>
                <a:gd name="connsiteX2674" fmla="*/ 4277792 w 6386648"/>
                <a:gd name="connsiteY2674" fmla="*/ 22954 h 1849426"/>
                <a:gd name="connsiteX2675" fmla="*/ 4145613 w 6386648"/>
                <a:gd name="connsiteY2675" fmla="*/ 22954 h 1849426"/>
                <a:gd name="connsiteX2676" fmla="*/ 4163638 w 6386648"/>
                <a:gd name="connsiteY2676" fmla="*/ 40978 h 1849426"/>
                <a:gd name="connsiteX2677" fmla="*/ 4145613 w 6386648"/>
                <a:gd name="connsiteY2677" fmla="*/ 59003 h 1849426"/>
                <a:gd name="connsiteX2678" fmla="*/ 4127589 w 6386648"/>
                <a:gd name="connsiteY2678" fmla="*/ 40978 h 1849426"/>
                <a:gd name="connsiteX2679" fmla="*/ 4145613 w 6386648"/>
                <a:gd name="connsiteY2679" fmla="*/ 22954 h 1849426"/>
                <a:gd name="connsiteX2680" fmla="*/ 817106 w 6386648"/>
                <a:gd name="connsiteY2680" fmla="*/ 22954 h 1849426"/>
                <a:gd name="connsiteX2681" fmla="*/ 829123 w 6386648"/>
                <a:gd name="connsiteY2681" fmla="*/ 34970 h 1849426"/>
                <a:gd name="connsiteX2682" fmla="*/ 817106 w 6386648"/>
                <a:gd name="connsiteY2682" fmla="*/ 46987 h 1849426"/>
                <a:gd name="connsiteX2683" fmla="*/ 805090 w 6386648"/>
                <a:gd name="connsiteY2683" fmla="*/ 34970 h 1849426"/>
                <a:gd name="connsiteX2684" fmla="*/ 817106 w 6386648"/>
                <a:gd name="connsiteY2684" fmla="*/ 22954 h 1849426"/>
                <a:gd name="connsiteX2685" fmla="*/ 5491435 w 6386648"/>
                <a:gd name="connsiteY2685" fmla="*/ 16946 h 1849426"/>
                <a:gd name="connsiteX2686" fmla="*/ 5509460 w 6386648"/>
                <a:gd name="connsiteY2686" fmla="*/ 34971 h 1849426"/>
                <a:gd name="connsiteX2687" fmla="*/ 5491435 w 6386648"/>
                <a:gd name="connsiteY2687" fmla="*/ 52995 h 1849426"/>
                <a:gd name="connsiteX2688" fmla="*/ 5473411 w 6386648"/>
                <a:gd name="connsiteY2688" fmla="*/ 34971 h 1849426"/>
                <a:gd name="connsiteX2689" fmla="*/ 5491435 w 6386648"/>
                <a:gd name="connsiteY2689" fmla="*/ 16946 h 1849426"/>
                <a:gd name="connsiteX2690" fmla="*/ 5323207 w 6386648"/>
                <a:gd name="connsiteY2690" fmla="*/ 16946 h 1849426"/>
                <a:gd name="connsiteX2691" fmla="*/ 5341232 w 6386648"/>
                <a:gd name="connsiteY2691" fmla="*/ 34971 h 1849426"/>
                <a:gd name="connsiteX2692" fmla="*/ 5323207 w 6386648"/>
                <a:gd name="connsiteY2692" fmla="*/ 52995 h 1849426"/>
                <a:gd name="connsiteX2693" fmla="*/ 5305183 w 6386648"/>
                <a:gd name="connsiteY2693" fmla="*/ 34971 h 1849426"/>
                <a:gd name="connsiteX2694" fmla="*/ 5323207 w 6386648"/>
                <a:gd name="connsiteY2694" fmla="*/ 16946 h 1849426"/>
                <a:gd name="connsiteX2695" fmla="*/ 4632272 w 6386648"/>
                <a:gd name="connsiteY2695" fmla="*/ 16946 h 1849426"/>
                <a:gd name="connsiteX2696" fmla="*/ 4650297 w 6386648"/>
                <a:gd name="connsiteY2696" fmla="*/ 34971 h 1849426"/>
                <a:gd name="connsiteX2697" fmla="*/ 4632272 w 6386648"/>
                <a:gd name="connsiteY2697" fmla="*/ 52995 h 1849426"/>
                <a:gd name="connsiteX2698" fmla="*/ 4614248 w 6386648"/>
                <a:gd name="connsiteY2698" fmla="*/ 34971 h 1849426"/>
                <a:gd name="connsiteX2699" fmla="*/ 4632272 w 6386648"/>
                <a:gd name="connsiteY2699" fmla="*/ 16946 h 1849426"/>
                <a:gd name="connsiteX2700" fmla="*/ 3226368 w 6386648"/>
                <a:gd name="connsiteY2700" fmla="*/ 16946 h 1849426"/>
                <a:gd name="connsiteX2701" fmla="*/ 3244393 w 6386648"/>
                <a:gd name="connsiteY2701" fmla="*/ 34971 h 1849426"/>
                <a:gd name="connsiteX2702" fmla="*/ 3226368 w 6386648"/>
                <a:gd name="connsiteY2702" fmla="*/ 52995 h 1849426"/>
                <a:gd name="connsiteX2703" fmla="*/ 3208343 w 6386648"/>
                <a:gd name="connsiteY2703" fmla="*/ 34971 h 1849426"/>
                <a:gd name="connsiteX2704" fmla="*/ 3226368 w 6386648"/>
                <a:gd name="connsiteY2704" fmla="*/ 16946 h 1849426"/>
                <a:gd name="connsiteX2705" fmla="*/ 3983393 w 6386648"/>
                <a:gd name="connsiteY2705" fmla="*/ 10938 h 1849426"/>
                <a:gd name="connsiteX2706" fmla="*/ 4001418 w 6386648"/>
                <a:gd name="connsiteY2706" fmla="*/ 28962 h 1849426"/>
                <a:gd name="connsiteX2707" fmla="*/ 3983393 w 6386648"/>
                <a:gd name="connsiteY2707" fmla="*/ 46987 h 1849426"/>
                <a:gd name="connsiteX2708" fmla="*/ 3965369 w 6386648"/>
                <a:gd name="connsiteY2708" fmla="*/ 28962 h 1849426"/>
                <a:gd name="connsiteX2709" fmla="*/ 3983393 w 6386648"/>
                <a:gd name="connsiteY2709" fmla="*/ 10938 h 1849426"/>
                <a:gd name="connsiteX2710" fmla="*/ 1039407 w 6386648"/>
                <a:gd name="connsiteY2710" fmla="*/ 10938 h 1849426"/>
                <a:gd name="connsiteX2711" fmla="*/ 1057432 w 6386648"/>
                <a:gd name="connsiteY2711" fmla="*/ 28962 h 1849426"/>
                <a:gd name="connsiteX2712" fmla="*/ 1039407 w 6386648"/>
                <a:gd name="connsiteY2712" fmla="*/ 46987 h 1849426"/>
                <a:gd name="connsiteX2713" fmla="*/ 1021383 w 6386648"/>
                <a:gd name="connsiteY2713" fmla="*/ 28962 h 1849426"/>
                <a:gd name="connsiteX2714" fmla="*/ 1039407 w 6386648"/>
                <a:gd name="connsiteY2714" fmla="*/ 10938 h 1849426"/>
                <a:gd name="connsiteX2715" fmla="*/ 312422 w 6386648"/>
                <a:gd name="connsiteY2715" fmla="*/ 10938 h 1849426"/>
                <a:gd name="connsiteX2716" fmla="*/ 330447 w 6386648"/>
                <a:gd name="connsiteY2716" fmla="*/ 28962 h 1849426"/>
                <a:gd name="connsiteX2717" fmla="*/ 312422 w 6386648"/>
                <a:gd name="connsiteY2717" fmla="*/ 46987 h 1849426"/>
                <a:gd name="connsiteX2718" fmla="*/ 294398 w 6386648"/>
                <a:gd name="connsiteY2718" fmla="*/ 28962 h 1849426"/>
                <a:gd name="connsiteX2719" fmla="*/ 312422 w 6386648"/>
                <a:gd name="connsiteY2719" fmla="*/ 10938 h 1849426"/>
                <a:gd name="connsiteX2720" fmla="*/ 3839198 w 6386648"/>
                <a:gd name="connsiteY2720" fmla="*/ 4930 h 1849426"/>
                <a:gd name="connsiteX2721" fmla="*/ 3857223 w 6386648"/>
                <a:gd name="connsiteY2721" fmla="*/ 22954 h 1849426"/>
                <a:gd name="connsiteX2722" fmla="*/ 3839198 w 6386648"/>
                <a:gd name="connsiteY2722" fmla="*/ 40979 h 1849426"/>
                <a:gd name="connsiteX2723" fmla="*/ 3821174 w 6386648"/>
                <a:gd name="connsiteY2723" fmla="*/ 22954 h 1849426"/>
                <a:gd name="connsiteX2724" fmla="*/ 3839198 w 6386648"/>
                <a:gd name="connsiteY2724" fmla="*/ 4930 h 1849426"/>
                <a:gd name="connsiteX2725" fmla="*/ 3388588 w 6386648"/>
                <a:gd name="connsiteY2725" fmla="*/ 4930 h 1849426"/>
                <a:gd name="connsiteX2726" fmla="*/ 3406613 w 6386648"/>
                <a:gd name="connsiteY2726" fmla="*/ 22954 h 1849426"/>
                <a:gd name="connsiteX2727" fmla="*/ 3388588 w 6386648"/>
                <a:gd name="connsiteY2727" fmla="*/ 40979 h 1849426"/>
                <a:gd name="connsiteX2728" fmla="*/ 3370564 w 6386648"/>
                <a:gd name="connsiteY2728" fmla="*/ 22954 h 1849426"/>
                <a:gd name="connsiteX2729" fmla="*/ 3388588 w 6386648"/>
                <a:gd name="connsiteY2729" fmla="*/ 4930 h 1849426"/>
                <a:gd name="connsiteX2730" fmla="*/ 5171526 w 6386648"/>
                <a:gd name="connsiteY2730" fmla="*/ 0 h 1849426"/>
                <a:gd name="connsiteX2731" fmla="*/ 5198514 w 6386648"/>
                <a:gd name="connsiteY2731" fmla="*/ 0 h 1849426"/>
                <a:gd name="connsiteX2732" fmla="*/ 5203045 w 6386648"/>
                <a:gd name="connsiteY2732" fmla="*/ 10937 h 1849426"/>
                <a:gd name="connsiteX2733" fmla="*/ 5185020 w 6386648"/>
                <a:gd name="connsiteY2733" fmla="*/ 28962 h 1849426"/>
                <a:gd name="connsiteX2734" fmla="*/ 5166996 w 6386648"/>
                <a:gd name="connsiteY2734" fmla="*/ 10937 h 1849426"/>
                <a:gd name="connsiteX2735" fmla="*/ 4908761 w 6386648"/>
                <a:gd name="connsiteY2735" fmla="*/ 0 h 1849426"/>
                <a:gd name="connsiteX2736" fmla="*/ 4932564 w 6386648"/>
                <a:gd name="connsiteY2736" fmla="*/ 0 h 1849426"/>
                <a:gd name="connsiteX2737" fmla="*/ 4920662 w 6386648"/>
                <a:gd name="connsiteY2737" fmla="*/ 4930 h 1849426"/>
                <a:gd name="connsiteX2738" fmla="*/ 3701458 w 6386648"/>
                <a:gd name="connsiteY2738" fmla="*/ 0 h 1849426"/>
                <a:gd name="connsiteX2739" fmla="*/ 3736613 w 6386648"/>
                <a:gd name="connsiteY2739" fmla="*/ 0 h 1849426"/>
                <a:gd name="connsiteX2740" fmla="*/ 3731781 w 6386648"/>
                <a:gd name="connsiteY2740" fmla="*/ 11667 h 1849426"/>
                <a:gd name="connsiteX2741" fmla="*/ 3719035 w 6386648"/>
                <a:gd name="connsiteY2741" fmla="*/ 16946 h 1849426"/>
                <a:gd name="connsiteX2742" fmla="*/ 3706290 w 6386648"/>
                <a:gd name="connsiteY2742" fmla="*/ 11667 h 1849426"/>
                <a:gd name="connsiteX2743" fmla="*/ 3058255 w 6386648"/>
                <a:gd name="connsiteY2743" fmla="*/ 0 h 1849426"/>
                <a:gd name="connsiteX2744" fmla="*/ 3082058 w 6386648"/>
                <a:gd name="connsiteY2744" fmla="*/ 0 h 1849426"/>
                <a:gd name="connsiteX2745" fmla="*/ 3070156 w 6386648"/>
                <a:gd name="connsiteY2745" fmla="*/ 4930 h 1849426"/>
                <a:gd name="connsiteX2746" fmla="*/ 2908383 w 6386648"/>
                <a:gd name="connsiteY2746" fmla="*/ 0 h 1849426"/>
                <a:gd name="connsiteX2747" fmla="*/ 2943539 w 6386648"/>
                <a:gd name="connsiteY2747" fmla="*/ 0 h 1849426"/>
                <a:gd name="connsiteX2748" fmla="*/ 2938707 w 6386648"/>
                <a:gd name="connsiteY2748" fmla="*/ 11667 h 1849426"/>
                <a:gd name="connsiteX2749" fmla="*/ 2925961 w 6386648"/>
                <a:gd name="connsiteY2749" fmla="*/ 16946 h 1849426"/>
                <a:gd name="connsiteX2750" fmla="*/ 2913216 w 6386648"/>
                <a:gd name="connsiteY2750" fmla="*/ 11667 h 1849426"/>
                <a:gd name="connsiteX2751" fmla="*/ 2794230 w 6386648"/>
                <a:gd name="connsiteY2751" fmla="*/ 0 h 1849426"/>
                <a:gd name="connsiteX2752" fmla="*/ 2829385 w 6386648"/>
                <a:gd name="connsiteY2752" fmla="*/ 0 h 1849426"/>
                <a:gd name="connsiteX2753" fmla="*/ 2824553 w 6386648"/>
                <a:gd name="connsiteY2753" fmla="*/ 11667 h 1849426"/>
                <a:gd name="connsiteX2754" fmla="*/ 2811807 w 6386648"/>
                <a:gd name="connsiteY2754" fmla="*/ 16946 h 1849426"/>
                <a:gd name="connsiteX2755" fmla="*/ 2799062 w 6386648"/>
                <a:gd name="connsiteY2755" fmla="*/ 11667 h 1849426"/>
                <a:gd name="connsiteX2756" fmla="*/ 2675662 w 6386648"/>
                <a:gd name="connsiteY2756" fmla="*/ 0 h 1849426"/>
                <a:gd name="connsiteX2757" fmla="*/ 2707627 w 6386648"/>
                <a:gd name="connsiteY2757" fmla="*/ 0 h 1849426"/>
                <a:gd name="connsiteX2758" fmla="*/ 2709669 w 6386648"/>
                <a:gd name="connsiteY2758" fmla="*/ 4930 h 1849426"/>
                <a:gd name="connsiteX2759" fmla="*/ 2691644 w 6386648"/>
                <a:gd name="connsiteY2759" fmla="*/ 22954 h 1849426"/>
                <a:gd name="connsiteX2760" fmla="*/ 2673620 w 6386648"/>
                <a:gd name="connsiteY2760" fmla="*/ 4930 h 1849426"/>
                <a:gd name="connsiteX2761" fmla="*/ 2543483 w 6386648"/>
                <a:gd name="connsiteY2761" fmla="*/ 0 h 1849426"/>
                <a:gd name="connsiteX2762" fmla="*/ 2575448 w 6386648"/>
                <a:gd name="connsiteY2762" fmla="*/ 0 h 1849426"/>
                <a:gd name="connsiteX2763" fmla="*/ 2577490 w 6386648"/>
                <a:gd name="connsiteY2763" fmla="*/ 4930 h 1849426"/>
                <a:gd name="connsiteX2764" fmla="*/ 2559465 w 6386648"/>
                <a:gd name="connsiteY2764" fmla="*/ 22954 h 1849426"/>
                <a:gd name="connsiteX2765" fmla="*/ 2541441 w 6386648"/>
                <a:gd name="connsiteY2765" fmla="*/ 4930 h 1849426"/>
                <a:gd name="connsiteX2766" fmla="*/ 2047297 w 6386648"/>
                <a:gd name="connsiteY2766" fmla="*/ 0 h 1849426"/>
                <a:gd name="connsiteX2767" fmla="*/ 2074285 w 6386648"/>
                <a:gd name="connsiteY2767" fmla="*/ 0 h 1849426"/>
                <a:gd name="connsiteX2768" fmla="*/ 2078815 w 6386648"/>
                <a:gd name="connsiteY2768" fmla="*/ 10937 h 1849426"/>
                <a:gd name="connsiteX2769" fmla="*/ 2060790 w 6386648"/>
                <a:gd name="connsiteY2769" fmla="*/ 28962 h 1849426"/>
                <a:gd name="connsiteX2770" fmla="*/ 2042766 w 6386648"/>
                <a:gd name="connsiteY2770" fmla="*/ 10937 h 1849426"/>
                <a:gd name="connsiteX2771" fmla="*/ 1932017 w 6386648"/>
                <a:gd name="connsiteY2771" fmla="*/ 0 h 1849426"/>
                <a:gd name="connsiteX2772" fmla="*/ 1937222 w 6386648"/>
                <a:gd name="connsiteY2772" fmla="*/ 0 h 1849426"/>
                <a:gd name="connsiteX2773" fmla="*/ 1947365 w 6386648"/>
                <a:gd name="connsiteY2773" fmla="*/ 4201 h 1849426"/>
                <a:gd name="connsiteX2774" fmla="*/ 1952644 w 6386648"/>
                <a:gd name="connsiteY2774" fmla="*/ 16946 h 1849426"/>
                <a:gd name="connsiteX2775" fmla="*/ 1934619 w 6386648"/>
                <a:gd name="connsiteY2775" fmla="*/ 34971 h 1849426"/>
                <a:gd name="connsiteX2776" fmla="*/ 1916595 w 6386648"/>
                <a:gd name="connsiteY2776" fmla="*/ 16946 h 1849426"/>
                <a:gd name="connsiteX2777" fmla="*/ 1921875 w 6386648"/>
                <a:gd name="connsiteY2777" fmla="*/ 4201 h 1849426"/>
                <a:gd name="connsiteX2778" fmla="*/ 1694741 w 6386648"/>
                <a:gd name="connsiteY2778" fmla="*/ 0 h 1849426"/>
                <a:gd name="connsiteX2779" fmla="*/ 1729896 w 6386648"/>
                <a:gd name="connsiteY2779" fmla="*/ 0 h 1849426"/>
                <a:gd name="connsiteX2780" fmla="*/ 1725064 w 6386648"/>
                <a:gd name="connsiteY2780" fmla="*/ 11667 h 1849426"/>
                <a:gd name="connsiteX2781" fmla="*/ 1712318 w 6386648"/>
                <a:gd name="connsiteY2781" fmla="*/ 16946 h 1849426"/>
                <a:gd name="connsiteX2782" fmla="*/ 1699574 w 6386648"/>
                <a:gd name="connsiteY2782" fmla="*/ 11667 h 1849426"/>
                <a:gd name="connsiteX2783" fmla="*/ 1586594 w 6386648"/>
                <a:gd name="connsiteY2783" fmla="*/ 0 h 1849426"/>
                <a:gd name="connsiteX2784" fmla="*/ 1621749 w 6386648"/>
                <a:gd name="connsiteY2784" fmla="*/ 0 h 1849426"/>
                <a:gd name="connsiteX2785" fmla="*/ 1616917 w 6386648"/>
                <a:gd name="connsiteY2785" fmla="*/ 11667 h 1849426"/>
                <a:gd name="connsiteX2786" fmla="*/ 1604171 w 6386648"/>
                <a:gd name="connsiteY2786" fmla="*/ 16946 h 1849426"/>
                <a:gd name="connsiteX2787" fmla="*/ 1591427 w 6386648"/>
                <a:gd name="connsiteY2787" fmla="*/ 11667 h 1849426"/>
                <a:gd name="connsiteX2788" fmla="*/ 1328245 w 6386648"/>
                <a:gd name="connsiteY2788" fmla="*/ 0 h 1849426"/>
                <a:gd name="connsiteX2789" fmla="*/ 1363400 w 6386648"/>
                <a:gd name="connsiteY2789" fmla="*/ 0 h 1849426"/>
                <a:gd name="connsiteX2790" fmla="*/ 1358568 w 6386648"/>
                <a:gd name="connsiteY2790" fmla="*/ 11667 h 1849426"/>
                <a:gd name="connsiteX2791" fmla="*/ 1345823 w 6386648"/>
                <a:gd name="connsiteY2791" fmla="*/ 16946 h 1849426"/>
                <a:gd name="connsiteX2792" fmla="*/ 1333078 w 6386648"/>
                <a:gd name="connsiteY2792" fmla="*/ 11667 h 1849426"/>
                <a:gd name="connsiteX2793" fmla="*/ 636977 w 6386648"/>
                <a:gd name="connsiteY2793" fmla="*/ 0 h 1849426"/>
                <a:gd name="connsiteX2794" fmla="*/ 660780 w 6386648"/>
                <a:gd name="connsiteY2794" fmla="*/ 0 h 1849426"/>
                <a:gd name="connsiteX2795" fmla="*/ 648878 w 6386648"/>
                <a:gd name="connsiteY2795" fmla="*/ 4930 h 1849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Lst>
              <a:rect l="l" t="t" r="r" b="b"/>
              <a:pathLst>
                <a:path w="6386648" h="1849426">
                  <a:moveTo>
                    <a:pt x="4421987" y="1813377"/>
                  </a:moveTo>
                  <a:cubicBezTo>
                    <a:pt x="4431942" y="1813377"/>
                    <a:pt x="4440012" y="1821446"/>
                    <a:pt x="4440012" y="1831401"/>
                  </a:cubicBezTo>
                  <a:cubicBezTo>
                    <a:pt x="4440012" y="1841356"/>
                    <a:pt x="4431942" y="1849426"/>
                    <a:pt x="4421987" y="1849426"/>
                  </a:cubicBezTo>
                  <a:cubicBezTo>
                    <a:pt x="4412032" y="1849426"/>
                    <a:pt x="4403963" y="1841356"/>
                    <a:pt x="4403963" y="1831401"/>
                  </a:cubicBezTo>
                  <a:cubicBezTo>
                    <a:pt x="4403963" y="1821446"/>
                    <a:pt x="4412032" y="1813377"/>
                    <a:pt x="4421987" y="1813377"/>
                  </a:cubicBezTo>
                  <a:close/>
                  <a:moveTo>
                    <a:pt x="4235735" y="1807369"/>
                  </a:moveTo>
                  <a:cubicBezTo>
                    <a:pt x="4245690" y="1807369"/>
                    <a:pt x="4253760" y="1815439"/>
                    <a:pt x="4253760" y="1825393"/>
                  </a:cubicBezTo>
                  <a:cubicBezTo>
                    <a:pt x="4253760" y="1835348"/>
                    <a:pt x="4245690" y="1843418"/>
                    <a:pt x="4235735" y="1843418"/>
                  </a:cubicBezTo>
                  <a:cubicBezTo>
                    <a:pt x="4225780" y="1843418"/>
                    <a:pt x="4217711" y="1835348"/>
                    <a:pt x="4217711" y="1825393"/>
                  </a:cubicBezTo>
                  <a:cubicBezTo>
                    <a:pt x="4217711" y="1815439"/>
                    <a:pt x="4225780" y="1807369"/>
                    <a:pt x="4235735" y="1807369"/>
                  </a:cubicBezTo>
                  <a:close/>
                  <a:moveTo>
                    <a:pt x="4566182" y="1795353"/>
                  </a:moveTo>
                  <a:cubicBezTo>
                    <a:pt x="4576137" y="1795353"/>
                    <a:pt x="4584207" y="1803423"/>
                    <a:pt x="4584207" y="1813377"/>
                  </a:cubicBezTo>
                  <a:cubicBezTo>
                    <a:pt x="4584207" y="1823332"/>
                    <a:pt x="4576137" y="1831402"/>
                    <a:pt x="4566182" y="1831402"/>
                  </a:cubicBezTo>
                  <a:cubicBezTo>
                    <a:pt x="4556227" y="1831402"/>
                    <a:pt x="4548158" y="1823332"/>
                    <a:pt x="4548158" y="1813377"/>
                  </a:cubicBezTo>
                  <a:cubicBezTo>
                    <a:pt x="4548158" y="1803423"/>
                    <a:pt x="4556227" y="1795353"/>
                    <a:pt x="4566182" y="1795353"/>
                  </a:cubicBezTo>
                  <a:close/>
                  <a:moveTo>
                    <a:pt x="4698361" y="1777329"/>
                  </a:moveTo>
                  <a:cubicBezTo>
                    <a:pt x="4708316" y="1777329"/>
                    <a:pt x="4716386" y="1785399"/>
                    <a:pt x="4716386" y="1795353"/>
                  </a:cubicBezTo>
                  <a:cubicBezTo>
                    <a:pt x="4716386" y="1805308"/>
                    <a:pt x="4708316" y="1813378"/>
                    <a:pt x="4698361" y="1813378"/>
                  </a:cubicBezTo>
                  <a:cubicBezTo>
                    <a:pt x="4688406" y="1813378"/>
                    <a:pt x="4680336" y="1805308"/>
                    <a:pt x="4680336" y="1795353"/>
                  </a:cubicBezTo>
                  <a:cubicBezTo>
                    <a:pt x="4680336" y="1785399"/>
                    <a:pt x="4688406" y="1777329"/>
                    <a:pt x="4698361" y="1777329"/>
                  </a:cubicBezTo>
                  <a:close/>
                  <a:moveTo>
                    <a:pt x="4085531" y="1759304"/>
                  </a:moveTo>
                  <a:cubicBezTo>
                    <a:pt x="4095486" y="1759304"/>
                    <a:pt x="4103556" y="1767374"/>
                    <a:pt x="4103556" y="1777329"/>
                  </a:cubicBezTo>
                  <a:cubicBezTo>
                    <a:pt x="4103556" y="1787283"/>
                    <a:pt x="4095486" y="1795353"/>
                    <a:pt x="4085531" y="1795353"/>
                  </a:cubicBezTo>
                  <a:cubicBezTo>
                    <a:pt x="4075576" y="1795353"/>
                    <a:pt x="4067507" y="1787283"/>
                    <a:pt x="4067507" y="1777329"/>
                  </a:cubicBezTo>
                  <a:cubicBezTo>
                    <a:pt x="4067507" y="1767374"/>
                    <a:pt x="4075576" y="1759304"/>
                    <a:pt x="4085531" y="1759304"/>
                  </a:cubicBezTo>
                  <a:close/>
                  <a:moveTo>
                    <a:pt x="4301824" y="1723255"/>
                  </a:moveTo>
                  <a:cubicBezTo>
                    <a:pt x="4311779" y="1723255"/>
                    <a:pt x="4319849" y="1731324"/>
                    <a:pt x="4319849" y="1741279"/>
                  </a:cubicBezTo>
                  <a:cubicBezTo>
                    <a:pt x="4319849" y="1751234"/>
                    <a:pt x="4311779" y="1759304"/>
                    <a:pt x="4301824" y="1759304"/>
                  </a:cubicBezTo>
                  <a:cubicBezTo>
                    <a:pt x="4291869" y="1759304"/>
                    <a:pt x="4283800" y="1751234"/>
                    <a:pt x="4283800" y="1741279"/>
                  </a:cubicBezTo>
                  <a:cubicBezTo>
                    <a:pt x="4283800" y="1731324"/>
                    <a:pt x="4291869" y="1723255"/>
                    <a:pt x="4301824" y="1723255"/>
                  </a:cubicBezTo>
                  <a:close/>
                  <a:moveTo>
                    <a:pt x="4440011" y="1717247"/>
                  </a:moveTo>
                  <a:cubicBezTo>
                    <a:pt x="4449966" y="1717247"/>
                    <a:pt x="4458036" y="1725317"/>
                    <a:pt x="4458036" y="1735271"/>
                  </a:cubicBezTo>
                  <a:cubicBezTo>
                    <a:pt x="4458036" y="1745226"/>
                    <a:pt x="4449966" y="1753296"/>
                    <a:pt x="4440011" y="1753296"/>
                  </a:cubicBezTo>
                  <a:cubicBezTo>
                    <a:pt x="4430057" y="1753296"/>
                    <a:pt x="4421987" y="1745226"/>
                    <a:pt x="4421987" y="1735271"/>
                  </a:cubicBezTo>
                  <a:cubicBezTo>
                    <a:pt x="4421987" y="1725317"/>
                    <a:pt x="4430057" y="1717247"/>
                    <a:pt x="4440011" y="1717247"/>
                  </a:cubicBezTo>
                  <a:close/>
                  <a:moveTo>
                    <a:pt x="3965369" y="1711239"/>
                  </a:moveTo>
                  <a:cubicBezTo>
                    <a:pt x="3975324" y="1711239"/>
                    <a:pt x="3983394" y="1719309"/>
                    <a:pt x="3983394" y="1729263"/>
                  </a:cubicBezTo>
                  <a:cubicBezTo>
                    <a:pt x="3983394" y="1739218"/>
                    <a:pt x="3975324" y="1747288"/>
                    <a:pt x="3965369" y="1747288"/>
                  </a:cubicBezTo>
                  <a:cubicBezTo>
                    <a:pt x="3955414" y="1747288"/>
                    <a:pt x="3947345" y="1739218"/>
                    <a:pt x="3947345" y="1729263"/>
                  </a:cubicBezTo>
                  <a:cubicBezTo>
                    <a:pt x="3947345" y="1719309"/>
                    <a:pt x="3955414" y="1711239"/>
                    <a:pt x="3965369" y="1711239"/>
                  </a:cubicBezTo>
                  <a:close/>
                  <a:moveTo>
                    <a:pt x="4836548" y="1705231"/>
                  </a:moveTo>
                  <a:cubicBezTo>
                    <a:pt x="4846503" y="1705231"/>
                    <a:pt x="4854573" y="1713301"/>
                    <a:pt x="4854573" y="1723255"/>
                  </a:cubicBezTo>
                  <a:cubicBezTo>
                    <a:pt x="4854573" y="1733210"/>
                    <a:pt x="4846503" y="1741280"/>
                    <a:pt x="4836548" y="1741280"/>
                  </a:cubicBezTo>
                  <a:cubicBezTo>
                    <a:pt x="4826593" y="1741280"/>
                    <a:pt x="4818524" y="1733210"/>
                    <a:pt x="4818524" y="1723255"/>
                  </a:cubicBezTo>
                  <a:cubicBezTo>
                    <a:pt x="4818524" y="1713301"/>
                    <a:pt x="4826593" y="1705231"/>
                    <a:pt x="4836548" y="1705231"/>
                  </a:cubicBezTo>
                  <a:close/>
                  <a:moveTo>
                    <a:pt x="4175653" y="1681198"/>
                  </a:moveTo>
                  <a:cubicBezTo>
                    <a:pt x="4185608" y="1681198"/>
                    <a:pt x="4193678" y="1689268"/>
                    <a:pt x="4193678" y="1699222"/>
                  </a:cubicBezTo>
                  <a:cubicBezTo>
                    <a:pt x="4193678" y="1709177"/>
                    <a:pt x="4185608" y="1717247"/>
                    <a:pt x="4175653" y="1717247"/>
                  </a:cubicBezTo>
                  <a:cubicBezTo>
                    <a:pt x="4165698" y="1717247"/>
                    <a:pt x="4157629" y="1709177"/>
                    <a:pt x="4157629" y="1699222"/>
                  </a:cubicBezTo>
                  <a:cubicBezTo>
                    <a:pt x="4157629" y="1689268"/>
                    <a:pt x="4165698" y="1681198"/>
                    <a:pt x="4175653" y="1681198"/>
                  </a:cubicBezTo>
                  <a:close/>
                  <a:moveTo>
                    <a:pt x="4602231" y="1675190"/>
                  </a:moveTo>
                  <a:cubicBezTo>
                    <a:pt x="4612186" y="1675190"/>
                    <a:pt x="4620256" y="1683260"/>
                    <a:pt x="4620256" y="1693214"/>
                  </a:cubicBezTo>
                  <a:cubicBezTo>
                    <a:pt x="4620256" y="1703169"/>
                    <a:pt x="4612186" y="1711239"/>
                    <a:pt x="4602231" y="1711239"/>
                  </a:cubicBezTo>
                  <a:cubicBezTo>
                    <a:pt x="4592276" y="1711239"/>
                    <a:pt x="4584207" y="1703169"/>
                    <a:pt x="4584207" y="1693214"/>
                  </a:cubicBezTo>
                  <a:cubicBezTo>
                    <a:pt x="4584207" y="1683260"/>
                    <a:pt x="4592276" y="1675190"/>
                    <a:pt x="4602231" y="1675190"/>
                  </a:cubicBezTo>
                  <a:close/>
                  <a:moveTo>
                    <a:pt x="4734410" y="1663174"/>
                  </a:moveTo>
                  <a:cubicBezTo>
                    <a:pt x="4744365" y="1663174"/>
                    <a:pt x="4752435" y="1671243"/>
                    <a:pt x="4752435" y="1681198"/>
                  </a:cubicBezTo>
                  <a:cubicBezTo>
                    <a:pt x="4752435" y="1691153"/>
                    <a:pt x="4744365" y="1699223"/>
                    <a:pt x="4734410" y="1699223"/>
                  </a:cubicBezTo>
                  <a:cubicBezTo>
                    <a:pt x="4724456" y="1699223"/>
                    <a:pt x="4716386" y="1691153"/>
                    <a:pt x="4716386" y="1681198"/>
                  </a:cubicBezTo>
                  <a:cubicBezTo>
                    <a:pt x="4716386" y="1671243"/>
                    <a:pt x="4724456" y="1663174"/>
                    <a:pt x="4734410" y="1663174"/>
                  </a:cubicBezTo>
                  <a:close/>
                  <a:moveTo>
                    <a:pt x="3851214" y="1663174"/>
                  </a:moveTo>
                  <a:cubicBezTo>
                    <a:pt x="3861169" y="1663174"/>
                    <a:pt x="3869239" y="1671243"/>
                    <a:pt x="3869239" y="1681198"/>
                  </a:cubicBezTo>
                  <a:cubicBezTo>
                    <a:pt x="3869239" y="1691153"/>
                    <a:pt x="3861169" y="1699223"/>
                    <a:pt x="3851214" y="1699223"/>
                  </a:cubicBezTo>
                  <a:cubicBezTo>
                    <a:pt x="3841259" y="1699223"/>
                    <a:pt x="3833190" y="1691153"/>
                    <a:pt x="3833190" y="1681198"/>
                  </a:cubicBezTo>
                  <a:cubicBezTo>
                    <a:pt x="3833190" y="1671243"/>
                    <a:pt x="3841259" y="1663174"/>
                    <a:pt x="3851214" y="1663174"/>
                  </a:cubicBezTo>
                  <a:close/>
                  <a:moveTo>
                    <a:pt x="4061499" y="1627125"/>
                  </a:moveTo>
                  <a:cubicBezTo>
                    <a:pt x="4071454" y="1627125"/>
                    <a:pt x="4079524" y="1635195"/>
                    <a:pt x="4079524" y="1645149"/>
                  </a:cubicBezTo>
                  <a:cubicBezTo>
                    <a:pt x="4079524" y="1655104"/>
                    <a:pt x="4071454" y="1663174"/>
                    <a:pt x="4061499" y="1663174"/>
                  </a:cubicBezTo>
                  <a:cubicBezTo>
                    <a:pt x="4051544" y="1663174"/>
                    <a:pt x="4043475" y="1655104"/>
                    <a:pt x="4043475" y="1645149"/>
                  </a:cubicBezTo>
                  <a:cubicBezTo>
                    <a:pt x="4043475" y="1635195"/>
                    <a:pt x="4051544" y="1627125"/>
                    <a:pt x="4061499" y="1627125"/>
                  </a:cubicBezTo>
                  <a:close/>
                  <a:moveTo>
                    <a:pt x="4482068" y="1621117"/>
                  </a:moveTo>
                  <a:cubicBezTo>
                    <a:pt x="4492023" y="1621117"/>
                    <a:pt x="4500093" y="1629187"/>
                    <a:pt x="4500093" y="1639141"/>
                  </a:cubicBezTo>
                  <a:cubicBezTo>
                    <a:pt x="4500093" y="1649096"/>
                    <a:pt x="4492023" y="1657166"/>
                    <a:pt x="4482068" y="1657166"/>
                  </a:cubicBezTo>
                  <a:cubicBezTo>
                    <a:pt x="4472113" y="1657166"/>
                    <a:pt x="4464044" y="1649096"/>
                    <a:pt x="4464044" y="1639141"/>
                  </a:cubicBezTo>
                  <a:cubicBezTo>
                    <a:pt x="4464044" y="1629187"/>
                    <a:pt x="4472113" y="1621117"/>
                    <a:pt x="4482068" y="1621117"/>
                  </a:cubicBezTo>
                  <a:close/>
                  <a:moveTo>
                    <a:pt x="4926670" y="1615109"/>
                  </a:moveTo>
                  <a:cubicBezTo>
                    <a:pt x="4936625" y="1615109"/>
                    <a:pt x="4944695" y="1623179"/>
                    <a:pt x="4944695" y="1633133"/>
                  </a:cubicBezTo>
                  <a:cubicBezTo>
                    <a:pt x="4944695" y="1643088"/>
                    <a:pt x="4936625" y="1651158"/>
                    <a:pt x="4926670" y="1651158"/>
                  </a:cubicBezTo>
                  <a:cubicBezTo>
                    <a:pt x="4916715" y="1651158"/>
                    <a:pt x="4908646" y="1643088"/>
                    <a:pt x="4908646" y="1633133"/>
                  </a:cubicBezTo>
                  <a:cubicBezTo>
                    <a:pt x="4908646" y="1623179"/>
                    <a:pt x="4916715" y="1615109"/>
                    <a:pt x="4926670" y="1615109"/>
                  </a:cubicBezTo>
                  <a:close/>
                  <a:moveTo>
                    <a:pt x="3719035" y="1615109"/>
                  </a:moveTo>
                  <a:cubicBezTo>
                    <a:pt x="3728990" y="1615109"/>
                    <a:pt x="3737060" y="1623179"/>
                    <a:pt x="3737060" y="1633133"/>
                  </a:cubicBezTo>
                  <a:cubicBezTo>
                    <a:pt x="3737060" y="1643088"/>
                    <a:pt x="3728990" y="1651158"/>
                    <a:pt x="3719035" y="1651158"/>
                  </a:cubicBezTo>
                  <a:cubicBezTo>
                    <a:pt x="3709081" y="1651158"/>
                    <a:pt x="3701011" y="1643088"/>
                    <a:pt x="3701011" y="1633133"/>
                  </a:cubicBezTo>
                  <a:cubicBezTo>
                    <a:pt x="3701011" y="1623179"/>
                    <a:pt x="3709081" y="1615109"/>
                    <a:pt x="3719035" y="1615109"/>
                  </a:cubicBezTo>
                  <a:close/>
                  <a:moveTo>
                    <a:pt x="4343881" y="1603093"/>
                  </a:moveTo>
                  <a:cubicBezTo>
                    <a:pt x="4353836" y="1603093"/>
                    <a:pt x="4361906" y="1611162"/>
                    <a:pt x="4361906" y="1621117"/>
                  </a:cubicBezTo>
                  <a:cubicBezTo>
                    <a:pt x="4361906" y="1631072"/>
                    <a:pt x="4353836" y="1639142"/>
                    <a:pt x="4343881" y="1639142"/>
                  </a:cubicBezTo>
                  <a:cubicBezTo>
                    <a:pt x="4333927" y="1639142"/>
                    <a:pt x="4325857" y="1631072"/>
                    <a:pt x="4325857" y="1621117"/>
                  </a:cubicBezTo>
                  <a:cubicBezTo>
                    <a:pt x="4325857" y="1611162"/>
                    <a:pt x="4333927" y="1603093"/>
                    <a:pt x="4343881" y="1603093"/>
                  </a:cubicBezTo>
                  <a:close/>
                  <a:moveTo>
                    <a:pt x="4235735" y="1579060"/>
                  </a:moveTo>
                  <a:cubicBezTo>
                    <a:pt x="4245690" y="1579060"/>
                    <a:pt x="4253760" y="1587130"/>
                    <a:pt x="4253760" y="1597085"/>
                  </a:cubicBezTo>
                  <a:cubicBezTo>
                    <a:pt x="4253760" y="1607039"/>
                    <a:pt x="4245690" y="1615109"/>
                    <a:pt x="4235735" y="1615109"/>
                  </a:cubicBezTo>
                  <a:cubicBezTo>
                    <a:pt x="4225780" y="1615109"/>
                    <a:pt x="4217711" y="1607039"/>
                    <a:pt x="4217711" y="1597085"/>
                  </a:cubicBezTo>
                  <a:cubicBezTo>
                    <a:pt x="4217711" y="1587130"/>
                    <a:pt x="4225780" y="1579060"/>
                    <a:pt x="4235735" y="1579060"/>
                  </a:cubicBezTo>
                  <a:close/>
                  <a:moveTo>
                    <a:pt x="3941336" y="1573052"/>
                  </a:moveTo>
                  <a:cubicBezTo>
                    <a:pt x="3951291" y="1573052"/>
                    <a:pt x="3959361" y="1581121"/>
                    <a:pt x="3959361" y="1591076"/>
                  </a:cubicBezTo>
                  <a:cubicBezTo>
                    <a:pt x="3959361" y="1601031"/>
                    <a:pt x="3951291" y="1609101"/>
                    <a:pt x="3941336" y="1609101"/>
                  </a:cubicBezTo>
                  <a:cubicBezTo>
                    <a:pt x="3931381" y="1609101"/>
                    <a:pt x="3923312" y="1601031"/>
                    <a:pt x="3923312" y="1591076"/>
                  </a:cubicBezTo>
                  <a:cubicBezTo>
                    <a:pt x="3923312" y="1581121"/>
                    <a:pt x="3931381" y="1573052"/>
                    <a:pt x="3941336" y="1573052"/>
                  </a:cubicBezTo>
                  <a:close/>
                  <a:moveTo>
                    <a:pt x="1057431" y="1567044"/>
                  </a:moveTo>
                  <a:cubicBezTo>
                    <a:pt x="1067386" y="1567044"/>
                    <a:pt x="1075456" y="1575114"/>
                    <a:pt x="1075456" y="1585068"/>
                  </a:cubicBezTo>
                  <a:cubicBezTo>
                    <a:pt x="1075456" y="1595023"/>
                    <a:pt x="1067386" y="1603093"/>
                    <a:pt x="1057431" y="1603093"/>
                  </a:cubicBezTo>
                  <a:cubicBezTo>
                    <a:pt x="1047477" y="1603093"/>
                    <a:pt x="1039407" y="1595023"/>
                    <a:pt x="1039407" y="1585068"/>
                  </a:cubicBezTo>
                  <a:cubicBezTo>
                    <a:pt x="1039407" y="1575114"/>
                    <a:pt x="1047477" y="1567044"/>
                    <a:pt x="1057431" y="1567044"/>
                  </a:cubicBezTo>
                  <a:close/>
                  <a:moveTo>
                    <a:pt x="1201626" y="1561036"/>
                  </a:moveTo>
                  <a:cubicBezTo>
                    <a:pt x="1211581" y="1561036"/>
                    <a:pt x="1219651" y="1569106"/>
                    <a:pt x="1219651" y="1579060"/>
                  </a:cubicBezTo>
                  <a:cubicBezTo>
                    <a:pt x="1219651" y="1589015"/>
                    <a:pt x="1211581" y="1597085"/>
                    <a:pt x="1201626" y="1597085"/>
                  </a:cubicBezTo>
                  <a:cubicBezTo>
                    <a:pt x="1191672" y="1597085"/>
                    <a:pt x="1183602" y="1589015"/>
                    <a:pt x="1183602" y="1579060"/>
                  </a:cubicBezTo>
                  <a:cubicBezTo>
                    <a:pt x="1183602" y="1569106"/>
                    <a:pt x="1191672" y="1561036"/>
                    <a:pt x="1201626" y="1561036"/>
                  </a:cubicBezTo>
                  <a:close/>
                  <a:moveTo>
                    <a:pt x="4716385" y="1555028"/>
                  </a:moveTo>
                  <a:cubicBezTo>
                    <a:pt x="4726340" y="1555028"/>
                    <a:pt x="4734410" y="1563098"/>
                    <a:pt x="4734410" y="1573052"/>
                  </a:cubicBezTo>
                  <a:cubicBezTo>
                    <a:pt x="4734410" y="1583007"/>
                    <a:pt x="4726340" y="1591077"/>
                    <a:pt x="4716385" y="1591077"/>
                  </a:cubicBezTo>
                  <a:cubicBezTo>
                    <a:pt x="4706430" y="1591077"/>
                    <a:pt x="4698361" y="1583007"/>
                    <a:pt x="4698361" y="1573052"/>
                  </a:cubicBezTo>
                  <a:cubicBezTo>
                    <a:pt x="4698361" y="1563098"/>
                    <a:pt x="4706430" y="1555028"/>
                    <a:pt x="4716385" y="1555028"/>
                  </a:cubicBezTo>
                  <a:close/>
                  <a:moveTo>
                    <a:pt x="4578198" y="1555028"/>
                  </a:moveTo>
                  <a:cubicBezTo>
                    <a:pt x="4588153" y="1555028"/>
                    <a:pt x="4596223" y="1563098"/>
                    <a:pt x="4596223" y="1573052"/>
                  </a:cubicBezTo>
                  <a:cubicBezTo>
                    <a:pt x="4596223" y="1583007"/>
                    <a:pt x="4588153" y="1591077"/>
                    <a:pt x="4578198" y="1591077"/>
                  </a:cubicBezTo>
                  <a:cubicBezTo>
                    <a:pt x="4568243" y="1591077"/>
                    <a:pt x="4560173" y="1583007"/>
                    <a:pt x="4560173" y="1573052"/>
                  </a:cubicBezTo>
                  <a:cubicBezTo>
                    <a:pt x="4560173" y="1563098"/>
                    <a:pt x="4568243" y="1555028"/>
                    <a:pt x="4578198" y="1555028"/>
                  </a:cubicBezTo>
                  <a:close/>
                  <a:moveTo>
                    <a:pt x="1333805" y="1555028"/>
                  </a:moveTo>
                  <a:cubicBezTo>
                    <a:pt x="1343760" y="1555028"/>
                    <a:pt x="1351830" y="1563098"/>
                    <a:pt x="1351830" y="1573052"/>
                  </a:cubicBezTo>
                  <a:cubicBezTo>
                    <a:pt x="1351830" y="1583007"/>
                    <a:pt x="1343760" y="1591077"/>
                    <a:pt x="1333805" y="1591077"/>
                  </a:cubicBezTo>
                  <a:cubicBezTo>
                    <a:pt x="1323851" y="1591077"/>
                    <a:pt x="1315781" y="1583007"/>
                    <a:pt x="1315781" y="1573052"/>
                  </a:cubicBezTo>
                  <a:cubicBezTo>
                    <a:pt x="1315781" y="1563098"/>
                    <a:pt x="1323851" y="1555028"/>
                    <a:pt x="1333805" y="1555028"/>
                  </a:cubicBezTo>
                  <a:close/>
                  <a:moveTo>
                    <a:pt x="4842556" y="1543011"/>
                  </a:moveTo>
                  <a:cubicBezTo>
                    <a:pt x="4852511" y="1543011"/>
                    <a:pt x="4860581" y="1551080"/>
                    <a:pt x="4860581" y="1561035"/>
                  </a:cubicBezTo>
                  <a:cubicBezTo>
                    <a:pt x="4860581" y="1570990"/>
                    <a:pt x="4852511" y="1579060"/>
                    <a:pt x="4842556" y="1579060"/>
                  </a:cubicBezTo>
                  <a:cubicBezTo>
                    <a:pt x="4832601" y="1579060"/>
                    <a:pt x="4824532" y="1570990"/>
                    <a:pt x="4824532" y="1561035"/>
                  </a:cubicBezTo>
                  <a:cubicBezTo>
                    <a:pt x="4824532" y="1551080"/>
                    <a:pt x="4832601" y="1543011"/>
                    <a:pt x="4842556" y="1543011"/>
                  </a:cubicBezTo>
                  <a:close/>
                  <a:moveTo>
                    <a:pt x="3803149" y="1537003"/>
                  </a:moveTo>
                  <a:cubicBezTo>
                    <a:pt x="3813104" y="1537003"/>
                    <a:pt x="3821174" y="1545073"/>
                    <a:pt x="3821174" y="1555027"/>
                  </a:cubicBezTo>
                  <a:cubicBezTo>
                    <a:pt x="3821174" y="1564982"/>
                    <a:pt x="3813104" y="1573052"/>
                    <a:pt x="3803149" y="1573052"/>
                  </a:cubicBezTo>
                  <a:cubicBezTo>
                    <a:pt x="3793195" y="1573052"/>
                    <a:pt x="3785125" y="1564982"/>
                    <a:pt x="3785125" y="1555027"/>
                  </a:cubicBezTo>
                  <a:cubicBezTo>
                    <a:pt x="3785125" y="1545073"/>
                    <a:pt x="3793195" y="1537003"/>
                    <a:pt x="3803149" y="1537003"/>
                  </a:cubicBezTo>
                  <a:close/>
                  <a:moveTo>
                    <a:pt x="4127588" y="1530995"/>
                  </a:moveTo>
                  <a:cubicBezTo>
                    <a:pt x="4137543" y="1530995"/>
                    <a:pt x="4145613" y="1539065"/>
                    <a:pt x="4145613" y="1549019"/>
                  </a:cubicBezTo>
                  <a:cubicBezTo>
                    <a:pt x="4145613" y="1558974"/>
                    <a:pt x="4137543" y="1567044"/>
                    <a:pt x="4127588" y="1567044"/>
                  </a:cubicBezTo>
                  <a:cubicBezTo>
                    <a:pt x="4117633" y="1567044"/>
                    <a:pt x="4109563" y="1558974"/>
                    <a:pt x="4109563" y="1549019"/>
                  </a:cubicBezTo>
                  <a:cubicBezTo>
                    <a:pt x="4109563" y="1539065"/>
                    <a:pt x="4117633" y="1530995"/>
                    <a:pt x="4127588" y="1530995"/>
                  </a:cubicBezTo>
                  <a:close/>
                  <a:moveTo>
                    <a:pt x="3634921" y="1530995"/>
                  </a:moveTo>
                  <a:cubicBezTo>
                    <a:pt x="3644876" y="1530995"/>
                    <a:pt x="3652946" y="1539065"/>
                    <a:pt x="3652946" y="1549019"/>
                  </a:cubicBezTo>
                  <a:cubicBezTo>
                    <a:pt x="3652946" y="1558974"/>
                    <a:pt x="3644876" y="1567044"/>
                    <a:pt x="3634921" y="1567044"/>
                  </a:cubicBezTo>
                  <a:cubicBezTo>
                    <a:pt x="3624966" y="1567044"/>
                    <a:pt x="3616897" y="1558974"/>
                    <a:pt x="3616897" y="1549019"/>
                  </a:cubicBezTo>
                  <a:cubicBezTo>
                    <a:pt x="3616897" y="1539065"/>
                    <a:pt x="3624966" y="1530995"/>
                    <a:pt x="3634921" y="1530995"/>
                  </a:cubicBezTo>
                  <a:close/>
                  <a:moveTo>
                    <a:pt x="3532783" y="1530995"/>
                  </a:moveTo>
                  <a:cubicBezTo>
                    <a:pt x="3542738" y="1530995"/>
                    <a:pt x="3550808" y="1539065"/>
                    <a:pt x="3550808" y="1549019"/>
                  </a:cubicBezTo>
                  <a:cubicBezTo>
                    <a:pt x="3550808" y="1558974"/>
                    <a:pt x="3542738" y="1567044"/>
                    <a:pt x="3532783" y="1567044"/>
                  </a:cubicBezTo>
                  <a:cubicBezTo>
                    <a:pt x="3522829" y="1567044"/>
                    <a:pt x="3514759" y="1558974"/>
                    <a:pt x="3514759" y="1549019"/>
                  </a:cubicBezTo>
                  <a:cubicBezTo>
                    <a:pt x="3514759" y="1539065"/>
                    <a:pt x="3522829" y="1530995"/>
                    <a:pt x="3532783" y="1530995"/>
                  </a:cubicBezTo>
                  <a:close/>
                  <a:moveTo>
                    <a:pt x="1478000" y="1530995"/>
                  </a:moveTo>
                  <a:cubicBezTo>
                    <a:pt x="1487955" y="1530995"/>
                    <a:pt x="1496025" y="1539065"/>
                    <a:pt x="1496025" y="1549019"/>
                  </a:cubicBezTo>
                  <a:cubicBezTo>
                    <a:pt x="1496025" y="1558974"/>
                    <a:pt x="1487955" y="1567044"/>
                    <a:pt x="1478000" y="1567044"/>
                  </a:cubicBezTo>
                  <a:cubicBezTo>
                    <a:pt x="1468046" y="1567044"/>
                    <a:pt x="1459976" y="1558974"/>
                    <a:pt x="1459976" y="1549019"/>
                  </a:cubicBezTo>
                  <a:cubicBezTo>
                    <a:pt x="1459976" y="1539065"/>
                    <a:pt x="1468046" y="1530995"/>
                    <a:pt x="1478000" y="1530995"/>
                  </a:cubicBezTo>
                  <a:close/>
                  <a:moveTo>
                    <a:pt x="4427995" y="1518979"/>
                  </a:moveTo>
                  <a:cubicBezTo>
                    <a:pt x="4437950" y="1518979"/>
                    <a:pt x="4446020" y="1527049"/>
                    <a:pt x="4446020" y="1537004"/>
                  </a:cubicBezTo>
                  <a:cubicBezTo>
                    <a:pt x="4446020" y="1546958"/>
                    <a:pt x="4437950" y="1555028"/>
                    <a:pt x="4427995" y="1555028"/>
                  </a:cubicBezTo>
                  <a:cubicBezTo>
                    <a:pt x="4418040" y="1555028"/>
                    <a:pt x="4409970" y="1546958"/>
                    <a:pt x="4409970" y="1537004"/>
                  </a:cubicBezTo>
                  <a:cubicBezTo>
                    <a:pt x="4409970" y="1527049"/>
                    <a:pt x="4418040" y="1518979"/>
                    <a:pt x="4427995" y="1518979"/>
                  </a:cubicBezTo>
                  <a:close/>
                  <a:moveTo>
                    <a:pt x="4980743" y="1506962"/>
                  </a:moveTo>
                  <a:cubicBezTo>
                    <a:pt x="4990698" y="1506962"/>
                    <a:pt x="4998768" y="1515032"/>
                    <a:pt x="4998768" y="1524986"/>
                  </a:cubicBezTo>
                  <a:cubicBezTo>
                    <a:pt x="4998768" y="1534941"/>
                    <a:pt x="4990698" y="1543011"/>
                    <a:pt x="4980743" y="1543011"/>
                  </a:cubicBezTo>
                  <a:cubicBezTo>
                    <a:pt x="4970789" y="1543011"/>
                    <a:pt x="4962719" y="1534941"/>
                    <a:pt x="4962719" y="1524986"/>
                  </a:cubicBezTo>
                  <a:cubicBezTo>
                    <a:pt x="4962719" y="1515032"/>
                    <a:pt x="4970789" y="1506962"/>
                    <a:pt x="4980743" y="1506962"/>
                  </a:cubicBezTo>
                  <a:close/>
                  <a:moveTo>
                    <a:pt x="961301" y="1506962"/>
                  </a:moveTo>
                  <a:cubicBezTo>
                    <a:pt x="971256" y="1506962"/>
                    <a:pt x="979326" y="1515032"/>
                    <a:pt x="979326" y="1524986"/>
                  </a:cubicBezTo>
                  <a:cubicBezTo>
                    <a:pt x="979326" y="1534941"/>
                    <a:pt x="971256" y="1543011"/>
                    <a:pt x="961301" y="1543011"/>
                  </a:cubicBezTo>
                  <a:cubicBezTo>
                    <a:pt x="951347" y="1543011"/>
                    <a:pt x="943277" y="1534941"/>
                    <a:pt x="943277" y="1524986"/>
                  </a:cubicBezTo>
                  <a:cubicBezTo>
                    <a:pt x="943277" y="1515032"/>
                    <a:pt x="951347" y="1506962"/>
                    <a:pt x="961301" y="1506962"/>
                  </a:cubicBezTo>
                  <a:close/>
                  <a:moveTo>
                    <a:pt x="859163" y="1500954"/>
                  </a:moveTo>
                  <a:cubicBezTo>
                    <a:pt x="869118" y="1500954"/>
                    <a:pt x="877188" y="1509024"/>
                    <a:pt x="877188" y="1518978"/>
                  </a:cubicBezTo>
                  <a:cubicBezTo>
                    <a:pt x="877188" y="1528933"/>
                    <a:pt x="869118" y="1537003"/>
                    <a:pt x="859163" y="1537003"/>
                  </a:cubicBezTo>
                  <a:cubicBezTo>
                    <a:pt x="849209" y="1537003"/>
                    <a:pt x="841139" y="1528933"/>
                    <a:pt x="841139" y="1518978"/>
                  </a:cubicBezTo>
                  <a:cubicBezTo>
                    <a:pt x="841139" y="1509024"/>
                    <a:pt x="849209" y="1500954"/>
                    <a:pt x="859163" y="1500954"/>
                  </a:cubicBezTo>
                  <a:close/>
                  <a:moveTo>
                    <a:pt x="4013434" y="1482930"/>
                  </a:moveTo>
                  <a:cubicBezTo>
                    <a:pt x="4023389" y="1482930"/>
                    <a:pt x="4031459" y="1490999"/>
                    <a:pt x="4031459" y="1500954"/>
                  </a:cubicBezTo>
                  <a:cubicBezTo>
                    <a:pt x="4031459" y="1510909"/>
                    <a:pt x="4023389" y="1518979"/>
                    <a:pt x="4013434" y="1518979"/>
                  </a:cubicBezTo>
                  <a:cubicBezTo>
                    <a:pt x="4003480" y="1518979"/>
                    <a:pt x="3995410" y="1510909"/>
                    <a:pt x="3995410" y="1500954"/>
                  </a:cubicBezTo>
                  <a:cubicBezTo>
                    <a:pt x="3995410" y="1490999"/>
                    <a:pt x="4003480" y="1482930"/>
                    <a:pt x="4013434" y="1482930"/>
                  </a:cubicBezTo>
                  <a:close/>
                  <a:moveTo>
                    <a:pt x="3412620" y="1482930"/>
                  </a:moveTo>
                  <a:cubicBezTo>
                    <a:pt x="3422575" y="1482930"/>
                    <a:pt x="3430645" y="1490999"/>
                    <a:pt x="3430645" y="1500954"/>
                  </a:cubicBezTo>
                  <a:cubicBezTo>
                    <a:pt x="3430645" y="1510909"/>
                    <a:pt x="3422575" y="1518979"/>
                    <a:pt x="3412620" y="1518979"/>
                  </a:cubicBezTo>
                  <a:cubicBezTo>
                    <a:pt x="3402666" y="1518979"/>
                    <a:pt x="3394596" y="1510909"/>
                    <a:pt x="3394596" y="1500954"/>
                  </a:cubicBezTo>
                  <a:cubicBezTo>
                    <a:pt x="3394596" y="1490999"/>
                    <a:pt x="3402666" y="1482930"/>
                    <a:pt x="3412620" y="1482930"/>
                  </a:cubicBezTo>
                  <a:close/>
                  <a:moveTo>
                    <a:pt x="1586148" y="1476922"/>
                  </a:moveTo>
                  <a:cubicBezTo>
                    <a:pt x="1596102" y="1476922"/>
                    <a:pt x="1604172" y="1484992"/>
                    <a:pt x="1604172" y="1494946"/>
                  </a:cubicBezTo>
                  <a:cubicBezTo>
                    <a:pt x="1604172" y="1504901"/>
                    <a:pt x="1596102" y="1512971"/>
                    <a:pt x="1586148" y="1512971"/>
                  </a:cubicBezTo>
                  <a:cubicBezTo>
                    <a:pt x="1576193" y="1512971"/>
                    <a:pt x="1568123" y="1504901"/>
                    <a:pt x="1568123" y="1494946"/>
                  </a:cubicBezTo>
                  <a:cubicBezTo>
                    <a:pt x="1568123" y="1484992"/>
                    <a:pt x="1576193" y="1476922"/>
                    <a:pt x="1586148" y="1476922"/>
                  </a:cubicBezTo>
                  <a:close/>
                  <a:moveTo>
                    <a:pt x="4271783" y="1464906"/>
                  </a:moveTo>
                  <a:cubicBezTo>
                    <a:pt x="4281738" y="1464906"/>
                    <a:pt x="4289808" y="1472976"/>
                    <a:pt x="4289808" y="1482930"/>
                  </a:cubicBezTo>
                  <a:cubicBezTo>
                    <a:pt x="4289808" y="1492885"/>
                    <a:pt x="4281738" y="1500955"/>
                    <a:pt x="4271783" y="1500955"/>
                  </a:cubicBezTo>
                  <a:cubicBezTo>
                    <a:pt x="4261828" y="1500955"/>
                    <a:pt x="4253759" y="1492885"/>
                    <a:pt x="4253759" y="1482930"/>
                  </a:cubicBezTo>
                  <a:cubicBezTo>
                    <a:pt x="4253759" y="1472976"/>
                    <a:pt x="4261828" y="1464906"/>
                    <a:pt x="4271783" y="1464906"/>
                  </a:cubicBezTo>
                  <a:close/>
                  <a:moveTo>
                    <a:pt x="1105497" y="1464906"/>
                  </a:moveTo>
                  <a:cubicBezTo>
                    <a:pt x="1115451" y="1464906"/>
                    <a:pt x="1123521" y="1472976"/>
                    <a:pt x="1123521" y="1482930"/>
                  </a:cubicBezTo>
                  <a:cubicBezTo>
                    <a:pt x="1123521" y="1492885"/>
                    <a:pt x="1115451" y="1500955"/>
                    <a:pt x="1105497" y="1500955"/>
                  </a:cubicBezTo>
                  <a:cubicBezTo>
                    <a:pt x="1095542" y="1500955"/>
                    <a:pt x="1087472" y="1492885"/>
                    <a:pt x="1087472" y="1482930"/>
                  </a:cubicBezTo>
                  <a:cubicBezTo>
                    <a:pt x="1087472" y="1472976"/>
                    <a:pt x="1095542" y="1464906"/>
                    <a:pt x="1105497" y="1464906"/>
                  </a:cubicBezTo>
                  <a:close/>
                  <a:moveTo>
                    <a:pt x="4602231" y="1452889"/>
                  </a:moveTo>
                  <a:cubicBezTo>
                    <a:pt x="4612186" y="1452889"/>
                    <a:pt x="4620256" y="1460958"/>
                    <a:pt x="4620256" y="1470913"/>
                  </a:cubicBezTo>
                  <a:cubicBezTo>
                    <a:pt x="4620256" y="1480868"/>
                    <a:pt x="4612186" y="1488938"/>
                    <a:pt x="4602231" y="1488938"/>
                  </a:cubicBezTo>
                  <a:cubicBezTo>
                    <a:pt x="4592276" y="1488938"/>
                    <a:pt x="4584207" y="1480868"/>
                    <a:pt x="4584207" y="1470913"/>
                  </a:cubicBezTo>
                  <a:cubicBezTo>
                    <a:pt x="4584207" y="1460958"/>
                    <a:pt x="4592276" y="1452889"/>
                    <a:pt x="4602231" y="1452889"/>
                  </a:cubicBezTo>
                  <a:close/>
                  <a:moveTo>
                    <a:pt x="3875247" y="1452889"/>
                  </a:moveTo>
                  <a:cubicBezTo>
                    <a:pt x="3885202" y="1452889"/>
                    <a:pt x="3893272" y="1460958"/>
                    <a:pt x="3893272" y="1470913"/>
                  </a:cubicBezTo>
                  <a:cubicBezTo>
                    <a:pt x="3893272" y="1480868"/>
                    <a:pt x="3885202" y="1488938"/>
                    <a:pt x="3875247" y="1488938"/>
                  </a:cubicBezTo>
                  <a:cubicBezTo>
                    <a:pt x="3865292" y="1488938"/>
                    <a:pt x="3857223" y="1480868"/>
                    <a:pt x="3857223" y="1470913"/>
                  </a:cubicBezTo>
                  <a:cubicBezTo>
                    <a:pt x="3857223" y="1460958"/>
                    <a:pt x="3865292" y="1452889"/>
                    <a:pt x="3875247" y="1452889"/>
                  </a:cubicBezTo>
                  <a:close/>
                  <a:moveTo>
                    <a:pt x="1706311" y="1452889"/>
                  </a:moveTo>
                  <a:cubicBezTo>
                    <a:pt x="1716265" y="1452889"/>
                    <a:pt x="1724335" y="1460958"/>
                    <a:pt x="1724335" y="1470913"/>
                  </a:cubicBezTo>
                  <a:cubicBezTo>
                    <a:pt x="1724335" y="1480868"/>
                    <a:pt x="1716265" y="1488938"/>
                    <a:pt x="1706311" y="1488938"/>
                  </a:cubicBezTo>
                  <a:cubicBezTo>
                    <a:pt x="1696356" y="1488938"/>
                    <a:pt x="1688286" y="1480868"/>
                    <a:pt x="1688286" y="1470913"/>
                  </a:cubicBezTo>
                  <a:cubicBezTo>
                    <a:pt x="1688286" y="1460958"/>
                    <a:pt x="1696356" y="1452889"/>
                    <a:pt x="1706311" y="1452889"/>
                  </a:cubicBezTo>
                  <a:close/>
                  <a:moveTo>
                    <a:pt x="1411911" y="1452889"/>
                  </a:moveTo>
                  <a:cubicBezTo>
                    <a:pt x="1421866" y="1452889"/>
                    <a:pt x="1429936" y="1460958"/>
                    <a:pt x="1429936" y="1470913"/>
                  </a:cubicBezTo>
                  <a:cubicBezTo>
                    <a:pt x="1429936" y="1480868"/>
                    <a:pt x="1421866" y="1488938"/>
                    <a:pt x="1411911" y="1488938"/>
                  </a:cubicBezTo>
                  <a:cubicBezTo>
                    <a:pt x="1401957" y="1488938"/>
                    <a:pt x="1393887" y="1480868"/>
                    <a:pt x="1393887" y="1470913"/>
                  </a:cubicBezTo>
                  <a:cubicBezTo>
                    <a:pt x="1393887" y="1460958"/>
                    <a:pt x="1401957" y="1452889"/>
                    <a:pt x="1411911" y="1452889"/>
                  </a:cubicBezTo>
                  <a:close/>
                  <a:moveTo>
                    <a:pt x="1249691" y="1452889"/>
                  </a:moveTo>
                  <a:cubicBezTo>
                    <a:pt x="1259646" y="1452889"/>
                    <a:pt x="1267716" y="1460958"/>
                    <a:pt x="1267716" y="1470913"/>
                  </a:cubicBezTo>
                  <a:cubicBezTo>
                    <a:pt x="1267716" y="1480868"/>
                    <a:pt x="1259646" y="1488938"/>
                    <a:pt x="1249691" y="1488938"/>
                  </a:cubicBezTo>
                  <a:cubicBezTo>
                    <a:pt x="1239737" y="1488938"/>
                    <a:pt x="1231667" y="1480868"/>
                    <a:pt x="1231667" y="1470913"/>
                  </a:cubicBezTo>
                  <a:cubicBezTo>
                    <a:pt x="1231667" y="1460958"/>
                    <a:pt x="1239737" y="1452889"/>
                    <a:pt x="1249691" y="1452889"/>
                  </a:cubicBezTo>
                  <a:close/>
                  <a:moveTo>
                    <a:pt x="4764451" y="1446881"/>
                  </a:moveTo>
                  <a:cubicBezTo>
                    <a:pt x="4774406" y="1446881"/>
                    <a:pt x="4782476" y="1454951"/>
                    <a:pt x="4782476" y="1464905"/>
                  </a:cubicBezTo>
                  <a:cubicBezTo>
                    <a:pt x="4782476" y="1474860"/>
                    <a:pt x="4774406" y="1482930"/>
                    <a:pt x="4764451" y="1482930"/>
                  </a:cubicBezTo>
                  <a:cubicBezTo>
                    <a:pt x="4754497" y="1482930"/>
                    <a:pt x="4746427" y="1474860"/>
                    <a:pt x="4746427" y="1464905"/>
                  </a:cubicBezTo>
                  <a:cubicBezTo>
                    <a:pt x="4746427" y="1454951"/>
                    <a:pt x="4754497" y="1446881"/>
                    <a:pt x="4764451" y="1446881"/>
                  </a:cubicBezTo>
                  <a:close/>
                  <a:moveTo>
                    <a:pt x="763032" y="1446881"/>
                  </a:moveTo>
                  <a:cubicBezTo>
                    <a:pt x="772987" y="1446881"/>
                    <a:pt x="781057" y="1454951"/>
                    <a:pt x="781057" y="1464905"/>
                  </a:cubicBezTo>
                  <a:cubicBezTo>
                    <a:pt x="781057" y="1474860"/>
                    <a:pt x="772987" y="1482930"/>
                    <a:pt x="763032" y="1482930"/>
                  </a:cubicBezTo>
                  <a:cubicBezTo>
                    <a:pt x="753078" y="1482930"/>
                    <a:pt x="745008" y="1474860"/>
                    <a:pt x="745008" y="1464905"/>
                  </a:cubicBezTo>
                  <a:cubicBezTo>
                    <a:pt x="745008" y="1454951"/>
                    <a:pt x="753078" y="1446881"/>
                    <a:pt x="763032" y="1446881"/>
                  </a:cubicBezTo>
                  <a:close/>
                  <a:moveTo>
                    <a:pt x="3731051" y="1434865"/>
                  </a:moveTo>
                  <a:cubicBezTo>
                    <a:pt x="3741006" y="1434865"/>
                    <a:pt x="3749076" y="1442935"/>
                    <a:pt x="3749076" y="1452889"/>
                  </a:cubicBezTo>
                  <a:cubicBezTo>
                    <a:pt x="3749076" y="1462844"/>
                    <a:pt x="3741006" y="1470914"/>
                    <a:pt x="3731051" y="1470914"/>
                  </a:cubicBezTo>
                  <a:cubicBezTo>
                    <a:pt x="3721096" y="1470914"/>
                    <a:pt x="3713027" y="1462844"/>
                    <a:pt x="3713027" y="1452889"/>
                  </a:cubicBezTo>
                  <a:cubicBezTo>
                    <a:pt x="3713027" y="1442935"/>
                    <a:pt x="3721096" y="1434865"/>
                    <a:pt x="3731051" y="1434865"/>
                  </a:cubicBezTo>
                  <a:close/>
                  <a:moveTo>
                    <a:pt x="3304474" y="1422849"/>
                  </a:moveTo>
                  <a:cubicBezTo>
                    <a:pt x="3314429" y="1422849"/>
                    <a:pt x="3322499" y="1430918"/>
                    <a:pt x="3322499" y="1440873"/>
                  </a:cubicBezTo>
                  <a:cubicBezTo>
                    <a:pt x="3322499" y="1450828"/>
                    <a:pt x="3314429" y="1458898"/>
                    <a:pt x="3304474" y="1458898"/>
                  </a:cubicBezTo>
                  <a:cubicBezTo>
                    <a:pt x="3294519" y="1458898"/>
                    <a:pt x="3286450" y="1450828"/>
                    <a:pt x="3286450" y="1440873"/>
                  </a:cubicBezTo>
                  <a:cubicBezTo>
                    <a:pt x="3286450" y="1430918"/>
                    <a:pt x="3294519" y="1422849"/>
                    <a:pt x="3304474" y="1422849"/>
                  </a:cubicBezTo>
                  <a:close/>
                  <a:moveTo>
                    <a:pt x="4890621" y="1416840"/>
                  </a:moveTo>
                  <a:cubicBezTo>
                    <a:pt x="4900576" y="1416840"/>
                    <a:pt x="4908646" y="1424910"/>
                    <a:pt x="4908646" y="1434864"/>
                  </a:cubicBezTo>
                  <a:cubicBezTo>
                    <a:pt x="4908646" y="1444819"/>
                    <a:pt x="4900576" y="1452889"/>
                    <a:pt x="4890621" y="1452889"/>
                  </a:cubicBezTo>
                  <a:cubicBezTo>
                    <a:pt x="4880667" y="1452889"/>
                    <a:pt x="4872597" y="1444819"/>
                    <a:pt x="4872597" y="1434864"/>
                  </a:cubicBezTo>
                  <a:cubicBezTo>
                    <a:pt x="4872597" y="1424910"/>
                    <a:pt x="4880667" y="1416840"/>
                    <a:pt x="4890621" y="1416840"/>
                  </a:cubicBezTo>
                  <a:close/>
                  <a:moveTo>
                    <a:pt x="3544799" y="1410832"/>
                  </a:moveTo>
                  <a:cubicBezTo>
                    <a:pt x="3554754" y="1410832"/>
                    <a:pt x="3562824" y="1418902"/>
                    <a:pt x="3562824" y="1428856"/>
                  </a:cubicBezTo>
                  <a:cubicBezTo>
                    <a:pt x="3562824" y="1438811"/>
                    <a:pt x="3554754" y="1446881"/>
                    <a:pt x="3544799" y="1446881"/>
                  </a:cubicBezTo>
                  <a:cubicBezTo>
                    <a:pt x="3534844" y="1446881"/>
                    <a:pt x="3526775" y="1438811"/>
                    <a:pt x="3526775" y="1428856"/>
                  </a:cubicBezTo>
                  <a:cubicBezTo>
                    <a:pt x="3526775" y="1418902"/>
                    <a:pt x="3534844" y="1410832"/>
                    <a:pt x="3544799" y="1410832"/>
                  </a:cubicBezTo>
                  <a:close/>
                  <a:moveTo>
                    <a:pt x="4488076" y="1404824"/>
                  </a:moveTo>
                  <a:cubicBezTo>
                    <a:pt x="4498031" y="1404824"/>
                    <a:pt x="4506101" y="1412894"/>
                    <a:pt x="4506101" y="1422848"/>
                  </a:cubicBezTo>
                  <a:cubicBezTo>
                    <a:pt x="4506101" y="1432803"/>
                    <a:pt x="4498031" y="1440873"/>
                    <a:pt x="4488076" y="1440873"/>
                  </a:cubicBezTo>
                  <a:cubicBezTo>
                    <a:pt x="4478121" y="1440873"/>
                    <a:pt x="4470051" y="1432803"/>
                    <a:pt x="4470051" y="1422848"/>
                  </a:cubicBezTo>
                  <a:cubicBezTo>
                    <a:pt x="4470051" y="1412894"/>
                    <a:pt x="4478121" y="1404824"/>
                    <a:pt x="4488076" y="1404824"/>
                  </a:cubicBezTo>
                  <a:close/>
                  <a:moveTo>
                    <a:pt x="5028808" y="1398816"/>
                  </a:moveTo>
                  <a:cubicBezTo>
                    <a:pt x="5038763" y="1398816"/>
                    <a:pt x="5046833" y="1406886"/>
                    <a:pt x="5046833" y="1416841"/>
                  </a:cubicBezTo>
                  <a:cubicBezTo>
                    <a:pt x="5046833" y="1426795"/>
                    <a:pt x="5038763" y="1434865"/>
                    <a:pt x="5028808" y="1434865"/>
                  </a:cubicBezTo>
                  <a:cubicBezTo>
                    <a:pt x="5018853" y="1434865"/>
                    <a:pt x="5010783" y="1426795"/>
                    <a:pt x="5010783" y="1416841"/>
                  </a:cubicBezTo>
                  <a:cubicBezTo>
                    <a:pt x="5010783" y="1406886"/>
                    <a:pt x="5018853" y="1398816"/>
                    <a:pt x="5028808" y="1398816"/>
                  </a:cubicBezTo>
                  <a:close/>
                  <a:moveTo>
                    <a:pt x="4367914" y="1398816"/>
                  </a:moveTo>
                  <a:cubicBezTo>
                    <a:pt x="4377869" y="1398816"/>
                    <a:pt x="4385939" y="1406886"/>
                    <a:pt x="4385939" y="1416841"/>
                  </a:cubicBezTo>
                  <a:cubicBezTo>
                    <a:pt x="4385939" y="1426795"/>
                    <a:pt x="4377869" y="1434865"/>
                    <a:pt x="4367914" y="1434865"/>
                  </a:cubicBezTo>
                  <a:cubicBezTo>
                    <a:pt x="4357959" y="1434865"/>
                    <a:pt x="4349889" y="1426795"/>
                    <a:pt x="4349889" y="1416841"/>
                  </a:cubicBezTo>
                  <a:cubicBezTo>
                    <a:pt x="4349889" y="1406886"/>
                    <a:pt x="4357959" y="1398816"/>
                    <a:pt x="4367914" y="1398816"/>
                  </a:cubicBezTo>
                  <a:close/>
                  <a:moveTo>
                    <a:pt x="4163637" y="1398816"/>
                  </a:moveTo>
                  <a:cubicBezTo>
                    <a:pt x="4173592" y="1398816"/>
                    <a:pt x="4181662" y="1406886"/>
                    <a:pt x="4181662" y="1416841"/>
                  </a:cubicBezTo>
                  <a:cubicBezTo>
                    <a:pt x="4181662" y="1426795"/>
                    <a:pt x="4173592" y="1434865"/>
                    <a:pt x="4163637" y="1434865"/>
                  </a:cubicBezTo>
                  <a:cubicBezTo>
                    <a:pt x="4153683" y="1434865"/>
                    <a:pt x="4145613" y="1426795"/>
                    <a:pt x="4145613" y="1416841"/>
                  </a:cubicBezTo>
                  <a:cubicBezTo>
                    <a:pt x="4145613" y="1406886"/>
                    <a:pt x="4153683" y="1398816"/>
                    <a:pt x="4163637" y="1398816"/>
                  </a:cubicBezTo>
                  <a:close/>
                  <a:moveTo>
                    <a:pt x="672910" y="1398816"/>
                  </a:moveTo>
                  <a:cubicBezTo>
                    <a:pt x="682865" y="1398816"/>
                    <a:pt x="690935" y="1406886"/>
                    <a:pt x="690935" y="1416841"/>
                  </a:cubicBezTo>
                  <a:cubicBezTo>
                    <a:pt x="690935" y="1426795"/>
                    <a:pt x="682865" y="1434865"/>
                    <a:pt x="672910" y="1434865"/>
                  </a:cubicBezTo>
                  <a:cubicBezTo>
                    <a:pt x="662956" y="1434865"/>
                    <a:pt x="654886" y="1426795"/>
                    <a:pt x="654886" y="1416841"/>
                  </a:cubicBezTo>
                  <a:cubicBezTo>
                    <a:pt x="654886" y="1406886"/>
                    <a:pt x="662956" y="1398816"/>
                    <a:pt x="672910" y="1398816"/>
                  </a:cubicBezTo>
                  <a:close/>
                  <a:moveTo>
                    <a:pt x="3190319" y="1392808"/>
                  </a:moveTo>
                  <a:cubicBezTo>
                    <a:pt x="3200274" y="1392808"/>
                    <a:pt x="3208344" y="1400877"/>
                    <a:pt x="3208344" y="1410832"/>
                  </a:cubicBezTo>
                  <a:cubicBezTo>
                    <a:pt x="3208344" y="1420787"/>
                    <a:pt x="3200274" y="1428857"/>
                    <a:pt x="3190319" y="1428857"/>
                  </a:cubicBezTo>
                  <a:cubicBezTo>
                    <a:pt x="3180364" y="1428857"/>
                    <a:pt x="3172295" y="1420787"/>
                    <a:pt x="3172295" y="1410832"/>
                  </a:cubicBezTo>
                  <a:cubicBezTo>
                    <a:pt x="3172295" y="1400877"/>
                    <a:pt x="3180364" y="1392808"/>
                    <a:pt x="3190319" y="1392808"/>
                  </a:cubicBezTo>
                  <a:close/>
                  <a:moveTo>
                    <a:pt x="1814456" y="1392808"/>
                  </a:moveTo>
                  <a:cubicBezTo>
                    <a:pt x="1824411" y="1392808"/>
                    <a:pt x="1832481" y="1400877"/>
                    <a:pt x="1832481" y="1410832"/>
                  </a:cubicBezTo>
                  <a:cubicBezTo>
                    <a:pt x="1832481" y="1420787"/>
                    <a:pt x="1824411" y="1428857"/>
                    <a:pt x="1814456" y="1428857"/>
                  </a:cubicBezTo>
                  <a:cubicBezTo>
                    <a:pt x="1804502" y="1428857"/>
                    <a:pt x="1796432" y="1420787"/>
                    <a:pt x="1796432" y="1410832"/>
                  </a:cubicBezTo>
                  <a:cubicBezTo>
                    <a:pt x="1796432" y="1400877"/>
                    <a:pt x="1804502" y="1392808"/>
                    <a:pt x="1814456" y="1392808"/>
                  </a:cubicBezTo>
                  <a:close/>
                  <a:moveTo>
                    <a:pt x="967309" y="1386800"/>
                  </a:moveTo>
                  <a:cubicBezTo>
                    <a:pt x="977264" y="1386800"/>
                    <a:pt x="985334" y="1394870"/>
                    <a:pt x="985334" y="1404824"/>
                  </a:cubicBezTo>
                  <a:cubicBezTo>
                    <a:pt x="985334" y="1414779"/>
                    <a:pt x="977264" y="1422849"/>
                    <a:pt x="967309" y="1422849"/>
                  </a:cubicBezTo>
                  <a:cubicBezTo>
                    <a:pt x="957355" y="1422849"/>
                    <a:pt x="949285" y="1414779"/>
                    <a:pt x="949285" y="1404824"/>
                  </a:cubicBezTo>
                  <a:cubicBezTo>
                    <a:pt x="949285" y="1394870"/>
                    <a:pt x="957355" y="1386800"/>
                    <a:pt x="967309" y="1386800"/>
                  </a:cubicBezTo>
                  <a:close/>
                  <a:moveTo>
                    <a:pt x="4049482" y="1374784"/>
                  </a:moveTo>
                  <a:cubicBezTo>
                    <a:pt x="4059437" y="1374784"/>
                    <a:pt x="4067507" y="1382854"/>
                    <a:pt x="4067507" y="1392808"/>
                  </a:cubicBezTo>
                  <a:cubicBezTo>
                    <a:pt x="4067507" y="1402763"/>
                    <a:pt x="4059437" y="1410833"/>
                    <a:pt x="4049482" y="1410833"/>
                  </a:cubicBezTo>
                  <a:cubicBezTo>
                    <a:pt x="4039528" y="1410833"/>
                    <a:pt x="4031458" y="1402763"/>
                    <a:pt x="4031458" y="1392808"/>
                  </a:cubicBezTo>
                  <a:cubicBezTo>
                    <a:pt x="4031458" y="1382854"/>
                    <a:pt x="4039528" y="1374784"/>
                    <a:pt x="4049482" y="1374784"/>
                  </a:cubicBezTo>
                  <a:close/>
                  <a:moveTo>
                    <a:pt x="4674329" y="1368775"/>
                  </a:moveTo>
                  <a:cubicBezTo>
                    <a:pt x="4684284" y="1368775"/>
                    <a:pt x="4692354" y="1376845"/>
                    <a:pt x="4692354" y="1386800"/>
                  </a:cubicBezTo>
                  <a:cubicBezTo>
                    <a:pt x="4692354" y="1396754"/>
                    <a:pt x="4684284" y="1404824"/>
                    <a:pt x="4674329" y="1404824"/>
                  </a:cubicBezTo>
                  <a:cubicBezTo>
                    <a:pt x="4664375" y="1404824"/>
                    <a:pt x="4656305" y="1396754"/>
                    <a:pt x="4656305" y="1386800"/>
                  </a:cubicBezTo>
                  <a:cubicBezTo>
                    <a:pt x="4656305" y="1376845"/>
                    <a:pt x="4664375" y="1368775"/>
                    <a:pt x="4674329" y="1368775"/>
                  </a:cubicBezTo>
                  <a:close/>
                  <a:moveTo>
                    <a:pt x="1526067" y="1368775"/>
                  </a:moveTo>
                  <a:cubicBezTo>
                    <a:pt x="1536021" y="1368775"/>
                    <a:pt x="1544091" y="1376845"/>
                    <a:pt x="1544091" y="1386800"/>
                  </a:cubicBezTo>
                  <a:cubicBezTo>
                    <a:pt x="1544091" y="1396754"/>
                    <a:pt x="1536021" y="1404824"/>
                    <a:pt x="1526067" y="1404824"/>
                  </a:cubicBezTo>
                  <a:cubicBezTo>
                    <a:pt x="1516112" y="1404824"/>
                    <a:pt x="1508042" y="1396754"/>
                    <a:pt x="1508042" y="1386800"/>
                  </a:cubicBezTo>
                  <a:cubicBezTo>
                    <a:pt x="1508042" y="1376845"/>
                    <a:pt x="1516112" y="1368775"/>
                    <a:pt x="1526067" y="1368775"/>
                  </a:cubicBezTo>
                  <a:close/>
                  <a:moveTo>
                    <a:pt x="1369854" y="1368775"/>
                  </a:moveTo>
                  <a:cubicBezTo>
                    <a:pt x="1379809" y="1368775"/>
                    <a:pt x="1387879" y="1376845"/>
                    <a:pt x="1387879" y="1386800"/>
                  </a:cubicBezTo>
                  <a:cubicBezTo>
                    <a:pt x="1387879" y="1396754"/>
                    <a:pt x="1379809" y="1404824"/>
                    <a:pt x="1369854" y="1404824"/>
                  </a:cubicBezTo>
                  <a:cubicBezTo>
                    <a:pt x="1359900" y="1404824"/>
                    <a:pt x="1351830" y="1396754"/>
                    <a:pt x="1351830" y="1386800"/>
                  </a:cubicBezTo>
                  <a:cubicBezTo>
                    <a:pt x="1351830" y="1376845"/>
                    <a:pt x="1359900" y="1368775"/>
                    <a:pt x="1369854" y="1368775"/>
                  </a:cubicBezTo>
                  <a:close/>
                  <a:moveTo>
                    <a:pt x="3418628" y="1362767"/>
                  </a:moveTo>
                  <a:cubicBezTo>
                    <a:pt x="3428583" y="1362767"/>
                    <a:pt x="3436653" y="1370836"/>
                    <a:pt x="3436653" y="1380791"/>
                  </a:cubicBezTo>
                  <a:cubicBezTo>
                    <a:pt x="3436653" y="1390746"/>
                    <a:pt x="3428583" y="1398816"/>
                    <a:pt x="3418628" y="1398816"/>
                  </a:cubicBezTo>
                  <a:cubicBezTo>
                    <a:pt x="3408674" y="1398816"/>
                    <a:pt x="3400604" y="1390746"/>
                    <a:pt x="3400604" y="1380791"/>
                  </a:cubicBezTo>
                  <a:cubicBezTo>
                    <a:pt x="3400604" y="1370836"/>
                    <a:pt x="3408674" y="1362767"/>
                    <a:pt x="3418628" y="1362767"/>
                  </a:cubicBezTo>
                  <a:close/>
                  <a:moveTo>
                    <a:pt x="1147553" y="1362767"/>
                  </a:moveTo>
                  <a:cubicBezTo>
                    <a:pt x="1157508" y="1362767"/>
                    <a:pt x="1165578" y="1370836"/>
                    <a:pt x="1165578" y="1380791"/>
                  </a:cubicBezTo>
                  <a:cubicBezTo>
                    <a:pt x="1165578" y="1390746"/>
                    <a:pt x="1157508" y="1398816"/>
                    <a:pt x="1147553" y="1398816"/>
                  </a:cubicBezTo>
                  <a:cubicBezTo>
                    <a:pt x="1137599" y="1398816"/>
                    <a:pt x="1129529" y="1390746"/>
                    <a:pt x="1129529" y="1380791"/>
                  </a:cubicBezTo>
                  <a:cubicBezTo>
                    <a:pt x="1129529" y="1370836"/>
                    <a:pt x="1137599" y="1362767"/>
                    <a:pt x="1147553" y="1362767"/>
                  </a:cubicBezTo>
                  <a:close/>
                  <a:moveTo>
                    <a:pt x="3646937" y="1356759"/>
                  </a:moveTo>
                  <a:cubicBezTo>
                    <a:pt x="3656892" y="1356759"/>
                    <a:pt x="3664962" y="1364829"/>
                    <a:pt x="3664962" y="1374783"/>
                  </a:cubicBezTo>
                  <a:cubicBezTo>
                    <a:pt x="3664962" y="1384738"/>
                    <a:pt x="3656892" y="1392808"/>
                    <a:pt x="3646937" y="1392808"/>
                  </a:cubicBezTo>
                  <a:cubicBezTo>
                    <a:pt x="3636982" y="1392808"/>
                    <a:pt x="3628912" y="1384738"/>
                    <a:pt x="3628912" y="1374783"/>
                  </a:cubicBezTo>
                  <a:cubicBezTo>
                    <a:pt x="3628912" y="1364829"/>
                    <a:pt x="3636982" y="1356759"/>
                    <a:pt x="3646937" y="1356759"/>
                  </a:cubicBezTo>
                  <a:close/>
                  <a:moveTo>
                    <a:pt x="1946636" y="1356759"/>
                  </a:moveTo>
                  <a:cubicBezTo>
                    <a:pt x="1956590" y="1356759"/>
                    <a:pt x="1964660" y="1364829"/>
                    <a:pt x="1964660" y="1374783"/>
                  </a:cubicBezTo>
                  <a:cubicBezTo>
                    <a:pt x="1964660" y="1384738"/>
                    <a:pt x="1956590" y="1392808"/>
                    <a:pt x="1946636" y="1392808"/>
                  </a:cubicBezTo>
                  <a:cubicBezTo>
                    <a:pt x="1936681" y="1392808"/>
                    <a:pt x="1928611" y="1384738"/>
                    <a:pt x="1928611" y="1374783"/>
                  </a:cubicBezTo>
                  <a:cubicBezTo>
                    <a:pt x="1928611" y="1364829"/>
                    <a:pt x="1936681" y="1356759"/>
                    <a:pt x="1946636" y="1356759"/>
                  </a:cubicBezTo>
                  <a:close/>
                  <a:moveTo>
                    <a:pt x="1658245" y="1350751"/>
                  </a:moveTo>
                  <a:cubicBezTo>
                    <a:pt x="1668200" y="1350751"/>
                    <a:pt x="1676270" y="1358821"/>
                    <a:pt x="1676270" y="1368775"/>
                  </a:cubicBezTo>
                  <a:cubicBezTo>
                    <a:pt x="1676270" y="1378730"/>
                    <a:pt x="1668200" y="1386800"/>
                    <a:pt x="1658245" y="1386800"/>
                  </a:cubicBezTo>
                  <a:cubicBezTo>
                    <a:pt x="1648291" y="1386800"/>
                    <a:pt x="1640221" y="1378730"/>
                    <a:pt x="1640221" y="1368775"/>
                  </a:cubicBezTo>
                  <a:cubicBezTo>
                    <a:pt x="1640221" y="1358821"/>
                    <a:pt x="1648291" y="1350751"/>
                    <a:pt x="1658245" y="1350751"/>
                  </a:cubicBezTo>
                  <a:close/>
                  <a:moveTo>
                    <a:pt x="3929320" y="1344743"/>
                  </a:moveTo>
                  <a:cubicBezTo>
                    <a:pt x="3939275" y="1344743"/>
                    <a:pt x="3947345" y="1352813"/>
                    <a:pt x="3947345" y="1362767"/>
                  </a:cubicBezTo>
                  <a:cubicBezTo>
                    <a:pt x="3947345" y="1372722"/>
                    <a:pt x="3939275" y="1380792"/>
                    <a:pt x="3929320" y="1380792"/>
                  </a:cubicBezTo>
                  <a:cubicBezTo>
                    <a:pt x="3919366" y="1380792"/>
                    <a:pt x="3911296" y="1372722"/>
                    <a:pt x="3911296" y="1362767"/>
                  </a:cubicBezTo>
                  <a:cubicBezTo>
                    <a:pt x="3911296" y="1352813"/>
                    <a:pt x="3919366" y="1344743"/>
                    <a:pt x="3929320" y="1344743"/>
                  </a:cubicBezTo>
                  <a:close/>
                  <a:moveTo>
                    <a:pt x="3088181" y="1344743"/>
                  </a:moveTo>
                  <a:cubicBezTo>
                    <a:pt x="3098136" y="1344743"/>
                    <a:pt x="3106206" y="1352813"/>
                    <a:pt x="3106206" y="1362767"/>
                  </a:cubicBezTo>
                  <a:cubicBezTo>
                    <a:pt x="3106206" y="1372722"/>
                    <a:pt x="3098136" y="1380792"/>
                    <a:pt x="3088181" y="1380792"/>
                  </a:cubicBezTo>
                  <a:cubicBezTo>
                    <a:pt x="3078227" y="1380792"/>
                    <a:pt x="3070157" y="1372722"/>
                    <a:pt x="3070157" y="1362767"/>
                  </a:cubicBezTo>
                  <a:cubicBezTo>
                    <a:pt x="3070157" y="1352813"/>
                    <a:pt x="3078227" y="1344743"/>
                    <a:pt x="3088181" y="1344743"/>
                  </a:cubicBezTo>
                  <a:close/>
                  <a:moveTo>
                    <a:pt x="853154" y="1344743"/>
                  </a:moveTo>
                  <a:cubicBezTo>
                    <a:pt x="863109" y="1344743"/>
                    <a:pt x="871179" y="1352813"/>
                    <a:pt x="871179" y="1362767"/>
                  </a:cubicBezTo>
                  <a:cubicBezTo>
                    <a:pt x="871179" y="1372722"/>
                    <a:pt x="863109" y="1380792"/>
                    <a:pt x="853154" y="1380792"/>
                  </a:cubicBezTo>
                  <a:cubicBezTo>
                    <a:pt x="843200" y="1380792"/>
                    <a:pt x="835130" y="1372722"/>
                    <a:pt x="835130" y="1362767"/>
                  </a:cubicBezTo>
                  <a:cubicBezTo>
                    <a:pt x="835130" y="1352813"/>
                    <a:pt x="843200" y="1344743"/>
                    <a:pt x="853154" y="1344743"/>
                  </a:cubicBezTo>
                  <a:close/>
                  <a:moveTo>
                    <a:pt x="4283800" y="1326718"/>
                  </a:moveTo>
                  <a:cubicBezTo>
                    <a:pt x="4293755" y="1326718"/>
                    <a:pt x="4301825" y="1334788"/>
                    <a:pt x="4301825" y="1344742"/>
                  </a:cubicBezTo>
                  <a:cubicBezTo>
                    <a:pt x="4301825" y="1354697"/>
                    <a:pt x="4293755" y="1362767"/>
                    <a:pt x="4283800" y="1362767"/>
                  </a:cubicBezTo>
                  <a:cubicBezTo>
                    <a:pt x="4273846" y="1362767"/>
                    <a:pt x="4265776" y="1354697"/>
                    <a:pt x="4265776" y="1344742"/>
                  </a:cubicBezTo>
                  <a:cubicBezTo>
                    <a:pt x="4265776" y="1334788"/>
                    <a:pt x="4273846" y="1326718"/>
                    <a:pt x="4283800" y="1326718"/>
                  </a:cubicBezTo>
                  <a:close/>
                  <a:moveTo>
                    <a:pt x="3815165" y="1326718"/>
                  </a:moveTo>
                  <a:cubicBezTo>
                    <a:pt x="3825120" y="1326718"/>
                    <a:pt x="3833190" y="1334788"/>
                    <a:pt x="3833190" y="1344742"/>
                  </a:cubicBezTo>
                  <a:cubicBezTo>
                    <a:pt x="3833190" y="1354697"/>
                    <a:pt x="3825120" y="1362767"/>
                    <a:pt x="3815165" y="1362767"/>
                  </a:cubicBezTo>
                  <a:cubicBezTo>
                    <a:pt x="3805210" y="1362767"/>
                    <a:pt x="3797141" y="1354697"/>
                    <a:pt x="3797141" y="1344742"/>
                  </a:cubicBezTo>
                  <a:cubicBezTo>
                    <a:pt x="3797141" y="1334788"/>
                    <a:pt x="3805210" y="1326718"/>
                    <a:pt x="3815165" y="1326718"/>
                  </a:cubicBezTo>
                  <a:close/>
                  <a:moveTo>
                    <a:pt x="2980034" y="1326718"/>
                  </a:moveTo>
                  <a:cubicBezTo>
                    <a:pt x="2989989" y="1326718"/>
                    <a:pt x="2998059" y="1334788"/>
                    <a:pt x="2998059" y="1344742"/>
                  </a:cubicBezTo>
                  <a:cubicBezTo>
                    <a:pt x="2998059" y="1354697"/>
                    <a:pt x="2989989" y="1362767"/>
                    <a:pt x="2980034" y="1362767"/>
                  </a:cubicBezTo>
                  <a:cubicBezTo>
                    <a:pt x="2970079" y="1362767"/>
                    <a:pt x="2962010" y="1354697"/>
                    <a:pt x="2962010" y="1344742"/>
                  </a:cubicBezTo>
                  <a:cubicBezTo>
                    <a:pt x="2962010" y="1334788"/>
                    <a:pt x="2970079" y="1326718"/>
                    <a:pt x="2980034" y="1326718"/>
                  </a:cubicBezTo>
                  <a:close/>
                  <a:moveTo>
                    <a:pt x="594806" y="1326718"/>
                  </a:moveTo>
                  <a:cubicBezTo>
                    <a:pt x="604760" y="1326718"/>
                    <a:pt x="612830" y="1334788"/>
                    <a:pt x="612830" y="1344742"/>
                  </a:cubicBezTo>
                  <a:cubicBezTo>
                    <a:pt x="612830" y="1354697"/>
                    <a:pt x="604760" y="1362767"/>
                    <a:pt x="594806" y="1362767"/>
                  </a:cubicBezTo>
                  <a:cubicBezTo>
                    <a:pt x="584851" y="1362767"/>
                    <a:pt x="576781" y="1354697"/>
                    <a:pt x="576781" y="1344742"/>
                  </a:cubicBezTo>
                  <a:cubicBezTo>
                    <a:pt x="576781" y="1334788"/>
                    <a:pt x="584851" y="1326718"/>
                    <a:pt x="594806" y="1326718"/>
                  </a:cubicBezTo>
                  <a:close/>
                  <a:moveTo>
                    <a:pt x="4836548" y="1314702"/>
                  </a:moveTo>
                  <a:cubicBezTo>
                    <a:pt x="4846503" y="1314702"/>
                    <a:pt x="4854573" y="1322772"/>
                    <a:pt x="4854573" y="1332726"/>
                  </a:cubicBezTo>
                  <a:cubicBezTo>
                    <a:pt x="4854573" y="1342681"/>
                    <a:pt x="4846503" y="1350751"/>
                    <a:pt x="4836548" y="1350751"/>
                  </a:cubicBezTo>
                  <a:cubicBezTo>
                    <a:pt x="4826593" y="1350751"/>
                    <a:pt x="4818524" y="1342681"/>
                    <a:pt x="4818524" y="1332726"/>
                  </a:cubicBezTo>
                  <a:cubicBezTo>
                    <a:pt x="4818524" y="1322772"/>
                    <a:pt x="4826593" y="1314702"/>
                    <a:pt x="4836548" y="1314702"/>
                  </a:cubicBezTo>
                  <a:close/>
                  <a:moveTo>
                    <a:pt x="4980743" y="1308694"/>
                  </a:moveTo>
                  <a:cubicBezTo>
                    <a:pt x="4990698" y="1308694"/>
                    <a:pt x="4998768" y="1316764"/>
                    <a:pt x="4998768" y="1326719"/>
                  </a:cubicBezTo>
                  <a:cubicBezTo>
                    <a:pt x="4998768" y="1336673"/>
                    <a:pt x="4990698" y="1344743"/>
                    <a:pt x="4980743" y="1344743"/>
                  </a:cubicBezTo>
                  <a:cubicBezTo>
                    <a:pt x="4970789" y="1344743"/>
                    <a:pt x="4962719" y="1336673"/>
                    <a:pt x="4962719" y="1326719"/>
                  </a:cubicBezTo>
                  <a:cubicBezTo>
                    <a:pt x="4962719" y="1316764"/>
                    <a:pt x="4970789" y="1308694"/>
                    <a:pt x="4980743" y="1308694"/>
                  </a:cubicBezTo>
                  <a:close/>
                  <a:moveTo>
                    <a:pt x="2871888" y="1302686"/>
                  </a:moveTo>
                  <a:cubicBezTo>
                    <a:pt x="2881843" y="1302686"/>
                    <a:pt x="2889913" y="1310755"/>
                    <a:pt x="2889913" y="1320710"/>
                  </a:cubicBezTo>
                  <a:cubicBezTo>
                    <a:pt x="2889913" y="1330665"/>
                    <a:pt x="2881843" y="1338735"/>
                    <a:pt x="2871888" y="1338735"/>
                  </a:cubicBezTo>
                  <a:cubicBezTo>
                    <a:pt x="2861934" y="1338735"/>
                    <a:pt x="2853864" y="1330665"/>
                    <a:pt x="2853864" y="1320710"/>
                  </a:cubicBezTo>
                  <a:cubicBezTo>
                    <a:pt x="2853864" y="1310755"/>
                    <a:pt x="2861934" y="1302686"/>
                    <a:pt x="2871888" y="1302686"/>
                  </a:cubicBezTo>
                  <a:close/>
                  <a:moveTo>
                    <a:pt x="2102847" y="1302686"/>
                  </a:moveTo>
                  <a:cubicBezTo>
                    <a:pt x="2112802" y="1302686"/>
                    <a:pt x="2120872" y="1310755"/>
                    <a:pt x="2120872" y="1320710"/>
                  </a:cubicBezTo>
                  <a:cubicBezTo>
                    <a:pt x="2120872" y="1330665"/>
                    <a:pt x="2112802" y="1338735"/>
                    <a:pt x="2102847" y="1338735"/>
                  </a:cubicBezTo>
                  <a:cubicBezTo>
                    <a:pt x="2092893" y="1338735"/>
                    <a:pt x="2084823" y="1330665"/>
                    <a:pt x="2084823" y="1320710"/>
                  </a:cubicBezTo>
                  <a:cubicBezTo>
                    <a:pt x="2084823" y="1310755"/>
                    <a:pt x="2092893" y="1302686"/>
                    <a:pt x="2102847" y="1302686"/>
                  </a:cubicBezTo>
                  <a:close/>
                  <a:moveTo>
                    <a:pt x="1273724" y="1302686"/>
                  </a:moveTo>
                  <a:cubicBezTo>
                    <a:pt x="1283679" y="1302686"/>
                    <a:pt x="1291749" y="1310755"/>
                    <a:pt x="1291749" y="1320710"/>
                  </a:cubicBezTo>
                  <a:cubicBezTo>
                    <a:pt x="1291749" y="1330665"/>
                    <a:pt x="1283679" y="1338735"/>
                    <a:pt x="1273724" y="1338735"/>
                  </a:cubicBezTo>
                  <a:cubicBezTo>
                    <a:pt x="1263770" y="1338735"/>
                    <a:pt x="1255700" y="1330665"/>
                    <a:pt x="1255700" y="1320710"/>
                  </a:cubicBezTo>
                  <a:cubicBezTo>
                    <a:pt x="1255700" y="1310755"/>
                    <a:pt x="1263770" y="1302686"/>
                    <a:pt x="1273724" y="1302686"/>
                  </a:cubicBezTo>
                  <a:close/>
                  <a:moveTo>
                    <a:pt x="1033398" y="1302686"/>
                  </a:moveTo>
                  <a:cubicBezTo>
                    <a:pt x="1043353" y="1302686"/>
                    <a:pt x="1051423" y="1310755"/>
                    <a:pt x="1051423" y="1320710"/>
                  </a:cubicBezTo>
                  <a:cubicBezTo>
                    <a:pt x="1051423" y="1330665"/>
                    <a:pt x="1043353" y="1338735"/>
                    <a:pt x="1033398" y="1338735"/>
                  </a:cubicBezTo>
                  <a:cubicBezTo>
                    <a:pt x="1023444" y="1338735"/>
                    <a:pt x="1015374" y="1330665"/>
                    <a:pt x="1015374" y="1320710"/>
                  </a:cubicBezTo>
                  <a:cubicBezTo>
                    <a:pt x="1015374" y="1310755"/>
                    <a:pt x="1023444" y="1302686"/>
                    <a:pt x="1033398" y="1302686"/>
                  </a:cubicBezTo>
                  <a:close/>
                  <a:moveTo>
                    <a:pt x="4548158" y="1296678"/>
                  </a:moveTo>
                  <a:cubicBezTo>
                    <a:pt x="4558113" y="1296678"/>
                    <a:pt x="4566183" y="1304748"/>
                    <a:pt x="4566183" y="1314702"/>
                  </a:cubicBezTo>
                  <a:cubicBezTo>
                    <a:pt x="4566183" y="1324657"/>
                    <a:pt x="4558113" y="1332727"/>
                    <a:pt x="4548158" y="1332727"/>
                  </a:cubicBezTo>
                  <a:cubicBezTo>
                    <a:pt x="4538203" y="1332727"/>
                    <a:pt x="4530133" y="1324657"/>
                    <a:pt x="4530133" y="1314702"/>
                  </a:cubicBezTo>
                  <a:cubicBezTo>
                    <a:pt x="4530133" y="1304748"/>
                    <a:pt x="4538203" y="1296678"/>
                    <a:pt x="4548158" y="1296678"/>
                  </a:cubicBezTo>
                  <a:close/>
                  <a:moveTo>
                    <a:pt x="3520767" y="1290670"/>
                  </a:moveTo>
                  <a:cubicBezTo>
                    <a:pt x="3530722" y="1290670"/>
                    <a:pt x="3538792" y="1298740"/>
                    <a:pt x="3538792" y="1308694"/>
                  </a:cubicBezTo>
                  <a:cubicBezTo>
                    <a:pt x="3538792" y="1318649"/>
                    <a:pt x="3530722" y="1326719"/>
                    <a:pt x="3520767" y="1326719"/>
                  </a:cubicBezTo>
                  <a:cubicBezTo>
                    <a:pt x="3510812" y="1326719"/>
                    <a:pt x="3502743" y="1318649"/>
                    <a:pt x="3502743" y="1308694"/>
                  </a:cubicBezTo>
                  <a:cubicBezTo>
                    <a:pt x="3502743" y="1298740"/>
                    <a:pt x="3510812" y="1290670"/>
                    <a:pt x="3520767" y="1290670"/>
                  </a:cubicBezTo>
                  <a:close/>
                  <a:moveTo>
                    <a:pt x="3244392" y="1290670"/>
                  </a:moveTo>
                  <a:cubicBezTo>
                    <a:pt x="3254347" y="1290670"/>
                    <a:pt x="3262417" y="1298740"/>
                    <a:pt x="3262417" y="1308694"/>
                  </a:cubicBezTo>
                  <a:cubicBezTo>
                    <a:pt x="3262417" y="1318649"/>
                    <a:pt x="3254347" y="1326719"/>
                    <a:pt x="3244392" y="1326719"/>
                  </a:cubicBezTo>
                  <a:cubicBezTo>
                    <a:pt x="3234437" y="1326719"/>
                    <a:pt x="3226368" y="1318649"/>
                    <a:pt x="3226368" y="1308694"/>
                  </a:cubicBezTo>
                  <a:cubicBezTo>
                    <a:pt x="3226368" y="1298740"/>
                    <a:pt x="3234437" y="1290670"/>
                    <a:pt x="3244392" y="1290670"/>
                  </a:cubicBezTo>
                  <a:close/>
                  <a:moveTo>
                    <a:pt x="757024" y="1290670"/>
                  </a:moveTo>
                  <a:cubicBezTo>
                    <a:pt x="766979" y="1290670"/>
                    <a:pt x="775049" y="1298740"/>
                    <a:pt x="775049" y="1308694"/>
                  </a:cubicBezTo>
                  <a:cubicBezTo>
                    <a:pt x="775049" y="1318649"/>
                    <a:pt x="766979" y="1326719"/>
                    <a:pt x="757024" y="1326719"/>
                  </a:cubicBezTo>
                  <a:cubicBezTo>
                    <a:pt x="747070" y="1326719"/>
                    <a:pt x="739000" y="1318649"/>
                    <a:pt x="739000" y="1308694"/>
                  </a:cubicBezTo>
                  <a:cubicBezTo>
                    <a:pt x="739000" y="1298740"/>
                    <a:pt x="747070" y="1290670"/>
                    <a:pt x="757024" y="1290670"/>
                  </a:cubicBezTo>
                  <a:close/>
                  <a:moveTo>
                    <a:pt x="4427995" y="1284661"/>
                  </a:moveTo>
                  <a:cubicBezTo>
                    <a:pt x="4437950" y="1284661"/>
                    <a:pt x="4446020" y="1292731"/>
                    <a:pt x="4446020" y="1302685"/>
                  </a:cubicBezTo>
                  <a:cubicBezTo>
                    <a:pt x="4446020" y="1312640"/>
                    <a:pt x="4437950" y="1320710"/>
                    <a:pt x="4427995" y="1320710"/>
                  </a:cubicBezTo>
                  <a:cubicBezTo>
                    <a:pt x="4418040" y="1320710"/>
                    <a:pt x="4409970" y="1312640"/>
                    <a:pt x="4409970" y="1302685"/>
                  </a:cubicBezTo>
                  <a:cubicBezTo>
                    <a:pt x="4409970" y="1292731"/>
                    <a:pt x="4418040" y="1284661"/>
                    <a:pt x="4427995" y="1284661"/>
                  </a:cubicBezTo>
                  <a:close/>
                  <a:moveTo>
                    <a:pt x="2763741" y="1278653"/>
                  </a:moveTo>
                  <a:cubicBezTo>
                    <a:pt x="2773696" y="1278653"/>
                    <a:pt x="2781766" y="1286723"/>
                    <a:pt x="2781766" y="1296678"/>
                  </a:cubicBezTo>
                  <a:cubicBezTo>
                    <a:pt x="2781766" y="1306632"/>
                    <a:pt x="2773696" y="1314702"/>
                    <a:pt x="2763741" y="1314702"/>
                  </a:cubicBezTo>
                  <a:cubicBezTo>
                    <a:pt x="2753786" y="1314702"/>
                    <a:pt x="2745717" y="1306632"/>
                    <a:pt x="2745717" y="1296678"/>
                  </a:cubicBezTo>
                  <a:cubicBezTo>
                    <a:pt x="2745717" y="1286723"/>
                    <a:pt x="2753786" y="1278653"/>
                    <a:pt x="2763741" y="1278653"/>
                  </a:cubicBezTo>
                  <a:close/>
                  <a:moveTo>
                    <a:pt x="2217002" y="1272645"/>
                  </a:moveTo>
                  <a:cubicBezTo>
                    <a:pt x="2226956" y="1272645"/>
                    <a:pt x="2235026" y="1280714"/>
                    <a:pt x="2235026" y="1290669"/>
                  </a:cubicBezTo>
                  <a:cubicBezTo>
                    <a:pt x="2235026" y="1300624"/>
                    <a:pt x="2226956" y="1308694"/>
                    <a:pt x="2217002" y="1308694"/>
                  </a:cubicBezTo>
                  <a:cubicBezTo>
                    <a:pt x="2207047" y="1308694"/>
                    <a:pt x="2198977" y="1300624"/>
                    <a:pt x="2198977" y="1290669"/>
                  </a:cubicBezTo>
                  <a:cubicBezTo>
                    <a:pt x="2198977" y="1280714"/>
                    <a:pt x="2207047" y="1272645"/>
                    <a:pt x="2217002" y="1272645"/>
                  </a:cubicBezTo>
                  <a:close/>
                  <a:moveTo>
                    <a:pt x="1874537" y="1272645"/>
                  </a:moveTo>
                  <a:cubicBezTo>
                    <a:pt x="1884492" y="1272645"/>
                    <a:pt x="1892562" y="1280714"/>
                    <a:pt x="1892562" y="1290669"/>
                  </a:cubicBezTo>
                  <a:cubicBezTo>
                    <a:pt x="1892562" y="1300624"/>
                    <a:pt x="1884492" y="1308694"/>
                    <a:pt x="1874537" y="1308694"/>
                  </a:cubicBezTo>
                  <a:cubicBezTo>
                    <a:pt x="1864583" y="1308694"/>
                    <a:pt x="1856513" y="1300624"/>
                    <a:pt x="1856513" y="1290669"/>
                  </a:cubicBezTo>
                  <a:cubicBezTo>
                    <a:pt x="1856513" y="1280714"/>
                    <a:pt x="1864583" y="1272645"/>
                    <a:pt x="1874537" y="1272645"/>
                  </a:cubicBezTo>
                  <a:close/>
                  <a:moveTo>
                    <a:pt x="3376571" y="1266637"/>
                  </a:moveTo>
                  <a:cubicBezTo>
                    <a:pt x="3386526" y="1266637"/>
                    <a:pt x="3394596" y="1274707"/>
                    <a:pt x="3394596" y="1284661"/>
                  </a:cubicBezTo>
                  <a:cubicBezTo>
                    <a:pt x="3394596" y="1294616"/>
                    <a:pt x="3386526" y="1302686"/>
                    <a:pt x="3376571" y="1302686"/>
                  </a:cubicBezTo>
                  <a:cubicBezTo>
                    <a:pt x="3366616" y="1302686"/>
                    <a:pt x="3358546" y="1294616"/>
                    <a:pt x="3358546" y="1284661"/>
                  </a:cubicBezTo>
                  <a:cubicBezTo>
                    <a:pt x="3358546" y="1274707"/>
                    <a:pt x="3366616" y="1266637"/>
                    <a:pt x="3376571" y="1266637"/>
                  </a:cubicBezTo>
                  <a:close/>
                  <a:moveTo>
                    <a:pt x="2643579" y="1266637"/>
                  </a:moveTo>
                  <a:cubicBezTo>
                    <a:pt x="2653534" y="1266637"/>
                    <a:pt x="2661604" y="1274707"/>
                    <a:pt x="2661604" y="1284661"/>
                  </a:cubicBezTo>
                  <a:cubicBezTo>
                    <a:pt x="2661604" y="1294616"/>
                    <a:pt x="2653534" y="1302686"/>
                    <a:pt x="2643579" y="1302686"/>
                  </a:cubicBezTo>
                  <a:cubicBezTo>
                    <a:pt x="2633624" y="1302686"/>
                    <a:pt x="2625555" y="1294616"/>
                    <a:pt x="2625555" y="1284661"/>
                  </a:cubicBezTo>
                  <a:cubicBezTo>
                    <a:pt x="2625555" y="1274707"/>
                    <a:pt x="2633624" y="1266637"/>
                    <a:pt x="2643579" y="1266637"/>
                  </a:cubicBezTo>
                  <a:close/>
                  <a:moveTo>
                    <a:pt x="1754375" y="1266637"/>
                  </a:moveTo>
                  <a:cubicBezTo>
                    <a:pt x="1764330" y="1266637"/>
                    <a:pt x="1772400" y="1274707"/>
                    <a:pt x="1772400" y="1284661"/>
                  </a:cubicBezTo>
                  <a:cubicBezTo>
                    <a:pt x="1772400" y="1294616"/>
                    <a:pt x="1764330" y="1302686"/>
                    <a:pt x="1754375" y="1302686"/>
                  </a:cubicBezTo>
                  <a:cubicBezTo>
                    <a:pt x="1744421" y="1302686"/>
                    <a:pt x="1736351" y="1294616"/>
                    <a:pt x="1736351" y="1284661"/>
                  </a:cubicBezTo>
                  <a:cubicBezTo>
                    <a:pt x="1736351" y="1274707"/>
                    <a:pt x="1744421" y="1266637"/>
                    <a:pt x="1754375" y="1266637"/>
                  </a:cubicBezTo>
                  <a:close/>
                  <a:moveTo>
                    <a:pt x="4740418" y="1260629"/>
                  </a:moveTo>
                  <a:cubicBezTo>
                    <a:pt x="4750373" y="1260629"/>
                    <a:pt x="4758443" y="1268699"/>
                    <a:pt x="4758443" y="1278653"/>
                  </a:cubicBezTo>
                  <a:cubicBezTo>
                    <a:pt x="4758443" y="1288608"/>
                    <a:pt x="4750373" y="1296678"/>
                    <a:pt x="4740418" y="1296678"/>
                  </a:cubicBezTo>
                  <a:cubicBezTo>
                    <a:pt x="4730464" y="1296678"/>
                    <a:pt x="4722394" y="1288608"/>
                    <a:pt x="4722394" y="1278653"/>
                  </a:cubicBezTo>
                  <a:cubicBezTo>
                    <a:pt x="4722394" y="1268699"/>
                    <a:pt x="4730464" y="1260629"/>
                    <a:pt x="4740418" y="1260629"/>
                  </a:cubicBezTo>
                  <a:close/>
                  <a:moveTo>
                    <a:pt x="4103556" y="1260629"/>
                  </a:moveTo>
                  <a:cubicBezTo>
                    <a:pt x="4113511" y="1260629"/>
                    <a:pt x="4121581" y="1268699"/>
                    <a:pt x="4121581" y="1278653"/>
                  </a:cubicBezTo>
                  <a:cubicBezTo>
                    <a:pt x="4121581" y="1288608"/>
                    <a:pt x="4113511" y="1296678"/>
                    <a:pt x="4103556" y="1296678"/>
                  </a:cubicBezTo>
                  <a:cubicBezTo>
                    <a:pt x="4093602" y="1296678"/>
                    <a:pt x="4085532" y="1288608"/>
                    <a:pt x="4085532" y="1278653"/>
                  </a:cubicBezTo>
                  <a:cubicBezTo>
                    <a:pt x="4085532" y="1268699"/>
                    <a:pt x="4093602" y="1260629"/>
                    <a:pt x="4103556" y="1260629"/>
                  </a:cubicBezTo>
                  <a:close/>
                  <a:moveTo>
                    <a:pt x="3725043" y="1260629"/>
                  </a:moveTo>
                  <a:cubicBezTo>
                    <a:pt x="3734998" y="1260629"/>
                    <a:pt x="3743068" y="1268699"/>
                    <a:pt x="3743068" y="1278653"/>
                  </a:cubicBezTo>
                  <a:cubicBezTo>
                    <a:pt x="3743068" y="1288608"/>
                    <a:pt x="3734998" y="1296678"/>
                    <a:pt x="3725043" y="1296678"/>
                  </a:cubicBezTo>
                  <a:cubicBezTo>
                    <a:pt x="3715088" y="1296678"/>
                    <a:pt x="3707019" y="1288608"/>
                    <a:pt x="3707019" y="1278653"/>
                  </a:cubicBezTo>
                  <a:cubicBezTo>
                    <a:pt x="3707019" y="1268699"/>
                    <a:pt x="3715088" y="1260629"/>
                    <a:pt x="3725043" y="1260629"/>
                  </a:cubicBezTo>
                  <a:close/>
                  <a:moveTo>
                    <a:pt x="1405904" y="1260629"/>
                  </a:moveTo>
                  <a:cubicBezTo>
                    <a:pt x="1415858" y="1260629"/>
                    <a:pt x="1423928" y="1268699"/>
                    <a:pt x="1423928" y="1278653"/>
                  </a:cubicBezTo>
                  <a:cubicBezTo>
                    <a:pt x="1423928" y="1288608"/>
                    <a:pt x="1415858" y="1296678"/>
                    <a:pt x="1405904" y="1296678"/>
                  </a:cubicBezTo>
                  <a:cubicBezTo>
                    <a:pt x="1395949" y="1296678"/>
                    <a:pt x="1387879" y="1288608"/>
                    <a:pt x="1387879" y="1278653"/>
                  </a:cubicBezTo>
                  <a:cubicBezTo>
                    <a:pt x="1387879" y="1268699"/>
                    <a:pt x="1395949" y="1260629"/>
                    <a:pt x="1405904" y="1260629"/>
                  </a:cubicBezTo>
                  <a:close/>
                  <a:moveTo>
                    <a:pt x="492666" y="1260629"/>
                  </a:moveTo>
                  <a:cubicBezTo>
                    <a:pt x="502621" y="1260629"/>
                    <a:pt x="510691" y="1268699"/>
                    <a:pt x="510691" y="1278653"/>
                  </a:cubicBezTo>
                  <a:cubicBezTo>
                    <a:pt x="510691" y="1288608"/>
                    <a:pt x="502621" y="1296678"/>
                    <a:pt x="492666" y="1296678"/>
                  </a:cubicBezTo>
                  <a:cubicBezTo>
                    <a:pt x="482712" y="1296678"/>
                    <a:pt x="474642" y="1288608"/>
                    <a:pt x="474642" y="1278653"/>
                  </a:cubicBezTo>
                  <a:cubicBezTo>
                    <a:pt x="474642" y="1268699"/>
                    <a:pt x="482712" y="1260629"/>
                    <a:pt x="492666" y="1260629"/>
                  </a:cubicBezTo>
                  <a:close/>
                  <a:moveTo>
                    <a:pt x="4229726" y="1248613"/>
                  </a:moveTo>
                  <a:cubicBezTo>
                    <a:pt x="4239681" y="1248613"/>
                    <a:pt x="4247751" y="1256683"/>
                    <a:pt x="4247751" y="1266638"/>
                  </a:cubicBezTo>
                  <a:cubicBezTo>
                    <a:pt x="4247751" y="1276592"/>
                    <a:pt x="4239681" y="1284662"/>
                    <a:pt x="4229726" y="1284662"/>
                  </a:cubicBezTo>
                  <a:cubicBezTo>
                    <a:pt x="4219772" y="1284662"/>
                    <a:pt x="4211702" y="1276592"/>
                    <a:pt x="4211702" y="1266638"/>
                  </a:cubicBezTo>
                  <a:cubicBezTo>
                    <a:pt x="4211702" y="1256683"/>
                    <a:pt x="4219772" y="1248613"/>
                    <a:pt x="4229726" y="1248613"/>
                  </a:cubicBezTo>
                  <a:close/>
                  <a:moveTo>
                    <a:pt x="2439302" y="1248613"/>
                  </a:moveTo>
                  <a:cubicBezTo>
                    <a:pt x="2449257" y="1248613"/>
                    <a:pt x="2457327" y="1256683"/>
                    <a:pt x="2457327" y="1266638"/>
                  </a:cubicBezTo>
                  <a:cubicBezTo>
                    <a:pt x="2457327" y="1276592"/>
                    <a:pt x="2449257" y="1284662"/>
                    <a:pt x="2439302" y="1284662"/>
                  </a:cubicBezTo>
                  <a:cubicBezTo>
                    <a:pt x="2429347" y="1284662"/>
                    <a:pt x="2421278" y="1276592"/>
                    <a:pt x="2421278" y="1266638"/>
                  </a:cubicBezTo>
                  <a:cubicBezTo>
                    <a:pt x="2421278" y="1256683"/>
                    <a:pt x="2429347" y="1248613"/>
                    <a:pt x="2439302" y="1248613"/>
                  </a:cubicBezTo>
                  <a:close/>
                  <a:moveTo>
                    <a:pt x="2337165" y="1248613"/>
                  </a:moveTo>
                  <a:cubicBezTo>
                    <a:pt x="2347119" y="1248613"/>
                    <a:pt x="2355189" y="1256683"/>
                    <a:pt x="2355189" y="1266638"/>
                  </a:cubicBezTo>
                  <a:cubicBezTo>
                    <a:pt x="2355189" y="1276592"/>
                    <a:pt x="2347119" y="1284662"/>
                    <a:pt x="2337165" y="1284662"/>
                  </a:cubicBezTo>
                  <a:cubicBezTo>
                    <a:pt x="2327210" y="1284662"/>
                    <a:pt x="2319140" y="1276592"/>
                    <a:pt x="2319140" y="1266638"/>
                  </a:cubicBezTo>
                  <a:cubicBezTo>
                    <a:pt x="2319140" y="1256683"/>
                    <a:pt x="2327210" y="1248613"/>
                    <a:pt x="2337165" y="1248613"/>
                  </a:cubicBezTo>
                  <a:close/>
                  <a:moveTo>
                    <a:pt x="2012725" y="1248613"/>
                  </a:moveTo>
                  <a:cubicBezTo>
                    <a:pt x="2022680" y="1248613"/>
                    <a:pt x="2030750" y="1256683"/>
                    <a:pt x="2030750" y="1266638"/>
                  </a:cubicBezTo>
                  <a:cubicBezTo>
                    <a:pt x="2030750" y="1276592"/>
                    <a:pt x="2022680" y="1284662"/>
                    <a:pt x="2012725" y="1284662"/>
                  </a:cubicBezTo>
                  <a:cubicBezTo>
                    <a:pt x="2002771" y="1284662"/>
                    <a:pt x="1994701" y="1276592"/>
                    <a:pt x="1994701" y="1266638"/>
                  </a:cubicBezTo>
                  <a:cubicBezTo>
                    <a:pt x="1994701" y="1256683"/>
                    <a:pt x="2002771" y="1248613"/>
                    <a:pt x="2012725" y="1248613"/>
                  </a:cubicBezTo>
                  <a:close/>
                  <a:moveTo>
                    <a:pt x="1165578" y="1248613"/>
                  </a:moveTo>
                  <a:cubicBezTo>
                    <a:pt x="1175532" y="1248613"/>
                    <a:pt x="1183602" y="1256683"/>
                    <a:pt x="1183602" y="1266638"/>
                  </a:cubicBezTo>
                  <a:cubicBezTo>
                    <a:pt x="1183602" y="1276592"/>
                    <a:pt x="1175532" y="1284662"/>
                    <a:pt x="1165578" y="1284662"/>
                  </a:cubicBezTo>
                  <a:cubicBezTo>
                    <a:pt x="1155623" y="1284662"/>
                    <a:pt x="1147553" y="1276592"/>
                    <a:pt x="1147553" y="1266638"/>
                  </a:cubicBezTo>
                  <a:cubicBezTo>
                    <a:pt x="1147553" y="1256683"/>
                    <a:pt x="1155623" y="1248613"/>
                    <a:pt x="1165578" y="1248613"/>
                  </a:cubicBezTo>
                  <a:close/>
                  <a:moveTo>
                    <a:pt x="3989401" y="1242605"/>
                  </a:moveTo>
                  <a:cubicBezTo>
                    <a:pt x="3999356" y="1242605"/>
                    <a:pt x="4007426" y="1250674"/>
                    <a:pt x="4007426" y="1260629"/>
                  </a:cubicBezTo>
                  <a:cubicBezTo>
                    <a:pt x="4007426" y="1270584"/>
                    <a:pt x="3999356" y="1278654"/>
                    <a:pt x="3989401" y="1278654"/>
                  </a:cubicBezTo>
                  <a:cubicBezTo>
                    <a:pt x="3979447" y="1278654"/>
                    <a:pt x="3971377" y="1270584"/>
                    <a:pt x="3971377" y="1260629"/>
                  </a:cubicBezTo>
                  <a:cubicBezTo>
                    <a:pt x="3971377" y="1250674"/>
                    <a:pt x="3979447" y="1242605"/>
                    <a:pt x="3989401" y="1242605"/>
                  </a:cubicBezTo>
                  <a:close/>
                  <a:moveTo>
                    <a:pt x="1514049" y="1242605"/>
                  </a:moveTo>
                  <a:cubicBezTo>
                    <a:pt x="1524004" y="1242605"/>
                    <a:pt x="1532074" y="1250674"/>
                    <a:pt x="1532074" y="1260629"/>
                  </a:cubicBezTo>
                  <a:cubicBezTo>
                    <a:pt x="1532074" y="1270584"/>
                    <a:pt x="1524004" y="1278654"/>
                    <a:pt x="1514049" y="1278654"/>
                  </a:cubicBezTo>
                  <a:cubicBezTo>
                    <a:pt x="1504095" y="1278654"/>
                    <a:pt x="1496025" y="1270584"/>
                    <a:pt x="1496025" y="1260629"/>
                  </a:cubicBezTo>
                  <a:cubicBezTo>
                    <a:pt x="1496025" y="1250674"/>
                    <a:pt x="1504095" y="1242605"/>
                    <a:pt x="1514049" y="1242605"/>
                  </a:cubicBezTo>
                  <a:close/>
                  <a:moveTo>
                    <a:pt x="3088181" y="1230588"/>
                  </a:moveTo>
                  <a:cubicBezTo>
                    <a:pt x="3098136" y="1230588"/>
                    <a:pt x="3106206" y="1238658"/>
                    <a:pt x="3106206" y="1248612"/>
                  </a:cubicBezTo>
                  <a:cubicBezTo>
                    <a:pt x="3106206" y="1258567"/>
                    <a:pt x="3098136" y="1266637"/>
                    <a:pt x="3088181" y="1266637"/>
                  </a:cubicBezTo>
                  <a:cubicBezTo>
                    <a:pt x="3078227" y="1266637"/>
                    <a:pt x="3070157" y="1258567"/>
                    <a:pt x="3070157" y="1248612"/>
                  </a:cubicBezTo>
                  <a:cubicBezTo>
                    <a:pt x="3070157" y="1238658"/>
                    <a:pt x="3078227" y="1230588"/>
                    <a:pt x="3088181" y="1230588"/>
                  </a:cubicBezTo>
                  <a:close/>
                  <a:moveTo>
                    <a:pt x="895212" y="1230588"/>
                  </a:moveTo>
                  <a:cubicBezTo>
                    <a:pt x="905166" y="1230588"/>
                    <a:pt x="913236" y="1238658"/>
                    <a:pt x="913236" y="1248612"/>
                  </a:cubicBezTo>
                  <a:cubicBezTo>
                    <a:pt x="913236" y="1258567"/>
                    <a:pt x="905166" y="1266637"/>
                    <a:pt x="895212" y="1266637"/>
                  </a:cubicBezTo>
                  <a:cubicBezTo>
                    <a:pt x="885257" y="1266637"/>
                    <a:pt x="877187" y="1258567"/>
                    <a:pt x="877187" y="1248612"/>
                  </a:cubicBezTo>
                  <a:cubicBezTo>
                    <a:pt x="877187" y="1238658"/>
                    <a:pt x="885257" y="1230588"/>
                    <a:pt x="895212" y="1230588"/>
                  </a:cubicBezTo>
                  <a:close/>
                  <a:moveTo>
                    <a:pt x="4626263" y="1224580"/>
                  </a:moveTo>
                  <a:cubicBezTo>
                    <a:pt x="4636218" y="1224580"/>
                    <a:pt x="4644288" y="1232650"/>
                    <a:pt x="4644288" y="1242604"/>
                  </a:cubicBezTo>
                  <a:cubicBezTo>
                    <a:pt x="4644288" y="1252559"/>
                    <a:pt x="4636218" y="1260629"/>
                    <a:pt x="4626263" y="1260629"/>
                  </a:cubicBezTo>
                  <a:cubicBezTo>
                    <a:pt x="4616308" y="1260629"/>
                    <a:pt x="4608239" y="1252559"/>
                    <a:pt x="4608239" y="1242604"/>
                  </a:cubicBezTo>
                  <a:cubicBezTo>
                    <a:pt x="4608239" y="1232650"/>
                    <a:pt x="4616308" y="1224580"/>
                    <a:pt x="4626263" y="1224580"/>
                  </a:cubicBezTo>
                  <a:close/>
                  <a:moveTo>
                    <a:pt x="2547449" y="1224580"/>
                  </a:moveTo>
                  <a:cubicBezTo>
                    <a:pt x="2557404" y="1224580"/>
                    <a:pt x="2565474" y="1232650"/>
                    <a:pt x="2565474" y="1242604"/>
                  </a:cubicBezTo>
                  <a:cubicBezTo>
                    <a:pt x="2565474" y="1252559"/>
                    <a:pt x="2557404" y="1260629"/>
                    <a:pt x="2547449" y="1260629"/>
                  </a:cubicBezTo>
                  <a:cubicBezTo>
                    <a:pt x="2537495" y="1260629"/>
                    <a:pt x="2529425" y="1252559"/>
                    <a:pt x="2529425" y="1242604"/>
                  </a:cubicBezTo>
                  <a:cubicBezTo>
                    <a:pt x="2529425" y="1232650"/>
                    <a:pt x="2537495" y="1224580"/>
                    <a:pt x="2547449" y="1224580"/>
                  </a:cubicBezTo>
                  <a:close/>
                  <a:moveTo>
                    <a:pt x="1628204" y="1224580"/>
                  </a:moveTo>
                  <a:cubicBezTo>
                    <a:pt x="1638159" y="1224580"/>
                    <a:pt x="1646229" y="1232650"/>
                    <a:pt x="1646229" y="1242604"/>
                  </a:cubicBezTo>
                  <a:cubicBezTo>
                    <a:pt x="1646229" y="1252559"/>
                    <a:pt x="1638159" y="1260629"/>
                    <a:pt x="1628204" y="1260629"/>
                  </a:cubicBezTo>
                  <a:cubicBezTo>
                    <a:pt x="1618250" y="1260629"/>
                    <a:pt x="1610180" y="1252559"/>
                    <a:pt x="1610180" y="1242604"/>
                  </a:cubicBezTo>
                  <a:cubicBezTo>
                    <a:pt x="1610180" y="1232650"/>
                    <a:pt x="1618250" y="1224580"/>
                    <a:pt x="1628204" y="1224580"/>
                  </a:cubicBezTo>
                  <a:close/>
                  <a:moveTo>
                    <a:pt x="5052841" y="1212564"/>
                  </a:moveTo>
                  <a:cubicBezTo>
                    <a:pt x="5062796" y="1212564"/>
                    <a:pt x="5070866" y="1220633"/>
                    <a:pt x="5070866" y="1230588"/>
                  </a:cubicBezTo>
                  <a:cubicBezTo>
                    <a:pt x="5070866" y="1240543"/>
                    <a:pt x="5062796" y="1248613"/>
                    <a:pt x="5052841" y="1248613"/>
                  </a:cubicBezTo>
                  <a:cubicBezTo>
                    <a:pt x="5042886" y="1248613"/>
                    <a:pt x="5034817" y="1240543"/>
                    <a:pt x="5034817" y="1230588"/>
                  </a:cubicBezTo>
                  <a:cubicBezTo>
                    <a:pt x="5034817" y="1220633"/>
                    <a:pt x="5042886" y="1212564"/>
                    <a:pt x="5052841" y="1212564"/>
                  </a:cubicBezTo>
                  <a:close/>
                  <a:moveTo>
                    <a:pt x="3845206" y="1206556"/>
                  </a:moveTo>
                  <a:cubicBezTo>
                    <a:pt x="3855161" y="1206556"/>
                    <a:pt x="3863231" y="1214626"/>
                    <a:pt x="3863231" y="1224580"/>
                  </a:cubicBezTo>
                  <a:cubicBezTo>
                    <a:pt x="3863231" y="1234535"/>
                    <a:pt x="3855161" y="1242605"/>
                    <a:pt x="3845206" y="1242605"/>
                  </a:cubicBezTo>
                  <a:cubicBezTo>
                    <a:pt x="3835251" y="1242605"/>
                    <a:pt x="3827182" y="1234535"/>
                    <a:pt x="3827182" y="1224580"/>
                  </a:cubicBezTo>
                  <a:cubicBezTo>
                    <a:pt x="3827182" y="1214626"/>
                    <a:pt x="3835251" y="1206556"/>
                    <a:pt x="3845206" y="1206556"/>
                  </a:cubicBezTo>
                  <a:close/>
                  <a:moveTo>
                    <a:pt x="3604880" y="1206556"/>
                  </a:moveTo>
                  <a:cubicBezTo>
                    <a:pt x="3614835" y="1206556"/>
                    <a:pt x="3622905" y="1214626"/>
                    <a:pt x="3622905" y="1224580"/>
                  </a:cubicBezTo>
                  <a:cubicBezTo>
                    <a:pt x="3622905" y="1234535"/>
                    <a:pt x="3614835" y="1242605"/>
                    <a:pt x="3604880" y="1242605"/>
                  </a:cubicBezTo>
                  <a:cubicBezTo>
                    <a:pt x="3594925" y="1242605"/>
                    <a:pt x="3586856" y="1234535"/>
                    <a:pt x="3586856" y="1224580"/>
                  </a:cubicBezTo>
                  <a:cubicBezTo>
                    <a:pt x="3586856" y="1214626"/>
                    <a:pt x="3594925" y="1206556"/>
                    <a:pt x="3604880" y="1206556"/>
                  </a:cubicBezTo>
                  <a:close/>
                  <a:moveTo>
                    <a:pt x="600813" y="1200548"/>
                  </a:moveTo>
                  <a:cubicBezTo>
                    <a:pt x="610768" y="1200548"/>
                    <a:pt x="618838" y="1208618"/>
                    <a:pt x="618838" y="1218572"/>
                  </a:cubicBezTo>
                  <a:cubicBezTo>
                    <a:pt x="618838" y="1228527"/>
                    <a:pt x="610768" y="1236597"/>
                    <a:pt x="600813" y="1236597"/>
                  </a:cubicBezTo>
                  <a:cubicBezTo>
                    <a:pt x="590859" y="1236597"/>
                    <a:pt x="582789" y="1228527"/>
                    <a:pt x="582789" y="1218572"/>
                  </a:cubicBezTo>
                  <a:cubicBezTo>
                    <a:pt x="582789" y="1208618"/>
                    <a:pt x="590859" y="1200548"/>
                    <a:pt x="600813" y="1200548"/>
                  </a:cubicBezTo>
                  <a:close/>
                  <a:moveTo>
                    <a:pt x="2949994" y="1194539"/>
                  </a:moveTo>
                  <a:cubicBezTo>
                    <a:pt x="2959949" y="1194539"/>
                    <a:pt x="2968019" y="1202609"/>
                    <a:pt x="2968019" y="1212563"/>
                  </a:cubicBezTo>
                  <a:cubicBezTo>
                    <a:pt x="2968019" y="1222518"/>
                    <a:pt x="2959949" y="1230588"/>
                    <a:pt x="2949994" y="1230588"/>
                  </a:cubicBezTo>
                  <a:cubicBezTo>
                    <a:pt x="2940039" y="1230588"/>
                    <a:pt x="2931970" y="1222518"/>
                    <a:pt x="2931970" y="1212563"/>
                  </a:cubicBezTo>
                  <a:cubicBezTo>
                    <a:pt x="2931970" y="1202609"/>
                    <a:pt x="2940039" y="1194539"/>
                    <a:pt x="2949994" y="1194539"/>
                  </a:cubicBezTo>
                  <a:close/>
                  <a:moveTo>
                    <a:pt x="1009366" y="1194539"/>
                  </a:moveTo>
                  <a:cubicBezTo>
                    <a:pt x="1019321" y="1194539"/>
                    <a:pt x="1027391" y="1202609"/>
                    <a:pt x="1027391" y="1212563"/>
                  </a:cubicBezTo>
                  <a:cubicBezTo>
                    <a:pt x="1027391" y="1222518"/>
                    <a:pt x="1019321" y="1230588"/>
                    <a:pt x="1009366" y="1230588"/>
                  </a:cubicBezTo>
                  <a:cubicBezTo>
                    <a:pt x="999412" y="1230588"/>
                    <a:pt x="991342" y="1222518"/>
                    <a:pt x="991342" y="1212563"/>
                  </a:cubicBezTo>
                  <a:cubicBezTo>
                    <a:pt x="991342" y="1202609"/>
                    <a:pt x="999412" y="1194539"/>
                    <a:pt x="1009366" y="1194539"/>
                  </a:cubicBezTo>
                  <a:close/>
                  <a:moveTo>
                    <a:pt x="4932678" y="1188531"/>
                  </a:moveTo>
                  <a:cubicBezTo>
                    <a:pt x="4942633" y="1188531"/>
                    <a:pt x="4950703" y="1196601"/>
                    <a:pt x="4950703" y="1206556"/>
                  </a:cubicBezTo>
                  <a:cubicBezTo>
                    <a:pt x="4950703" y="1216510"/>
                    <a:pt x="4942633" y="1224580"/>
                    <a:pt x="4932678" y="1224580"/>
                  </a:cubicBezTo>
                  <a:cubicBezTo>
                    <a:pt x="4922723" y="1224580"/>
                    <a:pt x="4914654" y="1216510"/>
                    <a:pt x="4914654" y="1206556"/>
                  </a:cubicBezTo>
                  <a:cubicBezTo>
                    <a:pt x="4914654" y="1196601"/>
                    <a:pt x="4922723" y="1188531"/>
                    <a:pt x="4932678" y="1188531"/>
                  </a:cubicBezTo>
                  <a:close/>
                  <a:moveTo>
                    <a:pt x="4361905" y="1188531"/>
                  </a:moveTo>
                  <a:cubicBezTo>
                    <a:pt x="4371860" y="1188531"/>
                    <a:pt x="4379930" y="1196601"/>
                    <a:pt x="4379930" y="1206556"/>
                  </a:cubicBezTo>
                  <a:cubicBezTo>
                    <a:pt x="4379930" y="1216510"/>
                    <a:pt x="4371860" y="1224580"/>
                    <a:pt x="4361905" y="1224580"/>
                  </a:cubicBezTo>
                  <a:cubicBezTo>
                    <a:pt x="4351950" y="1224580"/>
                    <a:pt x="4343881" y="1216510"/>
                    <a:pt x="4343881" y="1206556"/>
                  </a:cubicBezTo>
                  <a:cubicBezTo>
                    <a:pt x="4343881" y="1196601"/>
                    <a:pt x="4351950" y="1188531"/>
                    <a:pt x="4361905" y="1188531"/>
                  </a:cubicBezTo>
                  <a:close/>
                  <a:moveTo>
                    <a:pt x="3220360" y="1188531"/>
                  </a:moveTo>
                  <a:cubicBezTo>
                    <a:pt x="3230315" y="1188531"/>
                    <a:pt x="3238385" y="1196601"/>
                    <a:pt x="3238385" y="1206556"/>
                  </a:cubicBezTo>
                  <a:cubicBezTo>
                    <a:pt x="3238385" y="1216510"/>
                    <a:pt x="3230315" y="1224580"/>
                    <a:pt x="3220360" y="1224580"/>
                  </a:cubicBezTo>
                  <a:cubicBezTo>
                    <a:pt x="3210405" y="1224580"/>
                    <a:pt x="3202336" y="1216510"/>
                    <a:pt x="3202336" y="1206556"/>
                  </a:cubicBezTo>
                  <a:cubicBezTo>
                    <a:pt x="3202336" y="1196601"/>
                    <a:pt x="3210405" y="1188531"/>
                    <a:pt x="3220360" y="1188531"/>
                  </a:cubicBezTo>
                  <a:close/>
                  <a:moveTo>
                    <a:pt x="708959" y="1188531"/>
                  </a:moveTo>
                  <a:cubicBezTo>
                    <a:pt x="718914" y="1188531"/>
                    <a:pt x="726984" y="1196601"/>
                    <a:pt x="726984" y="1206556"/>
                  </a:cubicBezTo>
                  <a:cubicBezTo>
                    <a:pt x="726984" y="1216510"/>
                    <a:pt x="718914" y="1224580"/>
                    <a:pt x="708959" y="1224580"/>
                  </a:cubicBezTo>
                  <a:cubicBezTo>
                    <a:pt x="699005" y="1224580"/>
                    <a:pt x="690935" y="1216510"/>
                    <a:pt x="690935" y="1206556"/>
                  </a:cubicBezTo>
                  <a:cubicBezTo>
                    <a:pt x="690935" y="1196601"/>
                    <a:pt x="699005" y="1188531"/>
                    <a:pt x="708959" y="1188531"/>
                  </a:cubicBezTo>
                  <a:close/>
                  <a:moveTo>
                    <a:pt x="4824532" y="1182523"/>
                  </a:moveTo>
                  <a:cubicBezTo>
                    <a:pt x="4834487" y="1182523"/>
                    <a:pt x="4842557" y="1190592"/>
                    <a:pt x="4842557" y="1200547"/>
                  </a:cubicBezTo>
                  <a:cubicBezTo>
                    <a:pt x="4842557" y="1210502"/>
                    <a:pt x="4834487" y="1218572"/>
                    <a:pt x="4824532" y="1218572"/>
                  </a:cubicBezTo>
                  <a:cubicBezTo>
                    <a:pt x="4814578" y="1218572"/>
                    <a:pt x="4806508" y="1210502"/>
                    <a:pt x="4806508" y="1200547"/>
                  </a:cubicBezTo>
                  <a:cubicBezTo>
                    <a:pt x="4806508" y="1190592"/>
                    <a:pt x="4814578" y="1182523"/>
                    <a:pt x="4824532" y="1182523"/>
                  </a:cubicBezTo>
                  <a:close/>
                  <a:moveTo>
                    <a:pt x="1279732" y="1170507"/>
                  </a:moveTo>
                  <a:cubicBezTo>
                    <a:pt x="1289687" y="1170507"/>
                    <a:pt x="1297757" y="1178577"/>
                    <a:pt x="1297757" y="1188531"/>
                  </a:cubicBezTo>
                  <a:cubicBezTo>
                    <a:pt x="1297757" y="1198486"/>
                    <a:pt x="1289687" y="1206556"/>
                    <a:pt x="1279732" y="1206556"/>
                  </a:cubicBezTo>
                  <a:cubicBezTo>
                    <a:pt x="1269778" y="1206556"/>
                    <a:pt x="1261708" y="1198486"/>
                    <a:pt x="1261708" y="1188531"/>
                  </a:cubicBezTo>
                  <a:cubicBezTo>
                    <a:pt x="1261708" y="1178577"/>
                    <a:pt x="1269778" y="1170507"/>
                    <a:pt x="1279732" y="1170507"/>
                  </a:cubicBezTo>
                  <a:close/>
                  <a:moveTo>
                    <a:pt x="3478710" y="1164499"/>
                  </a:moveTo>
                  <a:cubicBezTo>
                    <a:pt x="3488665" y="1164499"/>
                    <a:pt x="3496735" y="1172569"/>
                    <a:pt x="3496735" y="1182523"/>
                  </a:cubicBezTo>
                  <a:cubicBezTo>
                    <a:pt x="3496735" y="1192478"/>
                    <a:pt x="3488665" y="1200548"/>
                    <a:pt x="3478710" y="1200548"/>
                  </a:cubicBezTo>
                  <a:cubicBezTo>
                    <a:pt x="3468756" y="1200548"/>
                    <a:pt x="3460686" y="1192478"/>
                    <a:pt x="3460686" y="1182523"/>
                  </a:cubicBezTo>
                  <a:cubicBezTo>
                    <a:pt x="3460686" y="1172569"/>
                    <a:pt x="3468756" y="1164499"/>
                    <a:pt x="3478710" y="1164499"/>
                  </a:cubicBezTo>
                  <a:close/>
                  <a:moveTo>
                    <a:pt x="2703660" y="1164499"/>
                  </a:moveTo>
                  <a:cubicBezTo>
                    <a:pt x="2713615" y="1164499"/>
                    <a:pt x="2721685" y="1172569"/>
                    <a:pt x="2721685" y="1182523"/>
                  </a:cubicBezTo>
                  <a:cubicBezTo>
                    <a:pt x="2721685" y="1192478"/>
                    <a:pt x="2713615" y="1200548"/>
                    <a:pt x="2703660" y="1200548"/>
                  </a:cubicBezTo>
                  <a:cubicBezTo>
                    <a:pt x="2693705" y="1200548"/>
                    <a:pt x="2685636" y="1192478"/>
                    <a:pt x="2685636" y="1182523"/>
                  </a:cubicBezTo>
                  <a:cubicBezTo>
                    <a:pt x="2685636" y="1172569"/>
                    <a:pt x="2693705" y="1164499"/>
                    <a:pt x="2703660" y="1164499"/>
                  </a:cubicBezTo>
                  <a:close/>
                  <a:moveTo>
                    <a:pt x="4500093" y="1158491"/>
                  </a:moveTo>
                  <a:cubicBezTo>
                    <a:pt x="4510048" y="1158491"/>
                    <a:pt x="4518118" y="1166561"/>
                    <a:pt x="4518118" y="1176516"/>
                  </a:cubicBezTo>
                  <a:cubicBezTo>
                    <a:pt x="4518118" y="1186470"/>
                    <a:pt x="4510048" y="1194540"/>
                    <a:pt x="4500093" y="1194540"/>
                  </a:cubicBezTo>
                  <a:cubicBezTo>
                    <a:pt x="4490139" y="1194540"/>
                    <a:pt x="4482069" y="1186470"/>
                    <a:pt x="4482069" y="1176516"/>
                  </a:cubicBezTo>
                  <a:cubicBezTo>
                    <a:pt x="4482069" y="1166561"/>
                    <a:pt x="4490139" y="1158491"/>
                    <a:pt x="4500093" y="1158491"/>
                  </a:cubicBezTo>
                  <a:close/>
                  <a:moveTo>
                    <a:pt x="4199686" y="1158491"/>
                  </a:moveTo>
                  <a:cubicBezTo>
                    <a:pt x="4209641" y="1158491"/>
                    <a:pt x="4217711" y="1166561"/>
                    <a:pt x="4217711" y="1176516"/>
                  </a:cubicBezTo>
                  <a:cubicBezTo>
                    <a:pt x="4217711" y="1186470"/>
                    <a:pt x="4209641" y="1194540"/>
                    <a:pt x="4199686" y="1194540"/>
                  </a:cubicBezTo>
                  <a:cubicBezTo>
                    <a:pt x="4189732" y="1194540"/>
                    <a:pt x="4181662" y="1186470"/>
                    <a:pt x="4181662" y="1176516"/>
                  </a:cubicBezTo>
                  <a:cubicBezTo>
                    <a:pt x="4181662" y="1166561"/>
                    <a:pt x="4189732" y="1158491"/>
                    <a:pt x="4199686" y="1158491"/>
                  </a:cubicBezTo>
                  <a:close/>
                  <a:moveTo>
                    <a:pt x="2132887" y="1158491"/>
                  </a:moveTo>
                  <a:cubicBezTo>
                    <a:pt x="2142842" y="1158491"/>
                    <a:pt x="2150912" y="1166561"/>
                    <a:pt x="2150912" y="1176516"/>
                  </a:cubicBezTo>
                  <a:cubicBezTo>
                    <a:pt x="2150912" y="1186470"/>
                    <a:pt x="2142842" y="1194540"/>
                    <a:pt x="2132887" y="1194540"/>
                  </a:cubicBezTo>
                  <a:cubicBezTo>
                    <a:pt x="2122933" y="1194540"/>
                    <a:pt x="2114863" y="1186470"/>
                    <a:pt x="2114863" y="1176516"/>
                  </a:cubicBezTo>
                  <a:cubicBezTo>
                    <a:pt x="2114863" y="1166561"/>
                    <a:pt x="2122933" y="1158491"/>
                    <a:pt x="2132887" y="1158491"/>
                  </a:cubicBezTo>
                  <a:close/>
                  <a:moveTo>
                    <a:pt x="1850505" y="1158491"/>
                  </a:moveTo>
                  <a:cubicBezTo>
                    <a:pt x="1860460" y="1158491"/>
                    <a:pt x="1868530" y="1166561"/>
                    <a:pt x="1868530" y="1176516"/>
                  </a:cubicBezTo>
                  <a:cubicBezTo>
                    <a:pt x="1868530" y="1186470"/>
                    <a:pt x="1860460" y="1194540"/>
                    <a:pt x="1850505" y="1194540"/>
                  </a:cubicBezTo>
                  <a:cubicBezTo>
                    <a:pt x="1840551" y="1194540"/>
                    <a:pt x="1832481" y="1186470"/>
                    <a:pt x="1832481" y="1176516"/>
                  </a:cubicBezTo>
                  <a:cubicBezTo>
                    <a:pt x="1832481" y="1166561"/>
                    <a:pt x="1840551" y="1158491"/>
                    <a:pt x="1850505" y="1158491"/>
                  </a:cubicBezTo>
                  <a:close/>
                  <a:moveTo>
                    <a:pt x="3340522" y="1152483"/>
                  </a:moveTo>
                  <a:cubicBezTo>
                    <a:pt x="3350477" y="1152483"/>
                    <a:pt x="3358547" y="1160552"/>
                    <a:pt x="3358547" y="1170507"/>
                  </a:cubicBezTo>
                  <a:cubicBezTo>
                    <a:pt x="3358547" y="1180462"/>
                    <a:pt x="3350477" y="1188532"/>
                    <a:pt x="3340522" y="1188532"/>
                  </a:cubicBezTo>
                  <a:cubicBezTo>
                    <a:pt x="3330567" y="1188532"/>
                    <a:pt x="3322498" y="1180462"/>
                    <a:pt x="3322498" y="1170507"/>
                  </a:cubicBezTo>
                  <a:cubicBezTo>
                    <a:pt x="3322498" y="1160552"/>
                    <a:pt x="3330567" y="1152483"/>
                    <a:pt x="3340522" y="1152483"/>
                  </a:cubicBezTo>
                  <a:close/>
                  <a:moveTo>
                    <a:pt x="2829831" y="1152483"/>
                  </a:moveTo>
                  <a:cubicBezTo>
                    <a:pt x="2839786" y="1152483"/>
                    <a:pt x="2847856" y="1160552"/>
                    <a:pt x="2847856" y="1170507"/>
                  </a:cubicBezTo>
                  <a:cubicBezTo>
                    <a:pt x="2847856" y="1180462"/>
                    <a:pt x="2839786" y="1188532"/>
                    <a:pt x="2829831" y="1188532"/>
                  </a:cubicBezTo>
                  <a:cubicBezTo>
                    <a:pt x="2819876" y="1188532"/>
                    <a:pt x="2811807" y="1180462"/>
                    <a:pt x="2811807" y="1170507"/>
                  </a:cubicBezTo>
                  <a:cubicBezTo>
                    <a:pt x="2811807" y="1160552"/>
                    <a:pt x="2819876" y="1152483"/>
                    <a:pt x="2829831" y="1152483"/>
                  </a:cubicBezTo>
                  <a:close/>
                  <a:moveTo>
                    <a:pt x="2253050" y="1152483"/>
                  </a:moveTo>
                  <a:cubicBezTo>
                    <a:pt x="2263005" y="1152483"/>
                    <a:pt x="2271075" y="1160552"/>
                    <a:pt x="2271075" y="1170507"/>
                  </a:cubicBezTo>
                  <a:cubicBezTo>
                    <a:pt x="2271075" y="1180462"/>
                    <a:pt x="2263005" y="1188532"/>
                    <a:pt x="2253050" y="1188532"/>
                  </a:cubicBezTo>
                  <a:cubicBezTo>
                    <a:pt x="2243096" y="1188532"/>
                    <a:pt x="2235026" y="1180462"/>
                    <a:pt x="2235026" y="1170507"/>
                  </a:cubicBezTo>
                  <a:cubicBezTo>
                    <a:pt x="2235026" y="1160552"/>
                    <a:pt x="2243096" y="1152483"/>
                    <a:pt x="2253050" y="1152483"/>
                  </a:cubicBezTo>
                  <a:close/>
                  <a:moveTo>
                    <a:pt x="1994700" y="1146474"/>
                  </a:moveTo>
                  <a:cubicBezTo>
                    <a:pt x="2004655" y="1146474"/>
                    <a:pt x="2012725" y="1154544"/>
                    <a:pt x="2012725" y="1164498"/>
                  </a:cubicBezTo>
                  <a:cubicBezTo>
                    <a:pt x="2012725" y="1174453"/>
                    <a:pt x="2004655" y="1182523"/>
                    <a:pt x="1994700" y="1182523"/>
                  </a:cubicBezTo>
                  <a:cubicBezTo>
                    <a:pt x="1984746" y="1182523"/>
                    <a:pt x="1976676" y="1174453"/>
                    <a:pt x="1976676" y="1164498"/>
                  </a:cubicBezTo>
                  <a:cubicBezTo>
                    <a:pt x="1976676" y="1154544"/>
                    <a:pt x="1984746" y="1146474"/>
                    <a:pt x="1994700" y="1146474"/>
                  </a:cubicBezTo>
                  <a:close/>
                  <a:moveTo>
                    <a:pt x="1718326" y="1146474"/>
                  </a:moveTo>
                  <a:cubicBezTo>
                    <a:pt x="1728281" y="1146474"/>
                    <a:pt x="1736351" y="1154544"/>
                    <a:pt x="1736351" y="1164498"/>
                  </a:cubicBezTo>
                  <a:cubicBezTo>
                    <a:pt x="1736351" y="1174453"/>
                    <a:pt x="1728281" y="1182523"/>
                    <a:pt x="1718326" y="1182523"/>
                  </a:cubicBezTo>
                  <a:cubicBezTo>
                    <a:pt x="1708372" y="1182523"/>
                    <a:pt x="1700302" y="1174453"/>
                    <a:pt x="1700302" y="1164498"/>
                  </a:cubicBezTo>
                  <a:cubicBezTo>
                    <a:pt x="1700302" y="1154544"/>
                    <a:pt x="1708372" y="1146474"/>
                    <a:pt x="1718326" y="1146474"/>
                  </a:cubicBezTo>
                  <a:close/>
                  <a:moveTo>
                    <a:pt x="1129529" y="1146474"/>
                  </a:moveTo>
                  <a:cubicBezTo>
                    <a:pt x="1139484" y="1146474"/>
                    <a:pt x="1147554" y="1154544"/>
                    <a:pt x="1147554" y="1164498"/>
                  </a:cubicBezTo>
                  <a:cubicBezTo>
                    <a:pt x="1147554" y="1174453"/>
                    <a:pt x="1139484" y="1182523"/>
                    <a:pt x="1129529" y="1182523"/>
                  </a:cubicBezTo>
                  <a:cubicBezTo>
                    <a:pt x="1119575" y="1182523"/>
                    <a:pt x="1111505" y="1174453"/>
                    <a:pt x="1111505" y="1164498"/>
                  </a:cubicBezTo>
                  <a:cubicBezTo>
                    <a:pt x="1111505" y="1154544"/>
                    <a:pt x="1119575" y="1146474"/>
                    <a:pt x="1129529" y="1146474"/>
                  </a:cubicBezTo>
                  <a:close/>
                  <a:moveTo>
                    <a:pt x="498674" y="1140466"/>
                  </a:moveTo>
                  <a:cubicBezTo>
                    <a:pt x="508629" y="1140466"/>
                    <a:pt x="516699" y="1148536"/>
                    <a:pt x="516699" y="1158490"/>
                  </a:cubicBezTo>
                  <a:cubicBezTo>
                    <a:pt x="516699" y="1168445"/>
                    <a:pt x="508629" y="1176515"/>
                    <a:pt x="498674" y="1176515"/>
                  </a:cubicBezTo>
                  <a:cubicBezTo>
                    <a:pt x="488720" y="1176515"/>
                    <a:pt x="480650" y="1168445"/>
                    <a:pt x="480650" y="1158490"/>
                  </a:cubicBezTo>
                  <a:cubicBezTo>
                    <a:pt x="480650" y="1148536"/>
                    <a:pt x="488720" y="1140466"/>
                    <a:pt x="498674" y="1140466"/>
                  </a:cubicBezTo>
                  <a:close/>
                  <a:moveTo>
                    <a:pt x="3707019" y="1134458"/>
                  </a:moveTo>
                  <a:cubicBezTo>
                    <a:pt x="3716974" y="1134458"/>
                    <a:pt x="3725044" y="1142528"/>
                    <a:pt x="3725044" y="1152482"/>
                  </a:cubicBezTo>
                  <a:cubicBezTo>
                    <a:pt x="3725044" y="1162437"/>
                    <a:pt x="3716974" y="1170507"/>
                    <a:pt x="3707019" y="1170507"/>
                  </a:cubicBezTo>
                  <a:cubicBezTo>
                    <a:pt x="3697064" y="1170507"/>
                    <a:pt x="3688994" y="1162437"/>
                    <a:pt x="3688994" y="1152482"/>
                  </a:cubicBezTo>
                  <a:cubicBezTo>
                    <a:pt x="3688994" y="1142528"/>
                    <a:pt x="3697064" y="1134458"/>
                    <a:pt x="3707019" y="1134458"/>
                  </a:cubicBezTo>
                  <a:close/>
                  <a:moveTo>
                    <a:pt x="799081" y="1134458"/>
                  </a:moveTo>
                  <a:cubicBezTo>
                    <a:pt x="809036" y="1134458"/>
                    <a:pt x="817106" y="1142528"/>
                    <a:pt x="817106" y="1152482"/>
                  </a:cubicBezTo>
                  <a:cubicBezTo>
                    <a:pt x="817106" y="1162437"/>
                    <a:pt x="809036" y="1170507"/>
                    <a:pt x="799081" y="1170507"/>
                  </a:cubicBezTo>
                  <a:cubicBezTo>
                    <a:pt x="789127" y="1170507"/>
                    <a:pt x="781057" y="1162437"/>
                    <a:pt x="781057" y="1152482"/>
                  </a:cubicBezTo>
                  <a:cubicBezTo>
                    <a:pt x="781057" y="1142528"/>
                    <a:pt x="789127" y="1134458"/>
                    <a:pt x="799081" y="1134458"/>
                  </a:cubicBezTo>
                  <a:close/>
                  <a:moveTo>
                    <a:pt x="384520" y="1134458"/>
                  </a:moveTo>
                  <a:cubicBezTo>
                    <a:pt x="394475" y="1134458"/>
                    <a:pt x="402545" y="1142528"/>
                    <a:pt x="402545" y="1152482"/>
                  </a:cubicBezTo>
                  <a:cubicBezTo>
                    <a:pt x="402545" y="1162437"/>
                    <a:pt x="394475" y="1170507"/>
                    <a:pt x="384520" y="1170507"/>
                  </a:cubicBezTo>
                  <a:cubicBezTo>
                    <a:pt x="374566" y="1170507"/>
                    <a:pt x="366496" y="1162437"/>
                    <a:pt x="366496" y="1152482"/>
                  </a:cubicBezTo>
                  <a:cubicBezTo>
                    <a:pt x="366496" y="1142528"/>
                    <a:pt x="374566" y="1134458"/>
                    <a:pt x="384520" y="1134458"/>
                  </a:cubicBezTo>
                  <a:close/>
                  <a:moveTo>
                    <a:pt x="3935328" y="1128450"/>
                  </a:moveTo>
                  <a:cubicBezTo>
                    <a:pt x="3945283" y="1128450"/>
                    <a:pt x="3953353" y="1136520"/>
                    <a:pt x="3953353" y="1146475"/>
                  </a:cubicBezTo>
                  <a:cubicBezTo>
                    <a:pt x="3953353" y="1156429"/>
                    <a:pt x="3945283" y="1164499"/>
                    <a:pt x="3935328" y="1164499"/>
                  </a:cubicBezTo>
                  <a:cubicBezTo>
                    <a:pt x="3925373" y="1164499"/>
                    <a:pt x="3917304" y="1156429"/>
                    <a:pt x="3917304" y="1146475"/>
                  </a:cubicBezTo>
                  <a:cubicBezTo>
                    <a:pt x="3917304" y="1136520"/>
                    <a:pt x="3925373" y="1128450"/>
                    <a:pt x="3935328" y="1128450"/>
                  </a:cubicBezTo>
                  <a:close/>
                  <a:moveTo>
                    <a:pt x="1514049" y="1128450"/>
                  </a:moveTo>
                  <a:cubicBezTo>
                    <a:pt x="1524004" y="1128450"/>
                    <a:pt x="1532074" y="1136520"/>
                    <a:pt x="1532074" y="1146475"/>
                  </a:cubicBezTo>
                  <a:cubicBezTo>
                    <a:pt x="1532074" y="1156429"/>
                    <a:pt x="1524004" y="1164499"/>
                    <a:pt x="1514049" y="1164499"/>
                  </a:cubicBezTo>
                  <a:cubicBezTo>
                    <a:pt x="1504095" y="1164499"/>
                    <a:pt x="1496025" y="1156429"/>
                    <a:pt x="1496025" y="1146475"/>
                  </a:cubicBezTo>
                  <a:cubicBezTo>
                    <a:pt x="1496025" y="1136520"/>
                    <a:pt x="1504095" y="1128450"/>
                    <a:pt x="1514049" y="1128450"/>
                  </a:cubicBezTo>
                  <a:close/>
                  <a:moveTo>
                    <a:pt x="4650296" y="1122442"/>
                  </a:moveTo>
                  <a:cubicBezTo>
                    <a:pt x="4660251" y="1122442"/>
                    <a:pt x="4668321" y="1130511"/>
                    <a:pt x="4668321" y="1140466"/>
                  </a:cubicBezTo>
                  <a:cubicBezTo>
                    <a:pt x="4668321" y="1150421"/>
                    <a:pt x="4660251" y="1158491"/>
                    <a:pt x="4650296" y="1158491"/>
                  </a:cubicBezTo>
                  <a:cubicBezTo>
                    <a:pt x="4640342" y="1158491"/>
                    <a:pt x="4632272" y="1150421"/>
                    <a:pt x="4632272" y="1140466"/>
                  </a:cubicBezTo>
                  <a:cubicBezTo>
                    <a:pt x="4632272" y="1130511"/>
                    <a:pt x="4640342" y="1122442"/>
                    <a:pt x="4650296" y="1122442"/>
                  </a:cubicBezTo>
                  <a:close/>
                  <a:moveTo>
                    <a:pt x="4073515" y="1122442"/>
                  </a:moveTo>
                  <a:cubicBezTo>
                    <a:pt x="4083470" y="1122442"/>
                    <a:pt x="4091540" y="1130511"/>
                    <a:pt x="4091540" y="1140466"/>
                  </a:cubicBezTo>
                  <a:cubicBezTo>
                    <a:pt x="4091540" y="1150421"/>
                    <a:pt x="4083470" y="1158491"/>
                    <a:pt x="4073515" y="1158491"/>
                  </a:cubicBezTo>
                  <a:cubicBezTo>
                    <a:pt x="4063561" y="1158491"/>
                    <a:pt x="4055491" y="1150421"/>
                    <a:pt x="4055491" y="1140466"/>
                  </a:cubicBezTo>
                  <a:cubicBezTo>
                    <a:pt x="4055491" y="1130511"/>
                    <a:pt x="4063561" y="1122442"/>
                    <a:pt x="4073515" y="1122442"/>
                  </a:cubicBezTo>
                  <a:close/>
                  <a:moveTo>
                    <a:pt x="2475351" y="1122442"/>
                  </a:moveTo>
                  <a:cubicBezTo>
                    <a:pt x="2485306" y="1122442"/>
                    <a:pt x="2493376" y="1130511"/>
                    <a:pt x="2493376" y="1140466"/>
                  </a:cubicBezTo>
                  <a:cubicBezTo>
                    <a:pt x="2493376" y="1150421"/>
                    <a:pt x="2485306" y="1158491"/>
                    <a:pt x="2475351" y="1158491"/>
                  </a:cubicBezTo>
                  <a:cubicBezTo>
                    <a:pt x="2465396" y="1158491"/>
                    <a:pt x="2457326" y="1150421"/>
                    <a:pt x="2457326" y="1140466"/>
                  </a:cubicBezTo>
                  <a:cubicBezTo>
                    <a:pt x="2457326" y="1130511"/>
                    <a:pt x="2465396" y="1122442"/>
                    <a:pt x="2475351" y="1122442"/>
                  </a:cubicBezTo>
                  <a:close/>
                  <a:moveTo>
                    <a:pt x="1393887" y="1122442"/>
                  </a:moveTo>
                  <a:cubicBezTo>
                    <a:pt x="1403842" y="1122442"/>
                    <a:pt x="1411912" y="1130511"/>
                    <a:pt x="1411912" y="1140466"/>
                  </a:cubicBezTo>
                  <a:cubicBezTo>
                    <a:pt x="1411912" y="1150421"/>
                    <a:pt x="1403842" y="1158491"/>
                    <a:pt x="1393887" y="1158491"/>
                  </a:cubicBezTo>
                  <a:cubicBezTo>
                    <a:pt x="1383933" y="1158491"/>
                    <a:pt x="1375863" y="1150421"/>
                    <a:pt x="1375863" y="1140466"/>
                  </a:cubicBezTo>
                  <a:cubicBezTo>
                    <a:pt x="1375863" y="1130511"/>
                    <a:pt x="1383933" y="1122442"/>
                    <a:pt x="1393887" y="1122442"/>
                  </a:cubicBezTo>
                  <a:close/>
                  <a:moveTo>
                    <a:pt x="3058140" y="1116434"/>
                  </a:moveTo>
                  <a:cubicBezTo>
                    <a:pt x="3068095" y="1116434"/>
                    <a:pt x="3076165" y="1124504"/>
                    <a:pt x="3076165" y="1134458"/>
                  </a:cubicBezTo>
                  <a:cubicBezTo>
                    <a:pt x="3076165" y="1144413"/>
                    <a:pt x="3068095" y="1152483"/>
                    <a:pt x="3058140" y="1152483"/>
                  </a:cubicBezTo>
                  <a:cubicBezTo>
                    <a:pt x="3048186" y="1152483"/>
                    <a:pt x="3040116" y="1144413"/>
                    <a:pt x="3040116" y="1134458"/>
                  </a:cubicBezTo>
                  <a:cubicBezTo>
                    <a:pt x="3040116" y="1124504"/>
                    <a:pt x="3048186" y="1116434"/>
                    <a:pt x="3058140" y="1116434"/>
                  </a:cubicBezTo>
                  <a:close/>
                  <a:moveTo>
                    <a:pt x="4800499" y="1092401"/>
                  </a:moveTo>
                  <a:cubicBezTo>
                    <a:pt x="4810454" y="1092401"/>
                    <a:pt x="4818524" y="1100470"/>
                    <a:pt x="4818524" y="1110425"/>
                  </a:cubicBezTo>
                  <a:cubicBezTo>
                    <a:pt x="4818524" y="1120380"/>
                    <a:pt x="4810454" y="1128450"/>
                    <a:pt x="4800499" y="1128450"/>
                  </a:cubicBezTo>
                  <a:cubicBezTo>
                    <a:pt x="4790545" y="1128450"/>
                    <a:pt x="4782475" y="1120380"/>
                    <a:pt x="4782475" y="1110425"/>
                  </a:cubicBezTo>
                  <a:cubicBezTo>
                    <a:pt x="4782475" y="1100470"/>
                    <a:pt x="4790545" y="1092401"/>
                    <a:pt x="4800499" y="1092401"/>
                  </a:cubicBezTo>
                  <a:close/>
                  <a:moveTo>
                    <a:pt x="2349180" y="1092401"/>
                  </a:moveTo>
                  <a:cubicBezTo>
                    <a:pt x="2359135" y="1092401"/>
                    <a:pt x="2367205" y="1100470"/>
                    <a:pt x="2367205" y="1110425"/>
                  </a:cubicBezTo>
                  <a:cubicBezTo>
                    <a:pt x="2367205" y="1120380"/>
                    <a:pt x="2359135" y="1128450"/>
                    <a:pt x="2349180" y="1128450"/>
                  </a:cubicBezTo>
                  <a:cubicBezTo>
                    <a:pt x="2339226" y="1128450"/>
                    <a:pt x="2331156" y="1120380"/>
                    <a:pt x="2331156" y="1110425"/>
                  </a:cubicBezTo>
                  <a:cubicBezTo>
                    <a:pt x="2331156" y="1100470"/>
                    <a:pt x="2339226" y="1092401"/>
                    <a:pt x="2349180" y="1092401"/>
                  </a:cubicBezTo>
                  <a:close/>
                  <a:moveTo>
                    <a:pt x="931260" y="1092401"/>
                  </a:moveTo>
                  <a:cubicBezTo>
                    <a:pt x="941215" y="1092401"/>
                    <a:pt x="949285" y="1100470"/>
                    <a:pt x="949285" y="1110425"/>
                  </a:cubicBezTo>
                  <a:cubicBezTo>
                    <a:pt x="949285" y="1120380"/>
                    <a:pt x="941215" y="1128450"/>
                    <a:pt x="931260" y="1128450"/>
                  </a:cubicBezTo>
                  <a:cubicBezTo>
                    <a:pt x="921306" y="1128450"/>
                    <a:pt x="913236" y="1120380"/>
                    <a:pt x="913236" y="1110425"/>
                  </a:cubicBezTo>
                  <a:cubicBezTo>
                    <a:pt x="913236" y="1100470"/>
                    <a:pt x="921306" y="1092401"/>
                    <a:pt x="931260" y="1092401"/>
                  </a:cubicBezTo>
                  <a:close/>
                  <a:moveTo>
                    <a:pt x="4986752" y="1086393"/>
                  </a:moveTo>
                  <a:cubicBezTo>
                    <a:pt x="4996707" y="1086393"/>
                    <a:pt x="5004777" y="1094463"/>
                    <a:pt x="5004777" y="1104417"/>
                  </a:cubicBezTo>
                  <a:cubicBezTo>
                    <a:pt x="5004777" y="1114372"/>
                    <a:pt x="4996707" y="1122442"/>
                    <a:pt x="4986752" y="1122442"/>
                  </a:cubicBezTo>
                  <a:cubicBezTo>
                    <a:pt x="4976797" y="1122442"/>
                    <a:pt x="4968728" y="1114372"/>
                    <a:pt x="4968728" y="1104417"/>
                  </a:cubicBezTo>
                  <a:cubicBezTo>
                    <a:pt x="4968728" y="1094463"/>
                    <a:pt x="4976797" y="1086393"/>
                    <a:pt x="4986752" y="1086393"/>
                  </a:cubicBezTo>
                  <a:close/>
                  <a:moveTo>
                    <a:pt x="3815165" y="1086393"/>
                  </a:moveTo>
                  <a:cubicBezTo>
                    <a:pt x="3825120" y="1086393"/>
                    <a:pt x="3833190" y="1094463"/>
                    <a:pt x="3833190" y="1104417"/>
                  </a:cubicBezTo>
                  <a:cubicBezTo>
                    <a:pt x="3833190" y="1114372"/>
                    <a:pt x="3825120" y="1122442"/>
                    <a:pt x="3815165" y="1122442"/>
                  </a:cubicBezTo>
                  <a:cubicBezTo>
                    <a:pt x="3805210" y="1122442"/>
                    <a:pt x="3797141" y="1114372"/>
                    <a:pt x="3797141" y="1104417"/>
                  </a:cubicBezTo>
                  <a:cubicBezTo>
                    <a:pt x="3797141" y="1094463"/>
                    <a:pt x="3805210" y="1086393"/>
                    <a:pt x="3815165" y="1086393"/>
                  </a:cubicBezTo>
                  <a:close/>
                  <a:moveTo>
                    <a:pt x="3586856" y="1086393"/>
                  </a:moveTo>
                  <a:cubicBezTo>
                    <a:pt x="3596811" y="1086393"/>
                    <a:pt x="3604881" y="1094463"/>
                    <a:pt x="3604881" y="1104417"/>
                  </a:cubicBezTo>
                  <a:cubicBezTo>
                    <a:pt x="3604881" y="1114372"/>
                    <a:pt x="3596811" y="1122442"/>
                    <a:pt x="3586856" y="1122442"/>
                  </a:cubicBezTo>
                  <a:cubicBezTo>
                    <a:pt x="3576901" y="1122442"/>
                    <a:pt x="3568831" y="1114372"/>
                    <a:pt x="3568831" y="1104417"/>
                  </a:cubicBezTo>
                  <a:cubicBezTo>
                    <a:pt x="3568831" y="1094463"/>
                    <a:pt x="3576901" y="1086393"/>
                    <a:pt x="3586856" y="1086393"/>
                  </a:cubicBezTo>
                  <a:close/>
                  <a:moveTo>
                    <a:pt x="3166287" y="1086393"/>
                  </a:moveTo>
                  <a:cubicBezTo>
                    <a:pt x="3176242" y="1086393"/>
                    <a:pt x="3184312" y="1094463"/>
                    <a:pt x="3184312" y="1104417"/>
                  </a:cubicBezTo>
                  <a:cubicBezTo>
                    <a:pt x="3184312" y="1114372"/>
                    <a:pt x="3176242" y="1122442"/>
                    <a:pt x="3166287" y="1122442"/>
                  </a:cubicBezTo>
                  <a:cubicBezTo>
                    <a:pt x="3156332" y="1122442"/>
                    <a:pt x="3148262" y="1114372"/>
                    <a:pt x="3148262" y="1104417"/>
                  </a:cubicBezTo>
                  <a:cubicBezTo>
                    <a:pt x="3148262" y="1094463"/>
                    <a:pt x="3156332" y="1086393"/>
                    <a:pt x="3166287" y="1086393"/>
                  </a:cubicBezTo>
                  <a:close/>
                  <a:moveTo>
                    <a:pt x="2595514" y="1086393"/>
                  </a:moveTo>
                  <a:cubicBezTo>
                    <a:pt x="2605469" y="1086393"/>
                    <a:pt x="2613539" y="1094463"/>
                    <a:pt x="2613539" y="1104417"/>
                  </a:cubicBezTo>
                  <a:cubicBezTo>
                    <a:pt x="2613539" y="1114372"/>
                    <a:pt x="2605469" y="1122442"/>
                    <a:pt x="2595514" y="1122442"/>
                  </a:cubicBezTo>
                  <a:cubicBezTo>
                    <a:pt x="2585559" y="1122442"/>
                    <a:pt x="2577489" y="1114372"/>
                    <a:pt x="2577489" y="1104417"/>
                  </a:cubicBezTo>
                  <a:cubicBezTo>
                    <a:pt x="2577489" y="1094463"/>
                    <a:pt x="2585559" y="1086393"/>
                    <a:pt x="2595514" y="1086393"/>
                  </a:cubicBezTo>
                  <a:close/>
                  <a:moveTo>
                    <a:pt x="1628204" y="1074377"/>
                  </a:moveTo>
                  <a:cubicBezTo>
                    <a:pt x="1638159" y="1074377"/>
                    <a:pt x="1646229" y="1082447"/>
                    <a:pt x="1646229" y="1092401"/>
                  </a:cubicBezTo>
                  <a:cubicBezTo>
                    <a:pt x="1646229" y="1102356"/>
                    <a:pt x="1638159" y="1110426"/>
                    <a:pt x="1628204" y="1110426"/>
                  </a:cubicBezTo>
                  <a:cubicBezTo>
                    <a:pt x="1618250" y="1110426"/>
                    <a:pt x="1610180" y="1102356"/>
                    <a:pt x="1610180" y="1092401"/>
                  </a:cubicBezTo>
                  <a:cubicBezTo>
                    <a:pt x="1610180" y="1082447"/>
                    <a:pt x="1618250" y="1074377"/>
                    <a:pt x="1628204" y="1074377"/>
                  </a:cubicBezTo>
                  <a:close/>
                  <a:moveTo>
                    <a:pt x="642870" y="1074377"/>
                  </a:moveTo>
                  <a:cubicBezTo>
                    <a:pt x="652825" y="1074377"/>
                    <a:pt x="660895" y="1082447"/>
                    <a:pt x="660895" y="1092401"/>
                  </a:cubicBezTo>
                  <a:cubicBezTo>
                    <a:pt x="660895" y="1102356"/>
                    <a:pt x="652825" y="1110426"/>
                    <a:pt x="642870" y="1110426"/>
                  </a:cubicBezTo>
                  <a:cubicBezTo>
                    <a:pt x="632916" y="1110426"/>
                    <a:pt x="624846" y="1102356"/>
                    <a:pt x="624846" y="1092401"/>
                  </a:cubicBezTo>
                  <a:cubicBezTo>
                    <a:pt x="624846" y="1082447"/>
                    <a:pt x="632916" y="1074377"/>
                    <a:pt x="642870" y="1074377"/>
                  </a:cubicBezTo>
                  <a:close/>
                  <a:moveTo>
                    <a:pt x="2925961" y="1068369"/>
                  </a:moveTo>
                  <a:cubicBezTo>
                    <a:pt x="2935916" y="1068369"/>
                    <a:pt x="2943986" y="1076439"/>
                    <a:pt x="2943986" y="1086394"/>
                  </a:cubicBezTo>
                  <a:cubicBezTo>
                    <a:pt x="2943986" y="1096348"/>
                    <a:pt x="2935916" y="1104418"/>
                    <a:pt x="2925961" y="1104418"/>
                  </a:cubicBezTo>
                  <a:cubicBezTo>
                    <a:pt x="2916006" y="1104418"/>
                    <a:pt x="2907936" y="1096348"/>
                    <a:pt x="2907936" y="1086394"/>
                  </a:cubicBezTo>
                  <a:cubicBezTo>
                    <a:pt x="2907936" y="1076439"/>
                    <a:pt x="2916006" y="1068369"/>
                    <a:pt x="2925961" y="1068369"/>
                  </a:cubicBezTo>
                  <a:close/>
                  <a:moveTo>
                    <a:pt x="3424636" y="1062360"/>
                  </a:moveTo>
                  <a:cubicBezTo>
                    <a:pt x="3434591" y="1062360"/>
                    <a:pt x="3442661" y="1070429"/>
                    <a:pt x="3442661" y="1080384"/>
                  </a:cubicBezTo>
                  <a:cubicBezTo>
                    <a:pt x="3442661" y="1090339"/>
                    <a:pt x="3434591" y="1098409"/>
                    <a:pt x="3424636" y="1098409"/>
                  </a:cubicBezTo>
                  <a:cubicBezTo>
                    <a:pt x="3414681" y="1098409"/>
                    <a:pt x="3406612" y="1090339"/>
                    <a:pt x="3406612" y="1080384"/>
                  </a:cubicBezTo>
                  <a:cubicBezTo>
                    <a:pt x="3406612" y="1070429"/>
                    <a:pt x="3414681" y="1062360"/>
                    <a:pt x="3424636" y="1062360"/>
                  </a:cubicBezTo>
                  <a:close/>
                  <a:moveTo>
                    <a:pt x="1249691" y="1062360"/>
                  </a:moveTo>
                  <a:cubicBezTo>
                    <a:pt x="1259646" y="1062360"/>
                    <a:pt x="1267716" y="1070429"/>
                    <a:pt x="1267716" y="1080384"/>
                  </a:cubicBezTo>
                  <a:cubicBezTo>
                    <a:pt x="1267716" y="1090339"/>
                    <a:pt x="1259646" y="1098409"/>
                    <a:pt x="1249691" y="1098409"/>
                  </a:cubicBezTo>
                  <a:cubicBezTo>
                    <a:pt x="1239737" y="1098409"/>
                    <a:pt x="1231667" y="1090339"/>
                    <a:pt x="1231667" y="1080384"/>
                  </a:cubicBezTo>
                  <a:cubicBezTo>
                    <a:pt x="1231667" y="1070429"/>
                    <a:pt x="1239737" y="1062360"/>
                    <a:pt x="1249691" y="1062360"/>
                  </a:cubicBezTo>
                  <a:close/>
                  <a:moveTo>
                    <a:pt x="1075456" y="1062360"/>
                  </a:moveTo>
                  <a:cubicBezTo>
                    <a:pt x="1085410" y="1062360"/>
                    <a:pt x="1093480" y="1070429"/>
                    <a:pt x="1093480" y="1080384"/>
                  </a:cubicBezTo>
                  <a:cubicBezTo>
                    <a:pt x="1093480" y="1090339"/>
                    <a:pt x="1085410" y="1098409"/>
                    <a:pt x="1075456" y="1098409"/>
                  </a:cubicBezTo>
                  <a:cubicBezTo>
                    <a:pt x="1065501" y="1098409"/>
                    <a:pt x="1057431" y="1090339"/>
                    <a:pt x="1057431" y="1080384"/>
                  </a:cubicBezTo>
                  <a:cubicBezTo>
                    <a:pt x="1057431" y="1070429"/>
                    <a:pt x="1065501" y="1062360"/>
                    <a:pt x="1075456" y="1062360"/>
                  </a:cubicBezTo>
                  <a:close/>
                  <a:moveTo>
                    <a:pt x="1928611" y="1056352"/>
                  </a:moveTo>
                  <a:cubicBezTo>
                    <a:pt x="1938566" y="1056352"/>
                    <a:pt x="1946636" y="1064422"/>
                    <a:pt x="1946636" y="1074376"/>
                  </a:cubicBezTo>
                  <a:cubicBezTo>
                    <a:pt x="1946636" y="1084331"/>
                    <a:pt x="1938566" y="1092401"/>
                    <a:pt x="1928611" y="1092401"/>
                  </a:cubicBezTo>
                  <a:cubicBezTo>
                    <a:pt x="1918657" y="1092401"/>
                    <a:pt x="1910587" y="1084331"/>
                    <a:pt x="1910587" y="1074376"/>
                  </a:cubicBezTo>
                  <a:cubicBezTo>
                    <a:pt x="1910587" y="1064422"/>
                    <a:pt x="1918657" y="1056352"/>
                    <a:pt x="1928611" y="1056352"/>
                  </a:cubicBezTo>
                  <a:close/>
                  <a:moveTo>
                    <a:pt x="2709668" y="1044336"/>
                  </a:moveTo>
                  <a:cubicBezTo>
                    <a:pt x="2719623" y="1044336"/>
                    <a:pt x="2727693" y="1052406"/>
                    <a:pt x="2727693" y="1062360"/>
                  </a:cubicBezTo>
                  <a:cubicBezTo>
                    <a:pt x="2727693" y="1072315"/>
                    <a:pt x="2719623" y="1080385"/>
                    <a:pt x="2709668" y="1080385"/>
                  </a:cubicBezTo>
                  <a:cubicBezTo>
                    <a:pt x="2699713" y="1080385"/>
                    <a:pt x="2691644" y="1072315"/>
                    <a:pt x="2691644" y="1062360"/>
                  </a:cubicBezTo>
                  <a:cubicBezTo>
                    <a:pt x="2691644" y="1052406"/>
                    <a:pt x="2699713" y="1044336"/>
                    <a:pt x="2709668" y="1044336"/>
                  </a:cubicBezTo>
                  <a:close/>
                  <a:moveTo>
                    <a:pt x="1784415" y="1044336"/>
                  </a:moveTo>
                  <a:cubicBezTo>
                    <a:pt x="1794370" y="1044336"/>
                    <a:pt x="1802440" y="1052406"/>
                    <a:pt x="1802440" y="1062360"/>
                  </a:cubicBezTo>
                  <a:cubicBezTo>
                    <a:pt x="1802440" y="1072315"/>
                    <a:pt x="1794370" y="1080385"/>
                    <a:pt x="1784415" y="1080385"/>
                  </a:cubicBezTo>
                  <a:cubicBezTo>
                    <a:pt x="1774461" y="1080385"/>
                    <a:pt x="1766391" y="1072315"/>
                    <a:pt x="1766391" y="1062360"/>
                  </a:cubicBezTo>
                  <a:cubicBezTo>
                    <a:pt x="1766391" y="1052406"/>
                    <a:pt x="1774461" y="1044336"/>
                    <a:pt x="1784415" y="1044336"/>
                  </a:cubicBezTo>
                  <a:close/>
                  <a:moveTo>
                    <a:pt x="3292457" y="1038328"/>
                  </a:moveTo>
                  <a:cubicBezTo>
                    <a:pt x="3302412" y="1038328"/>
                    <a:pt x="3310482" y="1046398"/>
                    <a:pt x="3310482" y="1056353"/>
                  </a:cubicBezTo>
                  <a:cubicBezTo>
                    <a:pt x="3310482" y="1066307"/>
                    <a:pt x="3302412" y="1074377"/>
                    <a:pt x="3292457" y="1074377"/>
                  </a:cubicBezTo>
                  <a:cubicBezTo>
                    <a:pt x="3282503" y="1074377"/>
                    <a:pt x="3274433" y="1066307"/>
                    <a:pt x="3274433" y="1056353"/>
                  </a:cubicBezTo>
                  <a:cubicBezTo>
                    <a:pt x="3274433" y="1046398"/>
                    <a:pt x="3282503" y="1038328"/>
                    <a:pt x="3292457" y="1038328"/>
                  </a:cubicBezTo>
                  <a:close/>
                  <a:moveTo>
                    <a:pt x="2198977" y="1038328"/>
                  </a:moveTo>
                  <a:cubicBezTo>
                    <a:pt x="2208932" y="1038328"/>
                    <a:pt x="2217002" y="1046398"/>
                    <a:pt x="2217002" y="1056353"/>
                  </a:cubicBezTo>
                  <a:cubicBezTo>
                    <a:pt x="2217002" y="1066307"/>
                    <a:pt x="2208932" y="1074377"/>
                    <a:pt x="2198977" y="1074377"/>
                  </a:cubicBezTo>
                  <a:cubicBezTo>
                    <a:pt x="2189023" y="1074377"/>
                    <a:pt x="2180953" y="1066307"/>
                    <a:pt x="2180953" y="1056353"/>
                  </a:cubicBezTo>
                  <a:cubicBezTo>
                    <a:pt x="2180953" y="1046398"/>
                    <a:pt x="2189023" y="1038328"/>
                    <a:pt x="2198977" y="1038328"/>
                  </a:cubicBezTo>
                  <a:close/>
                  <a:moveTo>
                    <a:pt x="2078814" y="1032320"/>
                  </a:moveTo>
                  <a:cubicBezTo>
                    <a:pt x="2088769" y="1032320"/>
                    <a:pt x="2096839" y="1040389"/>
                    <a:pt x="2096839" y="1050344"/>
                  </a:cubicBezTo>
                  <a:cubicBezTo>
                    <a:pt x="2096839" y="1060299"/>
                    <a:pt x="2088769" y="1068369"/>
                    <a:pt x="2078814" y="1068369"/>
                  </a:cubicBezTo>
                  <a:cubicBezTo>
                    <a:pt x="2068860" y="1068369"/>
                    <a:pt x="2060790" y="1060299"/>
                    <a:pt x="2060790" y="1050344"/>
                  </a:cubicBezTo>
                  <a:cubicBezTo>
                    <a:pt x="2060790" y="1040389"/>
                    <a:pt x="2068860" y="1032320"/>
                    <a:pt x="2078814" y="1032320"/>
                  </a:cubicBezTo>
                  <a:close/>
                  <a:moveTo>
                    <a:pt x="3983393" y="1026312"/>
                  </a:moveTo>
                  <a:cubicBezTo>
                    <a:pt x="3993348" y="1026312"/>
                    <a:pt x="4001418" y="1034382"/>
                    <a:pt x="4001418" y="1044336"/>
                  </a:cubicBezTo>
                  <a:cubicBezTo>
                    <a:pt x="4001418" y="1054291"/>
                    <a:pt x="3993348" y="1062361"/>
                    <a:pt x="3983393" y="1062361"/>
                  </a:cubicBezTo>
                  <a:cubicBezTo>
                    <a:pt x="3973439" y="1062361"/>
                    <a:pt x="3965369" y="1054291"/>
                    <a:pt x="3965369" y="1044336"/>
                  </a:cubicBezTo>
                  <a:cubicBezTo>
                    <a:pt x="3965369" y="1034382"/>
                    <a:pt x="3973439" y="1026312"/>
                    <a:pt x="3983393" y="1026312"/>
                  </a:cubicBezTo>
                  <a:close/>
                  <a:moveTo>
                    <a:pt x="817106" y="1020304"/>
                  </a:moveTo>
                  <a:cubicBezTo>
                    <a:pt x="823743" y="1020304"/>
                    <a:pt x="829123" y="1025684"/>
                    <a:pt x="829123" y="1032320"/>
                  </a:cubicBezTo>
                  <a:cubicBezTo>
                    <a:pt x="829123" y="1038957"/>
                    <a:pt x="823743" y="1044336"/>
                    <a:pt x="817106" y="1044336"/>
                  </a:cubicBezTo>
                  <a:cubicBezTo>
                    <a:pt x="810470" y="1044336"/>
                    <a:pt x="805090" y="1038956"/>
                    <a:pt x="805090" y="1032320"/>
                  </a:cubicBezTo>
                  <a:cubicBezTo>
                    <a:pt x="805090" y="1025684"/>
                    <a:pt x="810470" y="1020304"/>
                    <a:pt x="817106" y="1020304"/>
                  </a:cubicBezTo>
                  <a:close/>
                  <a:moveTo>
                    <a:pt x="2817815" y="1014295"/>
                  </a:moveTo>
                  <a:cubicBezTo>
                    <a:pt x="2827770" y="1014295"/>
                    <a:pt x="2835840" y="1022365"/>
                    <a:pt x="2835840" y="1032319"/>
                  </a:cubicBezTo>
                  <a:cubicBezTo>
                    <a:pt x="2835840" y="1042274"/>
                    <a:pt x="2827770" y="1050344"/>
                    <a:pt x="2817815" y="1050344"/>
                  </a:cubicBezTo>
                  <a:cubicBezTo>
                    <a:pt x="2807861" y="1050344"/>
                    <a:pt x="2799791" y="1042274"/>
                    <a:pt x="2799791" y="1032319"/>
                  </a:cubicBezTo>
                  <a:cubicBezTo>
                    <a:pt x="2799791" y="1022365"/>
                    <a:pt x="2807861" y="1014295"/>
                    <a:pt x="2817815" y="1014295"/>
                  </a:cubicBezTo>
                  <a:close/>
                  <a:moveTo>
                    <a:pt x="2445310" y="1014295"/>
                  </a:moveTo>
                  <a:cubicBezTo>
                    <a:pt x="2455265" y="1014295"/>
                    <a:pt x="2463335" y="1022365"/>
                    <a:pt x="2463335" y="1032319"/>
                  </a:cubicBezTo>
                  <a:cubicBezTo>
                    <a:pt x="2463335" y="1042274"/>
                    <a:pt x="2455265" y="1050344"/>
                    <a:pt x="2445310" y="1050344"/>
                  </a:cubicBezTo>
                  <a:cubicBezTo>
                    <a:pt x="2435355" y="1050344"/>
                    <a:pt x="2427285" y="1042274"/>
                    <a:pt x="2427285" y="1032319"/>
                  </a:cubicBezTo>
                  <a:cubicBezTo>
                    <a:pt x="2427285" y="1022365"/>
                    <a:pt x="2435355" y="1014295"/>
                    <a:pt x="2445310" y="1014295"/>
                  </a:cubicBezTo>
                  <a:close/>
                  <a:moveTo>
                    <a:pt x="420569" y="1014295"/>
                  </a:moveTo>
                  <a:cubicBezTo>
                    <a:pt x="430524" y="1014295"/>
                    <a:pt x="438594" y="1022365"/>
                    <a:pt x="438594" y="1032319"/>
                  </a:cubicBezTo>
                  <a:cubicBezTo>
                    <a:pt x="438594" y="1042274"/>
                    <a:pt x="430524" y="1050344"/>
                    <a:pt x="420569" y="1050344"/>
                  </a:cubicBezTo>
                  <a:cubicBezTo>
                    <a:pt x="410615" y="1050344"/>
                    <a:pt x="402545" y="1042274"/>
                    <a:pt x="402545" y="1032319"/>
                  </a:cubicBezTo>
                  <a:cubicBezTo>
                    <a:pt x="402545" y="1022365"/>
                    <a:pt x="410615" y="1014295"/>
                    <a:pt x="420569" y="1014295"/>
                  </a:cubicBezTo>
                  <a:close/>
                  <a:moveTo>
                    <a:pt x="1520057" y="1008287"/>
                  </a:moveTo>
                  <a:cubicBezTo>
                    <a:pt x="1530012" y="1008287"/>
                    <a:pt x="1538082" y="1016357"/>
                    <a:pt x="1538082" y="1026312"/>
                  </a:cubicBezTo>
                  <a:cubicBezTo>
                    <a:pt x="1538082" y="1036266"/>
                    <a:pt x="1530012" y="1044336"/>
                    <a:pt x="1520057" y="1044336"/>
                  </a:cubicBezTo>
                  <a:cubicBezTo>
                    <a:pt x="1510103" y="1044336"/>
                    <a:pt x="1502033" y="1036266"/>
                    <a:pt x="1502033" y="1026312"/>
                  </a:cubicBezTo>
                  <a:cubicBezTo>
                    <a:pt x="1502033" y="1016357"/>
                    <a:pt x="1510103" y="1008287"/>
                    <a:pt x="1520057" y="1008287"/>
                  </a:cubicBezTo>
                  <a:close/>
                  <a:moveTo>
                    <a:pt x="1387878" y="1008287"/>
                  </a:moveTo>
                  <a:cubicBezTo>
                    <a:pt x="1397833" y="1008287"/>
                    <a:pt x="1405903" y="1016357"/>
                    <a:pt x="1405903" y="1026312"/>
                  </a:cubicBezTo>
                  <a:cubicBezTo>
                    <a:pt x="1405903" y="1036266"/>
                    <a:pt x="1397833" y="1044336"/>
                    <a:pt x="1387878" y="1044336"/>
                  </a:cubicBezTo>
                  <a:cubicBezTo>
                    <a:pt x="1377924" y="1044336"/>
                    <a:pt x="1369854" y="1036266"/>
                    <a:pt x="1369854" y="1026312"/>
                  </a:cubicBezTo>
                  <a:cubicBezTo>
                    <a:pt x="1369854" y="1016357"/>
                    <a:pt x="1377924" y="1008287"/>
                    <a:pt x="1387878" y="1008287"/>
                  </a:cubicBezTo>
                  <a:close/>
                  <a:moveTo>
                    <a:pt x="534724" y="1008287"/>
                  </a:moveTo>
                  <a:cubicBezTo>
                    <a:pt x="544678" y="1008287"/>
                    <a:pt x="552748" y="1016357"/>
                    <a:pt x="552748" y="1026312"/>
                  </a:cubicBezTo>
                  <a:cubicBezTo>
                    <a:pt x="552748" y="1036266"/>
                    <a:pt x="544678" y="1044336"/>
                    <a:pt x="534724" y="1044336"/>
                  </a:cubicBezTo>
                  <a:cubicBezTo>
                    <a:pt x="524769" y="1044336"/>
                    <a:pt x="516699" y="1036266"/>
                    <a:pt x="516699" y="1026312"/>
                  </a:cubicBezTo>
                  <a:cubicBezTo>
                    <a:pt x="516699" y="1016357"/>
                    <a:pt x="524769" y="1008287"/>
                    <a:pt x="534724" y="1008287"/>
                  </a:cubicBezTo>
                  <a:close/>
                  <a:moveTo>
                    <a:pt x="3016083" y="1002279"/>
                  </a:moveTo>
                  <a:cubicBezTo>
                    <a:pt x="3026038" y="1002279"/>
                    <a:pt x="3034108" y="1010348"/>
                    <a:pt x="3034108" y="1020303"/>
                  </a:cubicBezTo>
                  <a:cubicBezTo>
                    <a:pt x="3034108" y="1030258"/>
                    <a:pt x="3026038" y="1038328"/>
                    <a:pt x="3016083" y="1038328"/>
                  </a:cubicBezTo>
                  <a:cubicBezTo>
                    <a:pt x="3006128" y="1038328"/>
                    <a:pt x="2998058" y="1030258"/>
                    <a:pt x="2998058" y="1020303"/>
                  </a:cubicBezTo>
                  <a:cubicBezTo>
                    <a:pt x="2998058" y="1010348"/>
                    <a:pt x="3006128" y="1002279"/>
                    <a:pt x="3016083" y="1002279"/>
                  </a:cubicBezTo>
                  <a:close/>
                  <a:moveTo>
                    <a:pt x="294398" y="996271"/>
                  </a:moveTo>
                  <a:cubicBezTo>
                    <a:pt x="304353" y="996271"/>
                    <a:pt x="312423" y="1004341"/>
                    <a:pt x="312423" y="1014295"/>
                  </a:cubicBezTo>
                  <a:cubicBezTo>
                    <a:pt x="312423" y="1024250"/>
                    <a:pt x="304353" y="1032320"/>
                    <a:pt x="294398" y="1032320"/>
                  </a:cubicBezTo>
                  <a:cubicBezTo>
                    <a:pt x="284444" y="1032320"/>
                    <a:pt x="276374" y="1024250"/>
                    <a:pt x="276374" y="1014295"/>
                  </a:cubicBezTo>
                  <a:cubicBezTo>
                    <a:pt x="276374" y="1004341"/>
                    <a:pt x="284444" y="996271"/>
                    <a:pt x="294398" y="996271"/>
                  </a:cubicBezTo>
                  <a:close/>
                  <a:moveTo>
                    <a:pt x="3676978" y="990263"/>
                  </a:moveTo>
                  <a:cubicBezTo>
                    <a:pt x="3686933" y="990263"/>
                    <a:pt x="3695003" y="998333"/>
                    <a:pt x="3695003" y="1008287"/>
                  </a:cubicBezTo>
                  <a:cubicBezTo>
                    <a:pt x="3695003" y="1018242"/>
                    <a:pt x="3686933" y="1026312"/>
                    <a:pt x="3676978" y="1026312"/>
                  </a:cubicBezTo>
                  <a:cubicBezTo>
                    <a:pt x="3667023" y="1026312"/>
                    <a:pt x="3658953" y="1018242"/>
                    <a:pt x="3658953" y="1008287"/>
                  </a:cubicBezTo>
                  <a:cubicBezTo>
                    <a:pt x="3658953" y="998333"/>
                    <a:pt x="3667023" y="990263"/>
                    <a:pt x="3676978" y="990263"/>
                  </a:cubicBezTo>
                  <a:close/>
                  <a:moveTo>
                    <a:pt x="3544799" y="984255"/>
                  </a:moveTo>
                  <a:cubicBezTo>
                    <a:pt x="3554754" y="984255"/>
                    <a:pt x="3562824" y="992325"/>
                    <a:pt x="3562824" y="1002279"/>
                  </a:cubicBezTo>
                  <a:cubicBezTo>
                    <a:pt x="3562824" y="1012234"/>
                    <a:pt x="3554754" y="1020304"/>
                    <a:pt x="3544799" y="1020304"/>
                  </a:cubicBezTo>
                  <a:cubicBezTo>
                    <a:pt x="3534844" y="1020304"/>
                    <a:pt x="3526775" y="1012234"/>
                    <a:pt x="3526775" y="1002279"/>
                  </a:cubicBezTo>
                  <a:cubicBezTo>
                    <a:pt x="3526775" y="992325"/>
                    <a:pt x="3534844" y="984255"/>
                    <a:pt x="3544799" y="984255"/>
                  </a:cubicBezTo>
                  <a:close/>
                  <a:moveTo>
                    <a:pt x="708959" y="984255"/>
                  </a:moveTo>
                  <a:cubicBezTo>
                    <a:pt x="718914" y="984255"/>
                    <a:pt x="726984" y="992325"/>
                    <a:pt x="726984" y="1002279"/>
                  </a:cubicBezTo>
                  <a:cubicBezTo>
                    <a:pt x="726984" y="1012234"/>
                    <a:pt x="718914" y="1020304"/>
                    <a:pt x="708959" y="1020304"/>
                  </a:cubicBezTo>
                  <a:cubicBezTo>
                    <a:pt x="699005" y="1020304"/>
                    <a:pt x="690935" y="1012234"/>
                    <a:pt x="690935" y="1002279"/>
                  </a:cubicBezTo>
                  <a:cubicBezTo>
                    <a:pt x="690935" y="992325"/>
                    <a:pt x="699005" y="984255"/>
                    <a:pt x="708959" y="984255"/>
                  </a:cubicBezTo>
                  <a:close/>
                  <a:moveTo>
                    <a:pt x="3803149" y="978247"/>
                  </a:moveTo>
                  <a:cubicBezTo>
                    <a:pt x="3813104" y="978247"/>
                    <a:pt x="3821174" y="986317"/>
                    <a:pt x="3821174" y="996272"/>
                  </a:cubicBezTo>
                  <a:cubicBezTo>
                    <a:pt x="3821174" y="1006226"/>
                    <a:pt x="3813104" y="1014296"/>
                    <a:pt x="3803149" y="1014296"/>
                  </a:cubicBezTo>
                  <a:cubicBezTo>
                    <a:pt x="3793195" y="1014296"/>
                    <a:pt x="3785125" y="1006226"/>
                    <a:pt x="3785125" y="996272"/>
                  </a:cubicBezTo>
                  <a:cubicBezTo>
                    <a:pt x="3785125" y="986317"/>
                    <a:pt x="3793195" y="978247"/>
                    <a:pt x="3803149" y="978247"/>
                  </a:cubicBezTo>
                  <a:close/>
                  <a:moveTo>
                    <a:pt x="1003358" y="978247"/>
                  </a:moveTo>
                  <a:cubicBezTo>
                    <a:pt x="1013313" y="978247"/>
                    <a:pt x="1021383" y="986317"/>
                    <a:pt x="1021383" y="996272"/>
                  </a:cubicBezTo>
                  <a:cubicBezTo>
                    <a:pt x="1021383" y="1006226"/>
                    <a:pt x="1013313" y="1014296"/>
                    <a:pt x="1003358" y="1014296"/>
                  </a:cubicBezTo>
                  <a:cubicBezTo>
                    <a:pt x="993404" y="1014296"/>
                    <a:pt x="985334" y="1006226"/>
                    <a:pt x="985334" y="996272"/>
                  </a:cubicBezTo>
                  <a:cubicBezTo>
                    <a:pt x="985334" y="986317"/>
                    <a:pt x="993404" y="978247"/>
                    <a:pt x="1003358" y="978247"/>
                  </a:cubicBezTo>
                  <a:close/>
                  <a:moveTo>
                    <a:pt x="3196327" y="972238"/>
                  </a:moveTo>
                  <a:cubicBezTo>
                    <a:pt x="3206282" y="972238"/>
                    <a:pt x="3214352" y="980307"/>
                    <a:pt x="3214352" y="990262"/>
                  </a:cubicBezTo>
                  <a:cubicBezTo>
                    <a:pt x="3214352" y="1000217"/>
                    <a:pt x="3206282" y="1008287"/>
                    <a:pt x="3196327" y="1008287"/>
                  </a:cubicBezTo>
                  <a:cubicBezTo>
                    <a:pt x="3186372" y="1008287"/>
                    <a:pt x="3178302" y="1000217"/>
                    <a:pt x="3178302" y="990262"/>
                  </a:cubicBezTo>
                  <a:cubicBezTo>
                    <a:pt x="3178302" y="980307"/>
                    <a:pt x="3186372" y="972238"/>
                    <a:pt x="3196327" y="972238"/>
                  </a:cubicBezTo>
                  <a:close/>
                  <a:moveTo>
                    <a:pt x="1183602" y="972238"/>
                  </a:moveTo>
                  <a:cubicBezTo>
                    <a:pt x="1193557" y="972238"/>
                    <a:pt x="1201627" y="980307"/>
                    <a:pt x="1201627" y="990262"/>
                  </a:cubicBezTo>
                  <a:cubicBezTo>
                    <a:pt x="1201627" y="1000217"/>
                    <a:pt x="1193557" y="1008287"/>
                    <a:pt x="1183602" y="1008287"/>
                  </a:cubicBezTo>
                  <a:cubicBezTo>
                    <a:pt x="1173648" y="1008287"/>
                    <a:pt x="1165578" y="1000217"/>
                    <a:pt x="1165578" y="990262"/>
                  </a:cubicBezTo>
                  <a:cubicBezTo>
                    <a:pt x="1165578" y="980307"/>
                    <a:pt x="1173648" y="972238"/>
                    <a:pt x="1183602" y="972238"/>
                  </a:cubicBezTo>
                  <a:close/>
                  <a:moveTo>
                    <a:pt x="2271074" y="960222"/>
                  </a:moveTo>
                  <a:cubicBezTo>
                    <a:pt x="2281029" y="960222"/>
                    <a:pt x="2289099" y="968292"/>
                    <a:pt x="2289099" y="978246"/>
                  </a:cubicBezTo>
                  <a:cubicBezTo>
                    <a:pt x="2289099" y="988201"/>
                    <a:pt x="2281029" y="996271"/>
                    <a:pt x="2271074" y="996271"/>
                  </a:cubicBezTo>
                  <a:cubicBezTo>
                    <a:pt x="2261120" y="996271"/>
                    <a:pt x="2253050" y="988201"/>
                    <a:pt x="2253050" y="978246"/>
                  </a:cubicBezTo>
                  <a:cubicBezTo>
                    <a:pt x="2253050" y="968292"/>
                    <a:pt x="2261120" y="960222"/>
                    <a:pt x="2271074" y="960222"/>
                  </a:cubicBezTo>
                  <a:close/>
                  <a:moveTo>
                    <a:pt x="1658245" y="960222"/>
                  </a:moveTo>
                  <a:cubicBezTo>
                    <a:pt x="1668200" y="960222"/>
                    <a:pt x="1676270" y="968292"/>
                    <a:pt x="1676270" y="978246"/>
                  </a:cubicBezTo>
                  <a:cubicBezTo>
                    <a:pt x="1676270" y="988201"/>
                    <a:pt x="1668200" y="996271"/>
                    <a:pt x="1658245" y="996271"/>
                  </a:cubicBezTo>
                  <a:cubicBezTo>
                    <a:pt x="1648291" y="996271"/>
                    <a:pt x="1640221" y="988201"/>
                    <a:pt x="1640221" y="978246"/>
                  </a:cubicBezTo>
                  <a:cubicBezTo>
                    <a:pt x="1640221" y="968292"/>
                    <a:pt x="1648291" y="960222"/>
                    <a:pt x="1658245" y="960222"/>
                  </a:cubicBezTo>
                  <a:close/>
                  <a:moveTo>
                    <a:pt x="1958651" y="954214"/>
                  </a:moveTo>
                  <a:cubicBezTo>
                    <a:pt x="1968606" y="954214"/>
                    <a:pt x="1976676" y="962284"/>
                    <a:pt x="1976676" y="972238"/>
                  </a:cubicBezTo>
                  <a:cubicBezTo>
                    <a:pt x="1976676" y="982193"/>
                    <a:pt x="1968606" y="990263"/>
                    <a:pt x="1958651" y="990263"/>
                  </a:cubicBezTo>
                  <a:cubicBezTo>
                    <a:pt x="1948697" y="990263"/>
                    <a:pt x="1940627" y="982193"/>
                    <a:pt x="1940627" y="972238"/>
                  </a:cubicBezTo>
                  <a:cubicBezTo>
                    <a:pt x="1940627" y="962284"/>
                    <a:pt x="1948697" y="954214"/>
                    <a:pt x="1958651" y="954214"/>
                  </a:cubicBezTo>
                  <a:close/>
                  <a:moveTo>
                    <a:pt x="2631562" y="948206"/>
                  </a:moveTo>
                  <a:cubicBezTo>
                    <a:pt x="2641517" y="948206"/>
                    <a:pt x="2649587" y="956276"/>
                    <a:pt x="2649587" y="966231"/>
                  </a:cubicBezTo>
                  <a:cubicBezTo>
                    <a:pt x="2649587" y="976185"/>
                    <a:pt x="2641517" y="984255"/>
                    <a:pt x="2631562" y="984255"/>
                  </a:cubicBezTo>
                  <a:cubicBezTo>
                    <a:pt x="2621608" y="984255"/>
                    <a:pt x="2613538" y="976185"/>
                    <a:pt x="2613538" y="966231"/>
                  </a:cubicBezTo>
                  <a:cubicBezTo>
                    <a:pt x="2613538" y="956276"/>
                    <a:pt x="2621608" y="948206"/>
                    <a:pt x="2631562" y="948206"/>
                  </a:cubicBezTo>
                  <a:close/>
                  <a:moveTo>
                    <a:pt x="1838489" y="948206"/>
                  </a:moveTo>
                  <a:cubicBezTo>
                    <a:pt x="1848444" y="948206"/>
                    <a:pt x="1856514" y="956276"/>
                    <a:pt x="1856514" y="966231"/>
                  </a:cubicBezTo>
                  <a:cubicBezTo>
                    <a:pt x="1856514" y="976185"/>
                    <a:pt x="1848444" y="984255"/>
                    <a:pt x="1838489" y="984255"/>
                  </a:cubicBezTo>
                  <a:cubicBezTo>
                    <a:pt x="1828535" y="984255"/>
                    <a:pt x="1820465" y="976185"/>
                    <a:pt x="1820465" y="966231"/>
                  </a:cubicBezTo>
                  <a:cubicBezTo>
                    <a:pt x="1820465" y="956276"/>
                    <a:pt x="1828535" y="948206"/>
                    <a:pt x="1838489" y="948206"/>
                  </a:cubicBezTo>
                  <a:close/>
                  <a:moveTo>
                    <a:pt x="3430644" y="942198"/>
                  </a:moveTo>
                  <a:cubicBezTo>
                    <a:pt x="3440599" y="942198"/>
                    <a:pt x="3448669" y="950267"/>
                    <a:pt x="3448669" y="960222"/>
                  </a:cubicBezTo>
                  <a:cubicBezTo>
                    <a:pt x="3448669" y="970177"/>
                    <a:pt x="3440599" y="978247"/>
                    <a:pt x="3430644" y="978247"/>
                  </a:cubicBezTo>
                  <a:cubicBezTo>
                    <a:pt x="3420689" y="978247"/>
                    <a:pt x="3412620" y="970177"/>
                    <a:pt x="3412620" y="960222"/>
                  </a:cubicBezTo>
                  <a:cubicBezTo>
                    <a:pt x="3412620" y="950267"/>
                    <a:pt x="3420689" y="942198"/>
                    <a:pt x="3430644" y="942198"/>
                  </a:cubicBezTo>
                  <a:close/>
                  <a:moveTo>
                    <a:pt x="2529424" y="942198"/>
                  </a:moveTo>
                  <a:cubicBezTo>
                    <a:pt x="2539379" y="942198"/>
                    <a:pt x="2547449" y="950267"/>
                    <a:pt x="2547449" y="960222"/>
                  </a:cubicBezTo>
                  <a:cubicBezTo>
                    <a:pt x="2547449" y="970177"/>
                    <a:pt x="2539379" y="978247"/>
                    <a:pt x="2529424" y="978247"/>
                  </a:cubicBezTo>
                  <a:cubicBezTo>
                    <a:pt x="2519469" y="978247"/>
                    <a:pt x="2511400" y="970177"/>
                    <a:pt x="2511400" y="960222"/>
                  </a:cubicBezTo>
                  <a:cubicBezTo>
                    <a:pt x="2511400" y="950267"/>
                    <a:pt x="2519469" y="942198"/>
                    <a:pt x="2529424" y="942198"/>
                  </a:cubicBezTo>
                  <a:close/>
                  <a:moveTo>
                    <a:pt x="889203" y="942198"/>
                  </a:moveTo>
                  <a:cubicBezTo>
                    <a:pt x="899158" y="942198"/>
                    <a:pt x="907228" y="950267"/>
                    <a:pt x="907228" y="960222"/>
                  </a:cubicBezTo>
                  <a:cubicBezTo>
                    <a:pt x="907228" y="970177"/>
                    <a:pt x="899158" y="978247"/>
                    <a:pt x="889203" y="978247"/>
                  </a:cubicBezTo>
                  <a:cubicBezTo>
                    <a:pt x="879249" y="978247"/>
                    <a:pt x="871179" y="970177"/>
                    <a:pt x="871179" y="960222"/>
                  </a:cubicBezTo>
                  <a:cubicBezTo>
                    <a:pt x="871179" y="950267"/>
                    <a:pt x="879249" y="942198"/>
                    <a:pt x="889203" y="942198"/>
                  </a:cubicBezTo>
                  <a:close/>
                  <a:moveTo>
                    <a:pt x="3935328" y="936190"/>
                  </a:moveTo>
                  <a:cubicBezTo>
                    <a:pt x="3945283" y="936190"/>
                    <a:pt x="3953353" y="944260"/>
                    <a:pt x="3953353" y="954214"/>
                  </a:cubicBezTo>
                  <a:cubicBezTo>
                    <a:pt x="3953353" y="964169"/>
                    <a:pt x="3945283" y="972239"/>
                    <a:pt x="3935328" y="972239"/>
                  </a:cubicBezTo>
                  <a:cubicBezTo>
                    <a:pt x="3925373" y="972239"/>
                    <a:pt x="3917304" y="964169"/>
                    <a:pt x="3917304" y="954214"/>
                  </a:cubicBezTo>
                  <a:cubicBezTo>
                    <a:pt x="3917304" y="944260"/>
                    <a:pt x="3925373" y="936190"/>
                    <a:pt x="3935328" y="936190"/>
                  </a:cubicBezTo>
                  <a:close/>
                  <a:moveTo>
                    <a:pt x="1303765" y="936190"/>
                  </a:moveTo>
                  <a:cubicBezTo>
                    <a:pt x="1313720" y="936190"/>
                    <a:pt x="1321790" y="944260"/>
                    <a:pt x="1321790" y="954214"/>
                  </a:cubicBezTo>
                  <a:cubicBezTo>
                    <a:pt x="1321790" y="964169"/>
                    <a:pt x="1313720" y="972239"/>
                    <a:pt x="1303765" y="972239"/>
                  </a:cubicBezTo>
                  <a:cubicBezTo>
                    <a:pt x="1293811" y="972239"/>
                    <a:pt x="1285741" y="964169"/>
                    <a:pt x="1285741" y="954214"/>
                  </a:cubicBezTo>
                  <a:cubicBezTo>
                    <a:pt x="1285741" y="944260"/>
                    <a:pt x="1293811" y="936190"/>
                    <a:pt x="1303765" y="936190"/>
                  </a:cubicBezTo>
                  <a:close/>
                  <a:moveTo>
                    <a:pt x="600813" y="924173"/>
                  </a:moveTo>
                  <a:cubicBezTo>
                    <a:pt x="610768" y="924173"/>
                    <a:pt x="618838" y="932243"/>
                    <a:pt x="618838" y="942197"/>
                  </a:cubicBezTo>
                  <a:cubicBezTo>
                    <a:pt x="618838" y="952152"/>
                    <a:pt x="610768" y="960222"/>
                    <a:pt x="600813" y="960222"/>
                  </a:cubicBezTo>
                  <a:cubicBezTo>
                    <a:pt x="590859" y="960222"/>
                    <a:pt x="582789" y="952152"/>
                    <a:pt x="582789" y="942197"/>
                  </a:cubicBezTo>
                  <a:cubicBezTo>
                    <a:pt x="582789" y="932243"/>
                    <a:pt x="590859" y="924173"/>
                    <a:pt x="600813" y="924173"/>
                  </a:cubicBezTo>
                  <a:close/>
                  <a:moveTo>
                    <a:pt x="3088181" y="918165"/>
                  </a:moveTo>
                  <a:cubicBezTo>
                    <a:pt x="3098136" y="918165"/>
                    <a:pt x="3106206" y="926235"/>
                    <a:pt x="3106206" y="936190"/>
                  </a:cubicBezTo>
                  <a:cubicBezTo>
                    <a:pt x="3106206" y="946144"/>
                    <a:pt x="3098136" y="954214"/>
                    <a:pt x="3088181" y="954214"/>
                  </a:cubicBezTo>
                  <a:cubicBezTo>
                    <a:pt x="3078227" y="954214"/>
                    <a:pt x="3070157" y="946144"/>
                    <a:pt x="3070157" y="936190"/>
                  </a:cubicBezTo>
                  <a:cubicBezTo>
                    <a:pt x="3070157" y="926235"/>
                    <a:pt x="3078227" y="918165"/>
                    <a:pt x="3088181" y="918165"/>
                  </a:cubicBezTo>
                  <a:close/>
                  <a:moveTo>
                    <a:pt x="2883904" y="918165"/>
                  </a:moveTo>
                  <a:cubicBezTo>
                    <a:pt x="2893859" y="918165"/>
                    <a:pt x="2901929" y="926235"/>
                    <a:pt x="2901929" y="936190"/>
                  </a:cubicBezTo>
                  <a:cubicBezTo>
                    <a:pt x="2901929" y="946144"/>
                    <a:pt x="2893859" y="954214"/>
                    <a:pt x="2883904" y="954214"/>
                  </a:cubicBezTo>
                  <a:cubicBezTo>
                    <a:pt x="2873949" y="954214"/>
                    <a:pt x="2865880" y="946144"/>
                    <a:pt x="2865880" y="936190"/>
                  </a:cubicBezTo>
                  <a:cubicBezTo>
                    <a:pt x="2865880" y="926235"/>
                    <a:pt x="2873949" y="918165"/>
                    <a:pt x="2883904" y="918165"/>
                  </a:cubicBezTo>
                  <a:close/>
                  <a:moveTo>
                    <a:pt x="2379221" y="918165"/>
                  </a:moveTo>
                  <a:cubicBezTo>
                    <a:pt x="2389176" y="918165"/>
                    <a:pt x="2397246" y="926235"/>
                    <a:pt x="2397246" y="936190"/>
                  </a:cubicBezTo>
                  <a:cubicBezTo>
                    <a:pt x="2397246" y="946144"/>
                    <a:pt x="2389176" y="954214"/>
                    <a:pt x="2379221" y="954214"/>
                  </a:cubicBezTo>
                  <a:cubicBezTo>
                    <a:pt x="2369267" y="954214"/>
                    <a:pt x="2361197" y="946144"/>
                    <a:pt x="2361197" y="936190"/>
                  </a:cubicBezTo>
                  <a:cubicBezTo>
                    <a:pt x="2361197" y="926235"/>
                    <a:pt x="2369267" y="918165"/>
                    <a:pt x="2379221" y="918165"/>
                  </a:cubicBezTo>
                  <a:close/>
                  <a:moveTo>
                    <a:pt x="2120871" y="918165"/>
                  </a:moveTo>
                  <a:cubicBezTo>
                    <a:pt x="2130826" y="918165"/>
                    <a:pt x="2138896" y="926235"/>
                    <a:pt x="2138896" y="936190"/>
                  </a:cubicBezTo>
                  <a:cubicBezTo>
                    <a:pt x="2138896" y="946144"/>
                    <a:pt x="2130826" y="954214"/>
                    <a:pt x="2120871" y="954214"/>
                  </a:cubicBezTo>
                  <a:cubicBezTo>
                    <a:pt x="2110917" y="954214"/>
                    <a:pt x="2102847" y="946144"/>
                    <a:pt x="2102847" y="936190"/>
                  </a:cubicBezTo>
                  <a:cubicBezTo>
                    <a:pt x="2102847" y="926235"/>
                    <a:pt x="2110917" y="918165"/>
                    <a:pt x="2120871" y="918165"/>
                  </a:cubicBezTo>
                  <a:close/>
                  <a:moveTo>
                    <a:pt x="3328506" y="906149"/>
                  </a:moveTo>
                  <a:cubicBezTo>
                    <a:pt x="3338461" y="906149"/>
                    <a:pt x="3346531" y="914219"/>
                    <a:pt x="3346531" y="924173"/>
                  </a:cubicBezTo>
                  <a:cubicBezTo>
                    <a:pt x="3346531" y="934128"/>
                    <a:pt x="3338461" y="942198"/>
                    <a:pt x="3328506" y="942198"/>
                  </a:cubicBezTo>
                  <a:cubicBezTo>
                    <a:pt x="3318552" y="942198"/>
                    <a:pt x="3310482" y="934128"/>
                    <a:pt x="3310482" y="924173"/>
                  </a:cubicBezTo>
                  <a:cubicBezTo>
                    <a:pt x="3310482" y="914219"/>
                    <a:pt x="3318552" y="906149"/>
                    <a:pt x="3328506" y="906149"/>
                  </a:cubicBezTo>
                  <a:close/>
                  <a:moveTo>
                    <a:pt x="1508041" y="900141"/>
                  </a:moveTo>
                  <a:cubicBezTo>
                    <a:pt x="1517996" y="900141"/>
                    <a:pt x="1526066" y="908211"/>
                    <a:pt x="1526066" y="918165"/>
                  </a:cubicBezTo>
                  <a:cubicBezTo>
                    <a:pt x="1526066" y="928120"/>
                    <a:pt x="1517996" y="936190"/>
                    <a:pt x="1508041" y="936190"/>
                  </a:cubicBezTo>
                  <a:cubicBezTo>
                    <a:pt x="1498087" y="936190"/>
                    <a:pt x="1490017" y="928120"/>
                    <a:pt x="1490017" y="918165"/>
                  </a:cubicBezTo>
                  <a:cubicBezTo>
                    <a:pt x="1490017" y="908211"/>
                    <a:pt x="1498087" y="900141"/>
                    <a:pt x="1508041" y="900141"/>
                  </a:cubicBezTo>
                  <a:close/>
                  <a:moveTo>
                    <a:pt x="2739709" y="894133"/>
                  </a:moveTo>
                  <a:cubicBezTo>
                    <a:pt x="2749664" y="894133"/>
                    <a:pt x="2757734" y="902203"/>
                    <a:pt x="2757734" y="912157"/>
                  </a:cubicBezTo>
                  <a:cubicBezTo>
                    <a:pt x="2757734" y="922112"/>
                    <a:pt x="2749664" y="930182"/>
                    <a:pt x="2739709" y="930182"/>
                  </a:cubicBezTo>
                  <a:cubicBezTo>
                    <a:pt x="2729754" y="930182"/>
                    <a:pt x="2721685" y="922112"/>
                    <a:pt x="2721685" y="912157"/>
                  </a:cubicBezTo>
                  <a:cubicBezTo>
                    <a:pt x="2721685" y="902203"/>
                    <a:pt x="2729754" y="894133"/>
                    <a:pt x="2739709" y="894133"/>
                  </a:cubicBezTo>
                  <a:close/>
                  <a:moveTo>
                    <a:pt x="360487" y="894133"/>
                  </a:moveTo>
                  <a:cubicBezTo>
                    <a:pt x="370442" y="894133"/>
                    <a:pt x="378512" y="902203"/>
                    <a:pt x="378512" y="912157"/>
                  </a:cubicBezTo>
                  <a:cubicBezTo>
                    <a:pt x="378512" y="922112"/>
                    <a:pt x="370442" y="930182"/>
                    <a:pt x="360487" y="930182"/>
                  </a:cubicBezTo>
                  <a:cubicBezTo>
                    <a:pt x="350533" y="930182"/>
                    <a:pt x="342463" y="922112"/>
                    <a:pt x="342463" y="912157"/>
                  </a:cubicBezTo>
                  <a:cubicBezTo>
                    <a:pt x="342463" y="902203"/>
                    <a:pt x="350533" y="894133"/>
                    <a:pt x="360487" y="894133"/>
                  </a:cubicBezTo>
                  <a:close/>
                  <a:moveTo>
                    <a:pt x="1093480" y="888125"/>
                  </a:moveTo>
                  <a:cubicBezTo>
                    <a:pt x="1103435" y="888125"/>
                    <a:pt x="1111505" y="896195"/>
                    <a:pt x="1111505" y="906150"/>
                  </a:cubicBezTo>
                  <a:cubicBezTo>
                    <a:pt x="1111505" y="916104"/>
                    <a:pt x="1103435" y="924174"/>
                    <a:pt x="1093480" y="924174"/>
                  </a:cubicBezTo>
                  <a:cubicBezTo>
                    <a:pt x="1083526" y="924174"/>
                    <a:pt x="1075456" y="916104"/>
                    <a:pt x="1075456" y="906150"/>
                  </a:cubicBezTo>
                  <a:cubicBezTo>
                    <a:pt x="1075456" y="896195"/>
                    <a:pt x="1083526" y="888125"/>
                    <a:pt x="1093480" y="888125"/>
                  </a:cubicBezTo>
                  <a:close/>
                  <a:moveTo>
                    <a:pt x="3707019" y="882116"/>
                  </a:moveTo>
                  <a:cubicBezTo>
                    <a:pt x="3716974" y="882116"/>
                    <a:pt x="3725044" y="890185"/>
                    <a:pt x="3725044" y="900140"/>
                  </a:cubicBezTo>
                  <a:cubicBezTo>
                    <a:pt x="3725044" y="910095"/>
                    <a:pt x="3716974" y="918165"/>
                    <a:pt x="3707019" y="918165"/>
                  </a:cubicBezTo>
                  <a:cubicBezTo>
                    <a:pt x="3697064" y="918165"/>
                    <a:pt x="3688994" y="910095"/>
                    <a:pt x="3688994" y="900140"/>
                  </a:cubicBezTo>
                  <a:cubicBezTo>
                    <a:pt x="3688994" y="890185"/>
                    <a:pt x="3697064" y="882116"/>
                    <a:pt x="3707019" y="882116"/>
                  </a:cubicBezTo>
                  <a:close/>
                  <a:moveTo>
                    <a:pt x="1742358" y="882116"/>
                  </a:moveTo>
                  <a:cubicBezTo>
                    <a:pt x="1752313" y="882116"/>
                    <a:pt x="1760383" y="890185"/>
                    <a:pt x="1760383" y="900140"/>
                  </a:cubicBezTo>
                  <a:cubicBezTo>
                    <a:pt x="1760383" y="910095"/>
                    <a:pt x="1752313" y="918165"/>
                    <a:pt x="1742358" y="918165"/>
                  </a:cubicBezTo>
                  <a:cubicBezTo>
                    <a:pt x="1732404" y="918165"/>
                    <a:pt x="1724334" y="910095"/>
                    <a:pt x="1724334" y="900140"/>
                  </a:cubicBezTo>
                  <a:cubicBezTo>
                    <a:pt x="1724334" y="890185"/>
                    <a:pt x="1732404" y="882116"/>
                    <a:pt x="1742358" y="882116"/>
                  </a:cubicBezTo>
                  <a:close/>
                  <a:moveTo>
                    <a:pt x="757024" y="876108"/>
                  </a:moveTo>
                  <a:cubicBezTo>
                    <a:pt x="766979" y="876108"/>
                    <a:pt x="775049" y="884178"/>
                    <a:pt x="775049" y="894132"/>
                  </a:cubicBezTo>
                  <a:cubicBezTo>
                    <a:pt x="775049" y="904087"/>
                    <a:pt x="766979" y="912157"/>
                    <a:pt x="757024" y="912157"/>
                  </a:cubicBezTo>
                  <a:cubicBezTo>
                    <a:pt x="747070" y="912157"/>
                    <a:pt x="739000" y="904087"/>
                    <a:pt x="739000" y="894132"/>
                  </a:cubicBezTo>
                  <a:cubicBezTo>
                    <a:pt x="739000" y="884178"/>
                    <a:pt x="747070" y="876108"/>
                    <a:pt x="757024" y="876108"/>
                  </a:cubicBezTo>
                  <a:close/>
                  <a:moveTo>
                    <a:pt x="6104265" y="870100"/>
                  </a:moveTo>
                  <a:cubicBezTo>
                    <a:pt x="6114220" y="870100"/>
                    <a:pt x="6122290" y="878170"/>
                    <a:pt x="6122290" y="888124"/>
                  </a:cubicBezTo>
                  <a:cubicBezTo>
                    <a:pt x="6122290" y="898079"/>
                    <a:pt x="6114220" y="906149"/>
                    <a:pt x="6104265" y="906149"/>
                  </a:cubicBezTo>
                  <a:cubicBezTo>
                    <a:pt x="6094310" y="906149"/>
                    <a:pt x="6086241" y="898079"/>
                    <a:pt x="6086241" y="888124"/>
                  </a:cubicBezTo>
                  <a:cubicBezTo>
                    <a:pt x="6086241" y="878170"/>
                    <a:pt x="6094310" y="870100"/>
                    <a:pt x="6104265" y="870100"/>
                  </a:cubicBezTo>
                  <a:close/>
                  <a:moveTo>
                    <a:pt x="474642" y="870100"/>
                  </a:moveTo>
                  <a:cubicBezTo>
                    <a:pt x="484597" y="870100"/>
                    <a:pt x="492667" y="878170"/>
                    <a:pt x="492667" y="888124"/>
                  </a:cubicBezTo>
                  <a:cubicBezTo>
                    <a:pt x="492667" y="898079"/>
                    <a:pt x="484597" y="906149"/>
                    <a:pt x="474642" y="906149"/>
                  </a:cubicBezTo>
                  <a:cubicBezTo>
                    <a:pt x="464688" y="906149"/>
                    <a:pt x="456618" y="898079"/>
                    <a:pt x="456618" y="888124"/>
                  </a:cubicBezTo>
                  <a:cubicBezTo>
                    <a:pt x="456618" y="878170"/>
                    <a:pt x="464688" y="870100"/>
                    <a:pt x="474642" y="870100"/>
                  </a:cubicBezTo>
                  <a:close/>
                  <a:moveTo>
                    <a:pt x="3568832" y="864092"/>
                  </a:moveTo>
                  <a:cubicBezTo>
                    <a:pt x="3578787" y="864092"/>
                    <a:pt x="3586857" y="872162"/>
                    <a:pt x="3586857" y="882116"/>
                  </a:cubicBezTo>
                  <a:cubicBezTo>
                    <a:pt x="3586857" y="892071"/>
                    <a:pt x="3578787" y="900141"/>
                    <a:pt x="3568832" y="900141"/>
                  </a:cubicBezTo>
                  <a:cubicBezTo>
                    <a:pt x="3558878" y="900141"/>
                    <a:pt x="3550808" y="892071"/>
                    <a:pt x="3550808" y="882116"/>
                  </a:cubicBezTo>
                  <a:cubicBezTo>
                    <a:pt x="3550808" y="872162"/>
                    <a:pt x="3558878" y="864092"/>
                    <a:pt x="3568832" y="864092"/>
                  </a:cubicBezTo>
                  <a:close/>
                  <a:moveTo>
                    <a:pt x="2980034" y="864092"/>
                  </a:moveTo>
                  <a:cubicBezTo>
                    <a:pt x="2989989" y="864092"/>
                    <a:pt x="2998059" y="872162"/>
                    <a:pt x="2998059" y="882116"/>
                  </a:cubicBezTo>
                  <a:cubicBezTo>
                    <a:pt x="2998059" y="892071"/>
                    <a:pt x="2989989" y="900141"/>
                    <a:pt x="2980034" y="900141"/>
                  </a:cubicBezTo>
                  <a:cubicBezTo>
                    <a:pt x="2970079" y="900141"/>
                    <a:pt x="2962010" y="892071"/>
                    <a:pt x="2962010" y="882116"/>
                  </a:cubicBezTo>
                  <a:cubicBezTo>
                    <a:pt x="2962010" y="872162"/>
                    <a:pt x="2970079" y="864092"/>
                    <a:pt x="2980034" y="864092"/>
                  </a:cubicBezTo>
                  <a:close/>
                  <a:moveTo>
                    <a:pt x="2012725" y="864092"/>
                  </a:moveTo>
                  <a:cubicBezTo>
                    <a:pt x="2022680" y="864092"/>
                    <a:pt x="2030750" y="872162"/>
                    <a:pt x="2030750" y="882116"/>
                  </a:cubicBezTo>
                  <a:cubicBezTo>
                    <a:pt x="2030750" y="892071"/>
                    <a:pt x="2022680" y="900141"/>
                    <a:pt x="2012725" y="900141"/>
                  </a:cubicBezTo>
                  <a:cubicBezTo>
                    <a:pt x="2002771" y="900141"/>
                    <a:pt x="1994701" y="892071"/>
                    <a:pt x="1994701" y="882116"/>
                  </a:cubicBezTo>
                  <a:cubicBezTo>
                    <a:pt x="1994701" y="872162"/>
                    <a:pt x="2002771" y="864092"/>
                    <a:pt x="2012725" y="864092"/>
                  </a:cubicBezTo>
                  <a:close/>
                  <a:moveTo>
                    <a:pt x="3857222" y="858084"/>
                  </a:moveTo>
                  <a:cubicBezTo>
                    <a:pt x="3867177" y="858084"/>
                    <a:pt x="3875247" y="866154"/>
                    <a:pt x="3875247" y="876109"/>
                  </a:cubicBezTo>
                  <a:cubicBezTo>
                    <a:pt x="3875247" y="886063"/>
                    <a:pt x="3867177" y="894133"/>
                    <a:pt x="3857222" y="894133"/>
                  </a:cubicBezTo>
                  <a:cubicBezTo>
                    <a:pt x="3847267" y="894133"/>
                    <a:pt x="3839197" y="886063"/>
                    <a:pt x="3839197" y="876109"/>
                  </a:cubicBezTo>
                  <a:cubicBezTo>
                    <a:pt x="3839197" y="866154"/>
                    <a:pt x="3847267" y="858084"/>
                    <a:pt x="3857222" y="858084"/>
                  </a:cubicBezTo>
                  <a:close/>
                  <a:moveTo>
                    <a:pt x="1387878" y="858084"/>
                  </a:moveTo>
                  <a:cubicBezTo>
                    <a:pt x="1397833" y="858084"/>
                    <a:pt x="1405903" y="866154"/>
                    <a:pt x="1405903" y="876109"/>
                  </a:cubicBezTo>
                  <a:cubicBezTo>
                    <a:pt x="1405903" y="886063"/>
                    <a:pt x="1397833" y="894133"/>
                    <a:pt x="1387878" y="894133"/>
                  </a:cubicBezTo>
                  <a:cubicBezTo>
                    <a:pt x="1377924" y="894133"/>
                    <a:pt x="1369854" y="886063"/>
                    <a:pt x="1369854" y="876109"/>
                  </a:cubicBezTo>
                  <a:cubicBezTo>
                    <a:pt x="1369854" y="866154"/>
                    <a:pt x="1377924" y="858084"/>
                    <a:pt x="1387878" y="858084"/>
                  </a:cubicBezTo>
                  <a:close/>
                  <a:moveTo>
                    <a:pt x="973317" y="852076"/>
                  </a:moveTo>
                  <a:cubicBezTo>
                    <a:pt x="983272" y="852076"/>
                    <a:pt x="991342" y="860145"/>
                    <a:pt x="991342" y="870100"/>
                  </a:cubicBezTo>
                  <a:cubicBezTo>
                    <a:pt x="991342" y="880055"/>
                    <a:pt x="983272" y="888125"/>
                    <a:pt x="973317" y="888125"/>
                  </a:cubicBezTo>
                  <a:cubicBezTo>
                    <a:pt x="963363" y="888125"/>
                    <a:pt x="955293" y="880055"/>
                    <a:pt x="955293" y="870100"/>
                  </a:cubicBezTo>
                  <a:cubicBezTo>
                    <a:pt x="955293" y="860145"/>
                    <a:pt x="963363" y="852076"/>
                    <a:pt x="973317" y="852076"/>
                  </a:cubicBezTo>
                  <a:close/>
                  <a:moveTo>
                    <a:pt x="228308" y="852076"/>
                  </a:moveTo>
                  <a:cubicBezTo>
                    <a:pt x="238263" y="852076"/>
                    <a:pt x="246333" y="860145"/>
                    <a:pt x="246333" y="870100"/>
                  </a:cubicBezTo>
                  <a:cubicBezTo>
                    <a:pt x="246333" y="880055"/>
                    <a:pt x="238263" y="888125"/>
                    <a:pt x="228308" y="888125"/>
                  </a:cubicBezTo>
                  <a:cubicBezTo>
                    <a:pt x="218354" y="888125"/>
                    <a:pt x="210284" y="880055"/>
                    <a:pt x="210284" y="870100"/>
                  </a:cubicBezTo>
                  <a:cubicBezTo>
                    <a:pt x="210284" y="860145"/>
                    <a:pt x="218354" y="852076"/>
                    <a:pt x="228308" y="852076"/>
                  </a:cubicBezTo>
                  <a:close/>
                  <a:moveTo>
                    <a:pt x="3196327" y="846068"/>
                  </a:moveTo>
                  <a:cubicBezTo>
                    <a:pt x="3206282" y="846068"/>
                    <a:pt x="3214352" y="854138"/>
                    <a:pt x="3214352" y="864092"/>
                  </a:cubicBezTo>
                  <a:cubicBezTo>
                    <a:pt x="3214352" y="874047"/>
                    <a:pt x="3206282" y="882117"/>
                    <a:pt x="3196327" y="882117"/>
                  </a:cubicBezTo>
                  <a:cubicBezTo>
                    <a:pt x="3186372" y="882117"/>
                    <a:pt x="3178302" y="874047"/>
                    <a:pt x="3178302" y="864092"/>
                  </a:cubicBezTo>
                  <a:cubicBezTo>
                    <a:pt x="3178302" y="854138"/>
                    <a:pt x="3186372" y="846068"/>
                    <a:pt x="3196327" y="846068"/>
                  </a:cubicBezTo>
                  <a:close/>
                  <a:moveTo>
                    <a:pt x="6218419" y="840059"/>
                  </a:moveTo>
                  <a:cubicBezTo>
                    <a:pt x="6228374" y="840059"/>
                    <a:pt x="6236444" y="848129"/>
                    <a:pt x="6236444" y="858083"/>
                  </a:cubicBezTo>
                  <a:cubicBezTo>
                    <a:pt x="6236444" y="868038"/>
                    <a:pt x="6228374" y="876108"/>
                    <a:pt x="6218419" y="876108"/>
                  </a:cubicBezTo>
                  <a:cubicBezTo>
                    <a:pt x="6208464" y="876108"/>
                    <a:pt x="6200395" y="868038"/>
                    <a:pt x="6200395" y="858083"/>
                  </a:cubicBezTo>
                  <a:cubicBezTo>
                    <a:pt x="6200395" y="848129"/>
                    <a:pt x="6208464" y="840059"/>
                    <a:pt x="6218419" y="840059"/>
                  </a:cubicBezTo>
                  <a:close/>
                  <a:moveTo>
                    <a:pt x="5978094" y="834051"/>
                  </a:moveTo>
                  <a:cubicBezTo>
                    <a:pt x="5988049" y="834051"/>
                    <a:pt x="5996119" y="842121"/>
                    <a:pt x="5996119" y="852075"/>
                  </a:cubicBezTo>
                  <a:cubicBezTo>
                    <a:pt x="5996119" y="862030"/>
                    <a:pt x="5988049" y="870100"/>
                    <a:pt x="5978094" y="870100"/>
                  </a:cubicBezTo>
                  <a:cubicBezTo>
                    <a:pt x="5968139" y="870100"/>
                    <a:pt x="5960070" y="862030"/>
                    <a:pt x="5960070" y="852075"/>
                  </a:cubicBezTo>
                  <a:cubicBezTo>
                    <a:pt x="5960070" y="842121"/>
                    <a:pt x="5968139" y="834051"/>
                    <a:pt x="5978094" y="834051"/>
                  </a:cubicBezTo>
                  <a:close/>
                  <a:moveTo>
                    <a:pt x="2198977" y="834051"/>
                  </a:moveTo>
                  <a:cubicBezTo>
                    <a:pt x="2208932" y="834051"/>
                    <a:pt x="2217002" y="842121"/>
                    <a:pt x="2217002" y="852075"/>
                  </a:cubicBezTo>
                  <a:cubicBezTo>
                    <a:pt x="2217002" y="862030"/>
                    <a:pt x="2208932" y="870100"/>
                    <a:pt x="2198977" y="870100"/>
                  </a:cubicBezTo>
                  <a:cubicBezTo>
                    <a:pt x="2189023" y="870100"/>
                    <a:pt x="2180953" y="862030"/>
                    <a:pt x="2180953" y="852075"/>
                  </a:cubicBezTo>
                  <a:cubicBezTo>
                    <a:pt x="2180953" y="842121"/>
                    <a:pt x="2189023" y="834051"/>
                    <a:pt x="2198977" y="834051"/>
                  </a:cubicBezTo>
                  <a:close/>
                  <a:moveTo>
                    <a:pt x="1622196" y="834051"/>
                  </a:moveTo>
                  <a:cubicBezTo>
                    <a:pt x="1632151" y="834051"/>
                    <a:pt x="1640221" y="842121"/>
                    <a:pt x="1640221" y="852075"/>
                  </a:cubicBezTo>
                  <a:cubicBezTo>
                    <a:pt x="1640221" y="862030"/>
                    <a:pt x="1632151" y="870100"/>
                    <a:pt x="1622196" y="870100"/>
                  </a:cubicBezTo>
                  <a:cubicBezTo>
                    <a:pt x="1612242" y="870100"/>
                    <a:pt x="1604172" y="862030"/>
                    <a:pt x="1604172" y="852075"/>
                  </a:cubicBezTo>
                  <a:cubicBezTo>
                    <a:pt x="1604172" y="842121"/>
                    <a:pt x="1612242" y="834051"/>
                    <a:pt x="1622196" y="834051"/>
                  </a:cubicBezTo>
                  <a:close/>
                  <a:moveTo>
                    <a:pt x="1201626" y="834051"/>
                  </a:moveTo>
                  <a:cubicBezTo>
                    <a:pt x="1211581" y="834051"/>
                    <a:pt x="1219651" y="842121"/>
                    <a:pt x="1219651" y="852075"/>
                  </a:cubicBezTo>
                  <a:cubicBezTo>
                    <a:pt x="1219651" y="862030"/>
                    <a:pt x="1211581" y="870100"/>
                    <a:pt x="1201626" y="870100"/>
                  </a:cubicBezTo>
                  <a:cubicBezTo>
                    <a:pt x="1191672" y="870100"/>
                    <a:pt x="1183602" y="862030"/>
                    <a:pt x="1183602" y="852075"/>
                  </a:cubicBezTo>
                  <a:cubicBezTo>
                    <a:pt x="1183602" y="842121"/>
                    <a:pt x="1191672" y="834051"/>
                    <a:pt x="1201626" y="834051"/>
                  </a:cubicBezTo>
                  <a:close/>
                  <a:moveTo>
                    <a:pt x="2469343" y="828043"/>
                  </a:moveTo>
                  <a:cubicBezTo>
                    <a:pt x="2479298" y="828043"/>
                    <a:pt x="2487368" y="836113"/>
                    <a:pt x="2487368" y="846068"/>
                  </a:cubicBezTo>
                  <a:cubicBezTo>
                    <a:pt x="2487368" y="856022"/>
                    <a:pt x="2479298" y="864092"/>
                    <a:pt x="2469343" y="864092"/>
                  </a:cubicBezTo>
                  <a:cubicBezTo>
                    <a:pt x="2459388" y="864092"/>
                    <a:pt x="2451319" y="856022"/>
                    <a:pt x="2451319" y="846068"/>
                  </a:cubicBezTo>
                  <a:cubicBezTo>
                    <a:pt x="2451319" y="836113"/>
                    <a:pt x="2459388" y="828043"/>
                    <a:pt x="2469343" y="828043"/>
                  </a:cubicBezTo>
                  <a:close/>
                  <a:moveTo>
                    <a:pt x="3448669" y="822035"/>
                  </a:moveTo>
                  <a:cubicBezTo>
                    <a:pt x="3458624" y="822035"/>
                    <a:pt x="3466694" y="830104"/>
                    <a:pt x="3466694" y="840059"/>
                  </a:cubicBezTo>
                  <a:cubicBezTo>
                    <a:pt x="3466694" y="850014"/>
                    <a:pt x="3458624" y="858084"/>
                    <a:pt x="3448669" y="858084"/>
                  </a:cubicBezTo>
                  <a:cubicBezTo>
                    <a:pt x="3438715" y="858084"/>
                    <a:pt x="3430645" y="850014"/>
                    <a:pt x="3430645" y="840059"/>
                  </a:cubicBezTo>
                  <a:cubicBezTo>
                    <a:pt x="3430645" y="830104"/>
                    <a:pt x="3438715" y="822035"/>
                    <a:pt x="3448669" y="822035"/>
                  </a:cubicBezTo>
                  <a:close/>
                  <a:moveTo>
                    <a:pt x="1874537" y="822035"/>
                  </a:moveTo>
                  <a:cubicBezTo>
                    <a:pt x="1884492" y="822035"/>
                    <a:pt x="1892562" y="830104"/>
                    <a:pt x="1892562" y="840059"/>
                  </a:cubicBezTo>
                  <a:cubicBezTo>
                    <a:pt x="1892562" y="850014"/>
                    <a:pt x="1884492" y="858084"/>
                    <a:pt x="1874537" y="858084"/>
                  </a:cubicBezTo>
                  <a:cubicBezTo>
                    <a:pt x="1864583" y="858084"/>
                    <a:pt x="1856513" y="850014"/>
                    <a:pt x="1856513" y="840059"/>
                  </a:cubicBezTo>
                  <a:cubicBezTo>
                    <a:pt x="1856513" y="830104"/>
                    <a:pt x="1864583" y="822035"/>
                    <a:pt x="1874537" y="822035"/>
                  </a:cubicBezTo>
                  <a:close/>
                  <a:moveTo>
                    <a:pt x="2823823" y="816027"/>
                  </a:moveTo>
                  <a:cubicBezTo>
                    <a:pt x="2833778" y="816027"/>
                    <a:pt x="2841848" y="824097"/>
                    <a:pt x="2841848" y="834051"/>
                  </a:cubicBezTo>
                  <a:cubicBezTo>
                    <a:pt x="2841848" y="844006"/>
                    <a:pt x="2833778" y="852076"/>
                    <a:pt x="2823823" y="852076"/>
                  </a:cubicBezTo>
                  <a:cubicBezTo>
                    <a:pt x="2813868" y="852076"/>
                    <a:pt x="2805799" y="844006"/>
                    <a:pt x="2805799" y="834051"/>
                  </a:cubicBezTo>
                  <a:cubicBezTo>
                    <a:pt x="2805799" y="824097"/>
                    <a:pt x="2813868" y="816027"/>
                    <a:pt x="2823823" y="816027"/>
                  </a:cubicBezTo>
                  <a:close/>
                  <a:moveTo>
                    <a:pt x="2595514" y="816027"/>
                  </a:moveTo>
                  <a:cubicBezTo>
                    <a:pt x="2605469" y="816027"/>
                    <a:pt x="2613539" y="824097"/>
                    <a:pt x="2613539" y="834051"/>
                  </a:cubicBezTo>
                  <a:cubicBezTo>
                    <a:pt x="2613539" y="844006"/>
                    <a:pt x="2605469" y="852076"/>
                    <a:pt x="2595514" y="852076"/>
                  </a:cubicBezTo>
                  <a:cubicBezTo>
                    <a:pt x="2585559" y="852076"/>
                    <a:pt x="2577489" y="844006"/>
                    <a:pt x="2577489" y="834051"/>
                  </a:cubicBezTo>
                  <a:cubicBezTo>
                    <a:pt x="2577489" y="824097"/>
                    <a:pt x="2585559" y="816027"/>
                    <a:pt x="2595514" y="816027"/>
                  </a:cubicBezTo>
                  <a:close/>
                  <a:moveTo>
                    <a:pt x="2307124" y="816027"/>
                  </a:moveTo>
                  <a:cubicBezTo>
                    <a:pt x="2317078" y="816027"/>
                    <a:pt x="2325148" y="824097"/>
                    <a:pt x="2325148" y="834051"/>
                  </a:cubicBezTo>
                  <a:cubicBezTo>
                    <a:pt x="2325148" y="844006"/>
                    <a:pt x="2317078" y="852076"/>
                    <a:pt x="2307124" y="852076"/>
                  </a:cubicBezTo>
                  <a:cubicBezTo>
                    <a:pt x="2297169" y="852076"/>
                    <a:pt x="2289099" y="844006"/>
                    <a:pt x="2289099" y="834051"/>
                  </a:cubicBezTo>
                  <a:cubicBezTo>
                    <a:pt x="2289099" y="824097"/>
                    <a:pt x="2297169" y="816027"/>
                    <a:pt x="2307124" y="816027"/>
                  </a:cubicBezTo>
                  <a:close/>
                  <a:moveTo>
                    <a:pt x="606821" y="816027"/>
                  </a:moveTo>
                  <a:cubicBezTo>
                    <a:pt x="616776" y="816027"/>
                    <a:pt x="624846" y="824097"/>
                    <a:pt x="624846" y="834051"/>
                  </a:cubicBezTo>
                  <a:cubicBezTo>
                    <a:pt x="624846" y="844006"/>
                    <a:pt x="616776" y="852076"/>
                    <a:pt x="606821" y="852076"/>
                  </a:cubicBezTo>
                  <a:cubicBezTo>
                    <a:pt x="596867" y="852076"/>
                    <a:pt x="588797" y="844006"/>
                    <a:pt x="588797" y="834051"/>
                  </a:cubicBezTo>
                  <a:cubicBezTo>
                    <a:pt x="588797" y="824097"/>
                    <a:pt x="596867" y="816027"/>
                    <a:pt x="606821" y="816027"/>
                  </a:cubicBezTo>
                  <a:close/>
                  <a:moveTo>
                    <a:pt x="3292457" y="791994"/>
                  </a:moveTo>
                  <a:cubicBezTo>
                    <a:pt x="3302412" y="791994"/>
                    <a:pt x="3310482" y="800063"/>
                    <a:pt x="3310482" y="810018"/>
                  </a:cubicBezTo>
                  <a:cubicBezTo>
                    <a:pt x="3310482" y="819973"/>
                    <a:pt x="3302412" y="828043"/>
                    <a:pt x="3292457" y="828043"/>
                  </a:cubicBezTo>
                  <a:cubicBezTo>
                    <a:pt x="3282503" y="828043"/>
                    <a:pt x="3274433" y="819973"/>
                    <a:pt x="3274433" y="810018"/>
                  </a:cubicBezTo>
                  <a:cubicBezTo>
                    <a:pt x="3274433" y="800063"/>
                    <a:pt x="3282503" y="791994"/>
                    <a:pt x="3292457" y="791994"/>
                  </a:cubicBezTo>
                  <a:close/>
                  <a:moveTo>
                    <a:pt x="859163" y="791994"/>
                  </a:moveTo>
                  <a:cubicBezTo>
                    <a:pt x="869118" y="791994"/>
                    <a:pt x="877188" y="800063"/>
                    <a:pt x="877188" y="810018"/>
                  </a:cubicBezTo>
                  <a:cubicBezTo>
                    <a:pt x="877188" y="819973"/>
                    <a:pt x="869118" y="828043"/>
                    <a:pt x="859163" y="828043"/>
                  </a:cubicBezTo>
                  <a:cubicBezTo>
                    <a:pt x="849209" y="828043"/>
                    <a:pt x="841139" y="819973"/>
                    <a:pt x="841139" y="810018"/>
                  </a:cubicBezTo>
                  <a:cubicBezTo>
                    <a:pt x="841139" y="800063"/>
                    <a:pt x="849209" y="791994"/>
                    <a:pt x="859163" y="791994"/>
                  </a:cubicBezTo>
                  <a:close/>
                  <a:moveTo>
                    <a:pt x="1297756" y="785986"/>
                  </a:moveTo>
                  <a:cubicBezTo>
                    <a:pt x="1307711" y="785986"/>
                    <a:pt x="1315781" y="794056"/>
                    <a:pt x="1315781" y="804010"/>
                  </a:cubicBezTo>
                  <a:cubicBezTo>
                    <a:pt x="1315781" y="813965"/>
                    <a:pt x="1307711" y="822035"/>
                    <a:pt x="1297756" y="822035"/>
                  </a:cubicBezTo>
                  <a:cubicBezTo>
                    <a:pt x="1287802" y="822035"/>
                    <a:pt x="1279732" y="813965"/>
                    <a:pt x="1279732" y="804010"/>
                  </a:cubicBezTo>
                  <a:cubicBezTo>
                    <a:pt x="1279732" y="794056"/>
                    <a:pt x="1287802" y="785986"/>
                    <a:pt x="1297756" y="785986"/>
                  </a:cubicBezTo>
                  <a:close/>
                  <a:moveTo>
                    <a:pt x="324438" y="785986"/>
                  </a:moveTo>
                  <a:cubicBezTo>
                    <a:pt x="334393" y="785986"/>
                    <a:pt x="342463" y="794056"/>
                    <a:pt x="342463" y="804010"/>
                  </a:cubicBezTo>
                  <a:cubicBezTo>
                    <a:pt x="342463" y="813965"/>
                    <a:pt x="334393" y="822035"/>
                    <a:pt x="324438" y="822035"/>
                  </a:cubicBezTo>
                  <a:cubicBezTo>
                    <a:pt x="314484" y="822035"/>
                    <a:pt x="306414" y="813965"/>
                    <a:pt x="306414" y="804010"/>
                  </a:cubicBezTo>
                  <a:cubicBezTo>
                    <a:pt x="306414" y="794056"/>
                    <a:pt x="314484" y="785986"/>
                    <a:pt x="324438" y="785986"/>
                  </a:cubicBezTo>
                  <a:close/>
                  <a:moveTo>
                    <a:pt x="3755084" y="779978"/>
                  </a:moveTo>
                  <a:cubicBezTo>
                    <a:pt x="3765039" y="779978"/>
                    <a:pt x="3773109" y="788048"/>
                    <a:pt x="3773109" y="798002"/>
                  </a:cubicBezTo>
                  <a:cubicBezTo>
                    <a:pt x="3773109" y="807957"/>
                    <a:pt x="3765039" y="816027"/>
                    <a:pt x="3755084" y="816027"/>
                  </a:cubicBezTo>
                  <a:cubicBezTo>
                    <a:pt x="3745129" y="816027"/>
                    <a:pt x="3737060" y="807957"/>
                    <a:pt x="3737060" y="798002"/>
                  </a:cubicBezTo>
                  <a:cubicBezTo>
                    <a:pt x="3737060" y="788048"/>
                    <a:pt x="3745129" y="779978"/>
                    <a:pt x="3755084" y="779978"/>
                  </a:cubicBezTo>
                  <a:close/>
                  <a:moveTo>
                    <a:pt x="1496026" y="779978"/>
                  </a:moveTo>
                  <a:cubicBezTo>
                    <a:pt x="1505980" y="779978"/>
                    <a:pt x="1514050" y="788048"/>
                    <a:pt x="1514050" y="798002"/>
                  </a:cubicBezTo>
                  <a:cubicBezTo>
                    <a:pt x="1514050" y="807957"/>
                    <a:pt x="1505980" y="816027"/>
                    <a:pt x="1496026" y="816027"/>
                  </a:cubicBezTo>
                  <a:cubicBezTo>
                    <a:pt x="1486071" y="816027"/>
                    <a:pt x="1478001" y="807957"/>
                    <a:pt x="1478001" y="798002"/>
                  </a:cubicBezTo>
                  <a:cubicBezTo>
                    <a:pt x="1478001" y="788048"/>
                    <a:pt x="1486071" y="779978"/>
                    <a:pt x="1496026" y="779978"/>
                  </a:cubicBezTo>
                  <a:close/>
                  <a:moveTo>
                    <a:pt x="3622905" y="767962"/>
                  </a:moveTo>
                  <a:cubicBezTo>
                    <a:pt x="3632860" y="767962"/>
                    <a:pt x="3640930" y="776032"/>
                    <a:pt x="3640930" y="785987"/>
                  </a:cubicBezTo>
                  <a:cubicBezTo>
                    <a:pt x="3640930" y="795941"/>
                    <a:pt x="3632860" y="804011"/>
                    <a:pt x="3622905" y="804011"/>
                  </a:cubicBezTo>
                  <a:cubicBezTo>
                    <a:pt x="3612951" y="804011"/>
                    <a:pt x="3604881" y="795941"/>
                    <a:pt x="3604881" y="785987"/>
                  </a:cubicBezTo>
                  <a:cubicBezTo>
                    <a:pt x="3604881" y="776032"/>
                    <a:pt x="3612951" y="767962"/>
                    <a:pt x="3622905" y="767962"/>
                  </a:cubicBezTo>
                  <a:close/>
                  <a:moveTo>
                    <a:pt x="3112213" y="767962"/>
                  </a:moveTo>
                  <a:cubicBezTo>
                    <a:pt x="3122168" y="767962"/>
                    <a:pt x="3130238" y="776032"/>
                    <a:pt x="3130238" y="785987"/>
                  </a:cubicBezTo>
                  <a:cubicBezTo>
                    <a:pt x="3130238" y="795941"/>
                    <a:pt x="3122168" y="804011"/>
                    <a:pt x="3112213" y="804011"/>
                  </a:cubicBezTo>
                  <a:cubicBezTo>
                    <a:pt x="3102259" y="804011"/>
                    <a:pt x="3094189" y="795941"/>
                    <a:pt x="3094189" y="785987"/>
                  </a:cubicBezTo>
                  <a:cubicBezTo>
                    <a:pt x="3094189" y="776032"/>
                    <a:pt x="3102259" y="767962"/>
                    <a:pt x="3112213" y="767962"/>
                  </a:cubicBezTo>
                  <a:close/>
                  <a:moveTo>
                    <a:pt x="714968" y="767962"/>
                  </a:moveTo>
                  <a:cubicBezTo>
                    <a:pt x="724922" y="767962"/>
                    <a:pt x="732992" y="776032"/>
                    <a:pt x="732992" y="785987"/>
                  </a:cubicBezTo>
                  <a:cubicBezTo>
                    <a:pt x="732992" y="795941"/>
                    <a:pt x="724922" y="804011"/>
                    <a:pt x="714968" y="804011"/>
                  </a:cubicBezTo>
                  <a:cubicBezTo>
                    <a:pt x="705013" y="804011"/>
                    <a:pt x="696943" y="795941"/>
                    <a:pt x="696943" y="785987"/>
                  </a:cubicBezTo>
                  <a:cubicBezTo>
                    <a:pt x="696943" y="776032"/>
                    <a:pt x="705013" y="767962"/>
                    <a:pt x="714968" y="767962"/>
                  </a:cubicBezTo>
                  <a:close/>
                  <a:moveTo>
                    <a:pt x="2986042" y="761954"/>
                  </a:moveTo>
                  <a:cubicBezTo>
                    <a:pt x="2995997" y="761954"/>
                    <a:pt x="3004067" y="770023"/>
                    <a:pt x="3004067" y="779978"/>
                  </a:cubicBezTo>
                  <a:cubicBezTo>
                    <a:pt x="3004067" y="789933"/>
                    <a:pt x="2995997" y="798003"/>
                    <a:pt x="2986042" y="798003"/>
                  </a:cubicBezTo>
                  <a:cubicBezTo>
                    <a:pt x="2976087" y="798003"/>
                    <a:pt x="2968017" y="789933"/>
                    <a:pt x="2968017" y="779978"/>
                  </a:cubicBezTo>
                  <a:cubicBezTo>
                    <a:pt x="2968017" y="770023"/>
                    <a:pt x="2976087" y="761954"/>
                    <a:pt x="2986042" y="761954"/>
                  </a:cubicBezTo>
                  <a:close/>
                  <a:moveTo>
                    <a:pt x="1736351" y="761954"/>
                  </a:moveTo>
                  <a:cubicBezTo>
                    <a:pt x="1746305" y="761954"/>
                    <a:pt x="1754375" y="770023"/>
                    <a:pt x="1754375" y="779978"/>
                  </a:cubicBezTo>
                  <a:cubicBezTo>
                    <a:pt x="1754375" y="789933"/>
                    <a:pt x="1746305" y="798003"/>
                    <a:pt x="1736351" y="798003"/>
                  </a:cubicBezTo>
                  <a:cubicBezTo>
                    <a:pt x="1726396" y="798003"/>
                    <a:pt x="1718326" y="789933"/>
                    <a:pt x="1718326" y="779978"/>
                  </a:cubicBezTo>
                  <a:cubicBezTo>
                    <a:pt x="1718326" y="770023"/>
                    <a:pt x="1726396" y="761954"/>
                    <a:pt x="1736351" y="761954"/>
                  </a:cubicBezTo>
                  <a:close/>
                  <a:moveTo>
                    <a:pt x="5863939" y="755946"/>
                  </a:moveTo>
                  <a:cubicBezTo>
                    <a:pt x="5873894" y="755946"/>
                    <a:pt x="5881964" y="764016"/>
                    <a:pt x="5881964" y="773970"/>
                  </a:cubicBezTo>
                  <a:cubicBezTo>
                    <a:pt x="5881964" y="783925"/>
                    <a:pt x="5873894" y="791995"/>
                    <a:pt x="5863939" y="791995"/>
                  </a:cubicBezTo>
                  <a:cubicBezTo>
                    <a:pt x="5853984" y="791995"/>
                    <a:pt x="5845915" y="783925"/>
                    <a:pt x="5845915" y="773970"/>
                  </a:cubicBezTo>
                  <a:cubicBezTo>
                    <a:pt x="5845915" y="764016"/>
                    <a:pt x="5853984" y="755946"/>
                    <a:pt x="5863939" y="755946"/>
                  </a:cubicBezTo>
                  <a:close/>
                  <a:moveTo>
                    <a:pt x="2685636" y="755946"/>
                  </a:moveTo>
                  <a:cubicBezTo>
                    <a:pt x="2695591" y="755946"/>
                    <a:pt x="2703661" y="764016"/>
                    <a:pt x="2703661" y="773970"/>
                  </a:cubicBezTo>
                  <a:cubicBezTo>
                    <a:pt x="2703661" y="783925"/>
                    <a:pt x="2695591" y="791995"/>
                    <a:pt x="2685636" y="791995"/>
                  </a:cubicBezTo>
                  <a:cubicBezTo>
                    <a:pt x="2675681" y="791995"/>
                    <a:pt x="2667611" y="783925"/>
                    <a:pt x="2667611" y="773970"/>
                  </a:cubicBezTo>
                  <a:cubicBezTo>
                    <a:pt x="2667611" y="764016"/>
                    <a:pt x="2675681" y="755946"/>
                    <a:pt x="2685636" y="755946"/>
                  </a:cubicBezTo>
                  <a:close/>
                  <a:moveTo>
                    <a:pt x="1069447" y="755946"/>
                  </a:moveTo>
                  <a:cubicBezTo>
                    <a:pt x="1079402" y="755946"/>
                    <a:pt x="1087472" y="764016"/>
                    <a:pt x="1087472" y="773970"/>
                  </a:cubicBezTo>
                  <a:cubicBezTo>
                    <a:pt x="1087472" y="783925"/>
                    <a:pt x="1079402" y="791995"/>
                    <a:pt x="1069447" y="791995"/>
                  </a:cubicBezTo>
                  <a:cubicBezTo>
                    <a:pt x="1059493" y="791995"/>
                    <a:pt x="1051423" y="783925"/>
                    <a:pt x="1051423" y="773970"/>
                  </a:cubicBezTo>
                  <a:cubicBezTo>
                    <a:pt x="1051423" y="764016"/>
                    <a:pt x="1059493" y="755946"/>
                    <a:pt x="1069447" y="755946"/>
                  </a:cubicBezTo>
                  <a:close/>
                  <a:moveTo>
                    <a:pt x="3935328" y="749937"/>
                  </a:moveTo>
                  <a:cubicBezTo>
                    <a:pt x="3945283" y="749937"/>
                    <a:pt x="3953353" y="758007"/>
                    <a:pt x="3953353" y="767961"/>
                  </a:cubicBezTo>
                  <a:cubicBezTo>
                    <a:pt x="3953353" y="777916"/>
                    <a:pt x="3945283" y="785986"/>
                    <a:pt x="3935328" y="785986"/>
                  </a:cubicBezTo>
                  <a:cubicBezTo>
                    <a:pt x="3925373" y="785986"/>
                    <a:pt x="3917304" y="777916"/>
                    <a:pt x="3917304" y="767961"/>
                  </a:cubicBezTo>
                  <a:cubicBezTo>
                    <a:pt x="3917304" y="758007"/>
                    <a:pt x="3925373" y="749937"/>
                    <a:pt x="3935328" y="749937"/>
                  </a:cubicBezTo>
                  <a:close/>
                  <a:moveTo>
                    <a:pt x="2114863" y="749937"/>
                  </a:moveTo>
                  <a:cubicBezTo>
                    <a:pt x="2124818" y="749937"/>
                    <a:pt x="2132888" y="758007"/>
                    <a:pt x="2132888" y="767961"/>
                  </a:cubicBezTo>
                  <a:cubicBezTo>
                    <a:pt x="2132888" y="777916"/>
                    <a:pt x="2124818" y="785986"/>
                    <a:pt x="2114863" y="785986"/>
                  </a:cubicBezTo>
                  <a:cubicBezTo>
                    <a:pt x="2104909" y="785986"/>
                    <a:pt x="2096839" y="777916"/>
                    <a:pt x="2096839" y="767961"/>
                  </a:cubicBezTo>
                  <a:cubicBezTo>
                    <a:pt x="2096839" y="758007"/>
                    <a:pt x="2104909" y="749937"/>
                    <a:pt x="2114863" y="749937"/>
                  </a:cubicBezTo>
                  <a:close/>
                  <a:moveTo>
                    <a:pt x="2006717" y="749937"/>
                  </a:moveTo>
                  <a:cubicBezTo>
                    <a:pt x="2016671" y="749937"/>
                    <a:pt x="2024741" y="758007"/>
                    <a:pt x="2024741" y="767961"/>
                  </a:cubicBezTo>
                  <a:cubicBezTo>
                    <a:pt x="2024741" y="777916"/>
                    <a:pt x="2016671" y="785986"/>
                    <a:pt x="2006717" y="785986"/>
                  </a:cubicBezTo>
                  <a:cubicBezTo>
                    <a:pt x="1996762" y="785986"/>
                    <a:pt x="1988692" y="777916"/>
                    <a:pt x="1988692" y="767961"/>
                  </a:cubicBezTo>
                  <a:cubicBezTo>
                    <a:pt x="1988692" y="758007"/>
                    <a:pt x="1996762" y="749937"/>
                    <a:pt x="2006717" y="749937"/>
                  </a:cubicBezTo>
                  <a:close/>
                  <a:moveTo>
                    <a:pt x="6116281" y="737921"/>
                  </a:moveTo>
                  <a:cubicBezTo>
                    <a:pt x="6126236" y="737921"/>
                    <a:pt x="6134306" y="745991"/>
                    <a:pt x="6134306" y="755946"/>
                  </a:cubicBezTo>
                  <a:cubicBezTo>
                    <a:pt x="6134306" y="765900"/>
                    <a:pt x="6126236" y="773970"/>
                    <a:pt x="6116281" y="773970"/>
                  </a:cubicBezTo>
                  <a:cubicBezTo>
                    <a:pt x="6106327" y="773970"/>
                    <a:pt x="6098257" y="765900"/>
                    <a:pt x="6098257" y="755946"/>
                  </a:cubicBezTo>
                  <a:cubicBezTo>
                    <a:pt x="6098257" y="745991"/>
                    <a:pt x="6106327" y="737921"/>
                    <a:pt x="6116281" y="737921"/>
                  </a:cubicBezTo>
                  <a:close/>
                  <a:moveTo>
                    <a:pt x="2397246" y="737921"/>
                  </a:moveTo>
                  <a:cubicBezTo>
                    <a:pt x="2407200" y="737921"/>
                    <a:pt x="2415270" y="745991"/>
                    <a:pt x="2415270" y="755946"/>
                  </a:cubicBezTo>
                  <a:cubicBezTo>
                    <a:pt x="2415270" y="765900"/>
                    <a:pt x="2407200" y="773970"/>
                    <a:pt x="2397246" y="773970"/>
                  </a:cubicBezTo>
                  <a:cubicBezTo>
                    <a:pt x="2387291" y="773970"/>
                    <a:pt x="2379221" y="765900"/>
                    <a:pt x="2379221" y="755946"/>
                  </a:cubicBezTo>
                  <a:cubicBezTo>
                    <a:pt x="2379221" y="745991"/>
                    <a:pt x="2387291" y="737921"/>
                    <a:pt x="2397246" y="737921"/>
                  </a:cubicBezTo>
                  <a:close/>
                  <a:moveTo>
                    <a:pt x="522707" y="731913"/>
                  </a:moveTo>
                  <a:cubicBezTo>
                    <a:pt x="532662" y="731913"/>
                    <a:pt x="540732" y="739982"/>
                    <a:pt x="540732" y="749937"/>
                  </a:cubicBezTo>
                  <a:cubicBezTo>
                    <a:pt x="540732" y="759892"/>
                    <a:pt x="532662" y="767962"/>
                    <a:pt x="522707" y="767962"/>
                  </a:cubicBezTo>
                  <a:cubicBezTo>
                    <a:pt x="512753" y="767962"/>
                    <a:pt x="504683" y="759892"/>
                    <a:pt x="504683" y="749937"/>
                  </a:cubicBezTo>
                  <a:cubicBezTo>
                    <a:pt x="504683" y="739982"/>
                    <a:pt x="512753" y="731913"/>
                    <a:pt x="522707" y="731913"/>
                  </a:cubicBezTo>
                  <a:close/>
                  <a:moveTo>
                    <a:pt x="414561" y="731913"/>
                  </a:moveTo>
                  <a:cubicBezTo>
                    <a:pt x="424516" y="731913"/>
                    <a:pt x="432586" y="739982"/>
                    <a:pt x="432586" y="749937"/>
                  </a:cubicBezTo>
                  <a:cubicBezTo>
                    <a:pt x="432586" y="759892"/>
                    <a:pt x="424516" y="767962"/>
                    <a:pt x="414561" y="767962"/>
                  </a:cubicBezTo>
                  <a:cubicBezTo>
                    <a:pt x="404607" y="767962"/>
                    <a:pt x="396537" y="759892"/>
                    <a:pt x="396537" y="749937"/>
                  </a:cubicBezTo>
                  <a:cubicBezTo>
                    <a:pt x="396537" y="739982"/>
                    <a:pt x="404607" y="731913"/>
                    <a:pt x="414561" y="731913"/>
                  </a:cubicBezTo>
                  <a:close/>
                  <a:moveTo>
                    <a:pt x="6236444" y="725905"/>
                  </a:moveTo>
                  <a:cubicBezTo>
                    <a:pt x="6246399" y="725905"/>
                    <a:pt x="6254469" y="733975"/>
                    <a:pt x="6254469" y="743929"/>
                  </a:cubicBezTo>
                  <a:cubicBezTo>
                    <a:pt x="6254469" y="753884"/>
                    <a:pt x="6246399" y="761954"/>
                    <a:pt x="6236444" y="761954"/>
                  </a:cubicBezTo>
                  <a:cubicBezTo>
                    <a:pt x="6226490" y="761954"/>
                    <a:pt x="6218420" y="753884"/>
                    <a:pt x="6218420" y="743929"/>
                  </a:cubicBezTo>
                  <a:cubicBezTo>
                    <a:pt x="6218420" y="733975"/>
                    <a:pt x="6226490" y="725905"/>
                    <a:pt x="6236444" y="725905"/>
                  </a:cubicBezTo>
                  <a:close/>
                  <a:moveTo>
                    <a:pt x="961301" y="725905"/>
                  </a:moveTo>
                  <a:cubicBezTo>
                    <a:pt x="971256" y="725905"/>
                    <a:pt x="979326" y="733975"/>
                    <a:pt x="979326" y="743929"/>
                  </a:cubicBezTo>
                  <a:cubicBezTo>
                    <a:pt x="979326" y="753884"/>
                    <a:pt x="971256" y="761954"/>
                    <a:pt x="961301" y="761954"/>
                  </a:cubicBezTo>
                  <a:cubicBezTo>
                    <a:pt x="951347" y="761954"/>
                    <a:pt x="943277" y="753884"/>
                    <a:pt x="943277" y="743929"/>
                  </a:cubicBezTo>
                  <a:cubicBezTo>
                    <a:pt x="943277" y="733975"/>
                    <a:pt x="951347" y="725905"/>
                    <a:pt x="961301" y="725905"/>
                  </a:cubicBezTo>
                  <a:close/>
                  <a:moveTo>
                    <a:pt x="3400604" y="719897"/>
                  </a:moveTo>
                  <a:cubicBezTo>
                    <a:pt x="3410559" y="719897"/>
                    <a:pt x="3418629" y="727967"/>
                    <a:pt x="3418629" y="737921"/>
                  </a:cubicBezTo>
                  <a:cubicBezTo>
                    <a:pt x="3418629" y="747876"/>
                    <a:pt x="3410559" y="755946"/>
                    <a:pt x="3400604" y="755946"/>
                  </a:cubicBezTo>
                  <a:cubicBezTo>
                    <a:pt x="3390649" y="755946"/>
                    <a:pt x="3382580" y="747876"/>
                    <a:pt x="3382580" y="737921"/>
                  </a:cubicBezTo>
                  <a:cubicBezTo>
                    <a:pt x="3382580" y="727967"/>
                    <a:pt x="3390649" y="719897"/>
                    <a:pt x="3400604" y="719897"/>
                  </a:cubicBezTo>
                  <a:close/>
                  <a:moveTo>
                    <a:pt x="6002126" y="713889"/>
                  </a:moveTo>
                  <a:cubicBezTo>
                    <a:pt x="6012081" y="713889"/>
                    <a:pt x="6020151" y="721959"/>
                    <a:pt x="6020151" y="731913"/>
                  </a:cubicBezTo>
                  <a:cubicBezTo>
                    <a:pt x="6020151" y="741868"/>
                    <a:pt x="6012081" y="749938"/>
                    <a:pt x="6002126" y="749938"/>
                  </a:cubicBezTo>
                  <a:cubicBezTo>
                    <a:pt x="5992172" y="749938"/>
                    <a:pt x="5984102" y="741868"/>
                    <a:pt x="5984102" y="731913"/>
                  </a:cubicBezTo>
                  <a:cubicBezTo>
                    <a:pt x="5984102" y="721959"/>
                    <a:pt x="5992172" y="713889"/>
                    <a:pt x="6002126" y="713889"/>
                  </a:cubicBezTo>
                  <a:close/>
                  <a:moveTo>
                    <a:pt x="1610179" y="713889"/>
                  </a:moveTo>
                  <a:cubicBezTo>
                    <a:pt x="1620134" y="713889"/>
                    <a:pt x="1628204" y="721959"/>
                    <a:pt x="1628204" y="731913"/>
                  </a:cubicBezTo>
                  <a:cubicBezTo>
                    <a:pt x="1628204" y="741868"/>
                    <a:pt x="1620134" y="749938"/>
                    <a:pt x="1610179" y="749938"/>
                  </a:cubicBezTo>
                  <a:cubicBezTo>
                    <a:pt x="1600225" y="749938"/>
                    <a:pt x="1592155" y="741868"/>
                    <a:pt x="1592155" y="731913"/>
                  </a:cubicBezTo>
                  <a:cubicBezTo>
                    <a:pt x="1592155" y="721959"/>
                    <a:pt x="1600225" y="713889"/>
                    <a:pt x="1610179" y="713889"/>
                  </a:cubicBezTo>
                  <a:close/>
                  <a:moveTo>
                    <a:pt x="3520767" y="707881"/>
                  </a:moveTo>
                  <a:cubicBezTo>
                    <a:pt x="3530722" y="707881"/>
                    <a:pt x="3538792" y="715951"/>
                    <a:pt x="3538792" y="725906"/>
                  </a:cubicBezTo>
                  <a:cubicBezTo>
                    <a:pt x="3538792" y="735860"/>
                    <a:pt x="3530722" y="743930"/>
                    <a:pt x="3520767" y="743930"/>
                  </a:cubicBezTo>
                  <a:cubicBezTo>
                    <a:pt x="3510812" y="743930"/>
                    <a:pt x="3502743" y="735860"/>
                    <a:pt x="3502743" y="725906"/>
                  </a:cubicBezTo>
                  <a:cubicBezTo>
                    <a:pt x="3502743" y="715951"/>
                    <a:pt x="3510812" y="707881"/>
                    <a:pt x="3520767" y="707881"/>
                  </a:cubicBezTo>
                  <a:close/>
                  <a:moveTo>
                    <a:pt x="2895920" y="701872"/>
                  </a:moveTo>
                  <a:cubicBezTo>
                    <a:pt x="2905875" y="701872"/>
                    <a:pt x="2913945" y="709941"/>
                    <a:pt x="2913945" y="719896"/>
                  </a:cubicBezTo>
                  <a:cubicBezTo>
                    <a:pt x="2913945" y="729851"/>
                    <a:pt x="2905875" y="737921"/>
                    <a:pt x="2895920" y="737921"/>
                  </a:cubicBezTo>
                  <a:cubicBezTo>
                    <a:pt x="2885965" y="737921"/>
                    <a:pt x="2877895" y="729851"/>
                    <a:pt x="2877895" y="719896"/>
                  </a:cubicBezTo>
                  <a:cubicBezTo>
                    <a:pt x="2877895" y="709941"/>
                    <a:pt x="2885965" y="701872"/>
                    <a:pt x="2895920" y="701872"/>
                  </a:cubicBezTo>
                  <a:close/>
                  <a:moveTo>
                    <a:pt x="2547449" y="701872"/>
                  </a:moveTo>
                  <a:cubicBezTo>
                    <a:pt x="2557404" y="701872"/>
                    <a:pt x="2565474" y="709941"/>
                    <a:pt x="2565474" y="719896"/>
                  </a:cubicBezTo>
                  <a:cubicBezTo>
                    <a:pt x="2565474" y="729851"/>
                    <a:pt x="2557404" y="737921"/>
                    <a:pt x="2547449" y="737921"/>
                  </a:cubicBezTo>
                  <a:cubicBezTo>
                    <a:pt x="2537495" y="737921"/>
                    <a:pt x="2529425" y="729851"/>
                    <a:pt x="2529425" y="719896"/>
                  </a:cubicBezTo>
                  <a:cubicBezTo>
                    <a:pt x="2529425" y="709941"/>
                    <a:pt x="2537495" y="701872"/>
                    <a:pt x="2547449" y="701872"/>
                  </a:cubicBezTo>
                  <a:close/>
                  <a:moveTo>
                    <a:pt x="2241034" y="701872"/>
                  </a:moveTo>
                  <a:cubicBezTo>
                    <a:pt x="2250989" y="701872"/>
                    <a:pt x="2259059" y="709941"/>
                    <a:pt x="2259059" y="719896"/>
                  </a:cubicBezTo>
                  <a:cubicBezTo>
                    <a:pt x="2259059" y="729851"/>
                    <a:pt x="2250989" y="737921"/>
                    <a:pt x="2241034" y="737921"/>
                  </a:cubicBezTo>
                  <a:cubicBezTo>
                    <a:pt x="2231080" y="737921"/>
                    <a:pt x="2223010" y="729851"/>
                    <a:pt x="2223010" y="719896"/>
                  </a:cubicBezTo>
                  <a:cubicBezTo>
                    <a:pt x="2223010" y="709941"/>
                    <a:pt x="2231080" y="701872"/>
                    <a:pt x="2241034" y="701872"/>
                  </a:cubicBezTo>
                  <a:close/>
                  <a:moveTo>
                    <a:pt x="1411911" y="701872"/>
                  </a:moveTo>
                  <a:cubicBezTo>
                    <a:pt x="1421866" y="701872"/>
                    <a:pt x="1429936" y="709941"/>
                    <a:pt x="1429936" y="719896"/>
                  </a:cubicBezTo>
                  <a:cubicBezTo>
                    <a:pt x="1429936" y="729851"/>
                    <a:pt x="1421866" y="737921"/>
                    <a:pt x="1411911" y="737921"/>
                  </a:cubicBezTo>
                  <a:cubicBezTo>
                    <a:pt x="1401957" y="737921"/>
                    <a:pt x="1393887" y="729851"/>
                    <a:pt x="1393887" y="719896"/>
                  </a:cubicBezTo>
                  <a:cubicBezTo>
                    <a:pt x="1393887" y="709941"/>
                    <a:pt x="1401957" y="701872"/>
                    <a:pt x="1411911" y="701872"/>
                  </a:cubicBezTo>
                  <a:close/>
                  <a:moveTo>
                    <a:pt x="1165578" y="701872"/>
                  </a:moveTo>
                  <a:cubicBezTo>
                    <a:pt x="1175532" y="701872"/>
                    <a:pt x="1183602" y="709941"/>
                    <a:pt x="1183602" y="719896"/>
                  </a:cubicBezTo>
                  <a:cubicBezTo>
                    <a:pt x="1183602" y="729851"/>
                    <a:pt x="1175532" y="737921"/>
                    <a:pt x="1165578" y="737921"/>
                  </a:cubicBezTo>
                  <a:cubicBezTo>
                    <a:pt x="1155623" y="737921"/>
                    <a:pt x="1147553" y="729851"/>
                    <a:pt x="1147553" y="719896"/>
                  </a:cubicBezTo>
                  <a:cubicBezTo>
                    <a:pt x="1147553" y="709941"/>
                    <a:pt x="1155623" y="701872"/>
                    <a:pt x="1165578" y="701872"/>
                  </a:cubicBezTo>
                  <a:close/>
                  <a:moveTo>
                    <a:pt x="168227" y="701872"/>
                  </a:moveTo>
                  <a:cubicBezTo>
                    <a:pt x="178182" y="701872"/>
                    <a:pt x="186252" y="709941"/>
                    <a:pt x="186252" y="719896"/>
                  </a:cubicBezTo>
                  <a:cubicBezTo>
                    <a:pt x="186252" y="729851"/>
                    <a:pt x="178182" y="737921"/>
                    <a:pt x="168227" y="737921"/>
                  </a:cubicBezTo>
                  <a:cubicBezTo>
                    <a:pt x="158273" y="737921"/>
                    <a:pt x="150203" y="729851"/>
                    <a:pt x="150203" y="719896"/>
                  </a:cubicBezTo>
                  <a:cubicBezTo>
                    <a:pt x="150203" y="709941"/>
                    <a:pt x="158273" y="701872"/>
                    <a:pt x="168227" y="701872"/>
                  </a:cubicBezTo>
                  <a:close/>
                  <a:moveTo>
                    <a:pt x="1910586" y="695864"/>
                  </a:moveTo>
                  <a:cubicBezTo>
                    <a:pt x="1920541" y="695864"/>
                    <a:pt x="1928611" y="703934"/>
                    <a:pt x="1928611" y="713888"/>
                  </a:cubicBezTo>
                  <a:cubicBezTo>
                    <a:pt x="1928611" y="723843"/>
                    <a:pt x="1920541" y="731913"/>
                    <a:pt x="1910586" y="731913"/>
                  </a:cubicBezTo>
                  <a:cubicBezTo>
                    <a:pt x="1900632" y="731913"/>
                    <a:pt x="1892562" y="723843"/>
                    <a:pt x="1892562" y="713888"/>
                  </a:cubicBezTo>
                  <a:cubicBezTo>
                    <a:pt x="1892562" y="703934"/>
                    <a:pt x="1900632" y="695864"/>
                    <a:pt x="1910586" y="695864"/>
                  </a:cubicBezTo>
                  <a:close/>
                  <a:moveTo>
                    <a:pt x="3833190" y="689856"/>
                  </a:moveTo>
                  <a:cubicBezTo>
                    <a:pt x="3843145" y="689856"/>
                    <a:pt x="3851215" y="697926"/>
                    <a:pt x="3851215" y="707880"/>
                  </a:cubicBezTo>
                  <a:cubicBezTo>
                    <a:pt x="3851215" y="717835"/>
                    <a:pt x="3843145" y="725905"/>
                    <a:pt x="3833190" y="725905"/>
                  </a:cubicBezTo>
                  <a:cubicBezTo>
                    <a:pt x="3823236" y="725905"/>
                    <a:pt x="3815166" y="717835"/>
                    <a:pt x="3815166" y="707880"/>
                  </a:cubicBezTo>
                  <a:cubicBezTo>
                    <a:pt x="3815166" y="697926"/>
                    <a:pt x="3823236" y="689856"/>
                    <a:pt x="3833190" y="689856"/>
                  </a:cubicBezTo>
                  <a:close/>
                  <a:moveTo>
                    <a:pt x="2787774" y="689856"/>
                  </a:moveTo>
                  <a:cubicBezTo>
                    <a:pt x="2797729" y="689856"/>
                    <a:pt x="2805799" y="697926"/>
                    <a:pt x="2805799" y="707880"/>
                  </a:cubicBezTo>
                  <a:cubicBezTo>
                    <a:pt x="2805799" y="717835"/>
                    <a:pt x="2797729" y="725905"/>
                    <a:pt x="2787774" y="725905"/>
                  </a:cubicBezTo>
                  <a:cubicBezTo>
                    <a:pt x="2777820" y="725905"/>
                    <a:pt x="2769750" y="717835"/>
                    <a:pt x="2769750" y="707880"/>
                  </a:cubicBezTo>
                  <a:cubicBezTo>
                    <a:pt x="2769750" y="697926"/>
                    <a:pt x="2777820" y="689856"/>
                    <a:pt x="2787774" y="689856"/>
                  </a:cubicBezTo>
                  <a:close/>
                  <a:moveTo>
                    <a:pt x="5737768" y="677840"/>
                  </a:moveTo>
                  <a:cubicBezTo>
                    <a:pt x="5747723" y="677840"/>
                    <a:pt x="5755793" y="685910"/>
                    <a:pt x="5755793" y="695865"/>
                  </a:cubicBezTo>
                  <a:cubicBezTo>
                    <a:pt x="5755793" y="705819"/>
                    <a:pt x="5747723" y="713889"/>
                    <a:pt x="5737768" y="713889"/>
                  </a:cubicBezTo>
                  <a:cubicBezTo>
                    <a:pt x="5727813" y="713889"/>
                    <a:pt x="5719744" y="705819"/>
                    <a:pt x="5719744" y="695865"/>
                  </a:cubicBezTo>
                  <a:cubicBezTo>
                    <a:pt x="5719744" y="685910"/>
                    <a:pt x="5727813" y="677840"/>
                    <a:pt x="5737768" y="677840"/>
                  </a:cubicBezTo>
                  <a:close/>
                  <a:moveTo>
                    <a:pt x="781057" y="677840"/>
                  </a:moveTo>
                  <a:cubicBezTo>
                    <a:pt x="791012" y="677840"/>
                    <a:pt x="799082" y="685910"/>
                    <a:pt x="799082" y="695865"/>
                  </a:cubicBezTo>
                  <a:cubicBezTo>
                    <a:pt x="799082" y="705819"/>
                    <a:pt x="791012" y="713889"/>
                    <a:pt x="781057" y="713889"/>
                  </a:cubicBezTo>
                  <a:cubicBezTo>
                    <a:pt x="771103" y="713889"/>
                    <a:pt x="763033" y="705819"/>
                    <a:pt x="763033" y="695865"/>
                  </a:cubicBezTo>
                  <a:cubicBezTo>
                    <a:pt x="763033" y="685910"/>
                    <a:pt x="771103" y="677840"/>
                    <a:pt x="781057" y="677840"/>
                  </a:cubicBezTo>
                  <a:close/>
                  <a:moveTo>
                    <a:pt x="276373" y="677840"/>
                  </a:moveTo>
                  <a:cubicBezTo>
                    <a:pt x="286328" y="677840"/>
                    <a:pt x="294398" y="685910"/>
                    <a:pt x="294398" y="695865"/>
                  </a:cubicBezTo>
                  <a:cubicBezTo>
                    <a:pt x="294398" y="705819"/>
                    <a:pt x="286328" y="713889"/>
                    <a:pt x="276373" y="713889"/>
                  </a:cubicBezTo>
                  <a:cubicBezTo>
                    <a:pt x="266419" y="713889"/>
                    <a:pt x="258349" y="705819"/>
                    <a:pt x="258349" y="695865"/>
                  </a:cubicBezTo>
                  <a:cubicBezTo>
                    <a:pt x="258349" y="685910"/>
                    <a:pt x="266419" y="677840"/>
                    <a:pt x="276373" y="677840"/>
                  </a:cubicBezTo>
                  <a:close/>
                  <a:moveTo>
                    <a:pt x="1784415" y="671832"/>
                  </a:moveTo>
                  <a:cubicBezTo>
                    <a:pt x="1794370" y="671832"/>
                    <a:pt x="1802440" y="679901"/>
                    <a:pt x="1802440" y="689856"/>
                  </a:cubicBezTo>
                  <a:cubicBezTo>
                    <a:pt x="1802440" y="699811"/>
                    <a:pt x="1794370" y="707881"/>
                    <a:pt x="1784415" y="707881"/>
                  </a:cubicBezTo>
                  <a:cubicBezTo>
                    <a:pt x="1774461" y="707881"/>
                    <a:pt x="1766391" y="699811"/>
                    <a:pt x="1766391" y="689856"/>
                  </a:cubicBezTo>
                  <a:cubicBezTo>
                    <a:pt x="1766391" y="679901"/>
                    <a:pt x="1774461" y="671832"/>
                    <a:pt x="1784415" y="671832"/>
                  </a:cubicBezTo>
                  <a:close/>
                  <a:moveTo>
                    <a:pt x="3713027" y="665824"/>
                  </a:moveTo>
                  <a:cubicBezTo>
                    <a:pt x="3722982" y="665824"/>
                    <a:pt x="3731052" y="673894"/>
                    <a:pt x="3731052" y="683848"/>
                  </a:cubicBezTo>
                  <a:cubicBezTo>
                    <a:pt x="3731052" y="693803"/>
                    <a:pt x="3722982" y="701873"/>
                    <a:pt x="3713027" y="701873"/>
                  </a:cubicBezTo>
                  <a:cubicBezTo>
                    <a:pt x="3703073" y="701873"/>
                    <a:pt x="3695003" y="693803"/>
                    <a:pt x="3695003" y="683848"/>
                  </a:cubicBezTo>
                  <a:cubicBezTo>
                    <a:pt x="3695003" y="673894"/>
                    <a:pt x="3703073" y="665824"/>
                    <a:pt x="3713027" y="665824"/>
                  </a:cubicBezTo>
                  <a:close/>
                  <a:moveTo>
                    <a:pt x="3274433" y="665824"/>
                  </a:moveTo>
                  <a:cubicBezTo>
                    <a:pt x="3284388" y="665824"/>
                    <a:pt x="3292458" y="673894"/>
                    <a:pt x="3292458" y="683848"/>
                  </a:cubicBezTo>
                  <a:cubicBezTo>
                    <a:pt x="3292458" y="693803"/>
                    <a:pt x="3284388" y="701873"/>
                    <a:pt x="3274433" y="701873"/>
                  </a:cubicBezTo>
                  <a:cubicBezTo>
                    <a:pt x="3264478" y="701873"/>
                    <a:pt x="3256409" y="693803"/>
                    <a:pt x="3256409" y="683848"/>
                  </a:cubicBezTo>
                  <a:cubicBezTo>
                    <a:pt x="3256409" y="673894"/>
                    <a:pt x="3264478" y="665824"/>
                    <a:pt x="3274433" y="665824"/>
                  </a:cubicBezTo>
                  <a:close/>
                  <a:moveTo>
                    <a:pt x="1291748" y="665824"/>
                  </a:moveTo>
                  <a:cubicBezTo>
                    <a:pt x="1301703" y="665824"/>
                    <a:pt x="1309773" y="673894"/>
                    <a:pt x="1309773" y="683848"/>
                  </a:cubicBezTo>
                  <a:cubicBezTo>
                    <a:pt x="1309773" y="693803"/>
                    <a:pt x="1301703" y="701873"/>
                    <a:pt x="1291748" y="701873"/>
                  </a:cubicBezTo>
                  <a:cubicBezTo>
                    <a:pt x="1281794" y="701873"/>
                    <a:pt x="1273724" y="693803"/>
                    <a:pt x="1273724" y="683848"/>
                  </a:cubicBezTo>
                  <a:cubicBezTo>
                    <a:pt x="1273724" y="673894"/>
                    <a:pt x="1281794" y="665824"/>
                    <a:pt x="1291748" y="665824"/>
                  </a:cubicBezTo>
                  <a:close/>
                  <a:moveTo>
                    <a:pt x="636862" y="665824"/>
                  </a:moveTo>
                  <a:cubicBezTo>
                    <a:pt x="646817" y="665824"/>
                    <a:pt x="654887" y="673894"/>
                    <a:pt x="654887" y="683848"/>
                  </a:cubicBezTo>
                  <a:cubicBezTo>
                    <a:pt x="654887" y="693803"/>
                    <a:pt x="646817" y="701873"/>
                    <a:pt x="636862" y="701873"/>
                  </a:cubicBezTo>
                  <a:cubicBezTo>
                    <a:pt x="626908" y="701873"/>
                    <a:pt x="618838" y="693803"/>
                    <a:pt x="618838" y="683848"/>
                  </a:cubicBezTo>
                  <a:cubicBezTo>
                    <a:pt x="618838" y="673894"/>
                    <a:pt x="626908" y="665824"/>
                    <a:pt x="636862" y="665824"/>
                  </a:cubicBezTo>
                  <a:close/>
                  <a:moveTo>
                    <a:pt x="3172295" y="659815"/>
                  </a:moveTo>
                  <a:cubicBezTo>
                    <a:pt x="3182250" y="659815"/>
                    <a:pt x="3190320" y="667885"/>
                    <a:pt x="3190320" y="677839"/>
                  </a:cubicBezTo>
                  <a:cubicBezTo>
                    <a:pt x="3190320" y="687794"/>
                    <a:pt x="3182250" y="695864"/>
                    <a:pt x="3172295" y="695864"/>
                  </a:cubicBezTo>
                  <a:cubicBezTo>
                    <a:pt x="3162341" y="695864"/>
                    <a:pt x="3154271" y="687794"/>
                    <a:pt x="3154271" y="677839"/>
                  </a:cubicBezTo>
                  <a:cubicBezTo>
                    <a:pt x="3154271" y="667885"/>
                    <a:pt x="3162341" y="659815"/>
                    <a:pt x="3172295" y="659815"/>
                  </a:cubicBezTo>
                  <a:close/>
                  <a:moveTo>
                    <a:pt x="6314550" y="647799"/>
                  </a:moveTo>
                  <a:cubicBezTo>
                    <a:pt x="6324504" y="647799"/>
                    <a:pt x="6332574" y="655869"/>
                    <a:pt x="6332574" y="665824"/>
                  </a:cubicBezTo>
                  <a:cubicBezTo>
                    <a:pt x="6332574" y="675778"/>
                    <a:pt x="6324505" y="683848"/>
                    <a:pt x="6314550" y="683848"/>
                  </a:cubicBezTo>
                  <a:cubicBezTo>
                    <a:pt x="6304595" y="683848"/>
                    <a:pt x="6296525" y="675778"/>
                    <a:pt x="6296525" y="665824"/>
                  </a:cubicBezTo>
                  <a:cubicBezTo>
                    <a:pt x="6296525" y="655869"/>
                    <a:pt x="6304594" y="647799"/>
                    <a:pt x="6314550" y="647799"/>
                  </a:cubicBezTo>
                  <a:close/>
                  <a:moveTo>
                    <a:pt x="3040116" y="647799"/>
                  </a:moveTo>
                  <a:cubicBezTo>
                    <a:pt x="3050071" y="647799"/>
                    <a:pt x="3058141" y="655869"/>
                    <a:pt x="3058141" y="665824"/>
                  </a:cubicBezTo>
                  <a:cubicBezTo>
                    <a:pt x="3058141" y="675778"/>
                    <a:pt x="3050071" y="683848"/>
                    <a:pt x="3040116" y="683848"/>
                  </a:cubicBezTo>
                  <a:cubicBezTo>
                    <a:pt x="3030161" y="683848"/>
                    <a:pt x="3022092" y="675778"/>
                    <a:pt x="3022092" y="665824"/>
                  </a:cubicBezTo>
                  <a:cubicBezTo>
                    <a:pt x="3022092" y="655869"/>
                    <a:pt x="3030161" y="647799"/>
                    <a:pt x="3040116" y="647799"/>
                  </a:cubicBezTo>
                  <a:close/>
                  <a:moveTo>
                    <a:pt x="4025450" y="641791"/>
                  </a:moveTo>
                  <a:cubicBezTo>
                    <a:pt x="4035405" y="641791"/>
                    <a:pt x="4043475" y="649860"/>
                    <a:pt x="4043475" y="659815"/>
                  </a:cubicBezTo>
                  <a:cubicBezTo>
                    <a:pt x="4043475" y="669770"/>
                    <a:pt x="4035405" y="677840"/>
                    <a:pt x="4025450" y="677840"/>
                  </a:cubicBezTo>
                  <a:cubicBezTo>
                    <a:pt x="4015495" y="677840"/>
                    <a:pt x="4007426" y="669770"/>
                    <a:pt x="4007426" y="659815"/>
                  </a:cubicBezTo>
                  <a:cubicBezTo>
                    <a:pt x="4007426" y="649860"/>
                    <a:pt x="4015495" y="641791"/>
                    <a:pt x="4025450" y="641791"/>
                  </a:cubicBezTo>
                  <a:close/>
                  <a:moveTo>
                    <a:pt x="5948053" y="629775"/>
                  </a:moveTo>
                  <a:cubicBezTo>
                    <a:pt x="5958008" y="629775"/>
                    <a:pt x="5966078" y="637845"/>
                    <a:pt x="5966078" y="647799"/>
                  </a:cubicBezTo>
                  <a:cubicBezTo>
                    <a:pt x="5966078" y="657754"/>
                    <a:pt x="5958008" y="665824"/>
                    <a:pt x="5948053" y="665824"/>
                  </a:cubicBezTo>
                  <a:cubicBezTo>
                    <a:pt x="5938098" y="665824"/>
                    <a:pt x="5930029" y="657754"/>
                    <a:pt x="5930029" y="647799"/>
                  </a:cubicBezTo>
                  <a:cubicBezTo>
                    <a:pt x="5930029" y="637845"/>
                    <a:pt x="5938098" y="629775"/>
                    <a:pt x="5948053" y="629775"/>
                  </a:cubicBezTo>
                  <a:close/>
                  <a:moveTo>
                    <a:pt x="2673619" y="629775"/>
                  </a:moveTo>
                  <a:cubicBezTo>
                    <a:pt x="2683574" y="629775"/>
                    <a:pt x="2691644" y="637845"/>
                    <a:pt x="2691644" y="647799"/>
                  </a:cubicBezTo>
                  <a:cubicBezTo>
                    <a:pt x="2691644" y="657754"/>
                    <a:pt x="2683574" y="665824"/>
                    <a:pt x="2673619" y="665824"/>
                  </a:cubicBezTo>
                  <a:cubicBezTo>
                    <a:pt x="2663664" y="665824"/>
                    <a:pt x="2655595" y="657754"/>
                    <a:pt x="2655595" y="647799"/>
                  </a:cubicBezTo>
                  <a:cubicBezTo>
                    <a:pt x="2655595" y="637845"/>
                    <a:pt x="2663664" y="629775"/>
                    <a:pt x="2673619" y="629775"/>
                  </a:cubicBezTo>
                  <a:close/>
                  <a:moveTo>
                    <a:pt x="2331156" y="629775"/>
                  </a:moveTo>
                  <a:cubicBezTo>
                    <a:pt x="2341111" y="629775"/>
                    <a:pt x="2349181" y="637845"/>
                    <a:pt x="2349181" y="647799"/>
                  </a:cubicBezTo>
                  <a:cubicBezTo>
                    <a:pt x="2349181" y="657754"/>
                    <a:pt x="2341111" y="665824"/>
                    <a:pt x="2331156" y="665824"/>
                  </a:cubicBezTo>
                  <a:cubicBezTo>
                    <a:pt x="2321202" y="665824"/>
                    <a:pt x="2313132" y="657754"/>
                    <a:pt x="2313132" y="647799"/>
                  </a:cubicBezTo>
                  <a:cubicBezTo>
                    <a:pt x="2313132" y="637845"/>
                    <a:pt x="2321202" y="629775"/>
                    <a:pt x="2331156" y="629775"/>
                  </a:cubicBezTo>
                  <a:close/>
                  <a:moveTo>
                    <a:pt x="1514049" y="629775"/>
                  </a:moveTo>
                  <a:cubicBezTo>
                    <a:pt x="1524004" y="629775"/>
                    <a:pt x="1532074" y="637845"/>
                    <a:pt x="1532074" y="647799"/>
                  </a:cubicBezTo>
                  <a:cubicBezTo>
                    <a:pt x="1532074" y="657754"/>
                    <a:pt x="1524004" y="665824"/>
                    <a:pt x="1514049" y="665824"/>
                  </a:cubicBezTo>
                  <a:cubicBezTo>
                    <a:pt x="1504095" y="665824"/>
                    <a:pt x="1496025" y="657754"/>
                    <a:pt x="1496025" y="647799"/>
                  </a:cubicBezTo>
                  <a:cubicBezTo>
                    <a:pt x="1496025" y="637845"/>
                    <a:pt x="1504095" y="629775"/>
                    <a:pt x="1514049" y="629775"/>
                  </a:cubicBezTo>
                  <a:close/>
                  <a:moveTo>
                    <a:pt x="901219" y="629775"/>
                  </a:moveTo>
                  <a:cubicBezTo>
                    <a:pt x="911174" y="629775"/>
                    <a:pt x="919244" y="637845"/>
                    <a:pt x="919244" y="647799"/>
                  </a:cubicBezTo>
                  <a:cubicBezTo>
                    <a:pt x="919244" y="657754"/>
                    <a:pt x="911174" y="665824"/>
                    <a:pt x="901219" y="665824"/>
                  </a:cubicBezTo>
                  <a:cubicBezTo>
                    <a:pt x="891265" y="665824"/>
                    <a:pt x="883195" y="657754"/>
                    <a:pt x="883195" y="647799"/>
                  </a:cubicBezTo>
                  <a:cubicBezTo>
                    <a:pt x="883195" y="637845"/>
                    <a:pt x="891265" y="629775"/>
                    <a:pt x="901219" y="629775"/>
                  </a:cubicBezTo>
                  <a:close/>
                  <a:moveTo>
                    <a:pt x="5827891" y="617758"/>
                  </a:moveTo>
                  <a:cubicBezTo>
                    <a:pt x="5837846" y="617758"/>
                    <a:pt x="5845916" y="625828"/>
                    <a:pt x="5845916" y="635783"/>
                  </a:cubicBezTo>
                  <a:cubicBezTo>
                    <a:pt x="5845916" y="645737"/>
                    <a:pt x="5837846" y="653807"/>
                    <a:pt x="5827891" y="653807"/>
                  </a:cubicBezTo>
                  <a:cubicBezTo>
                    <a:pt x="5817936" y="653807"/>
                    <a:pt x="5809867" y="645737"/>
                    <a:pt x="5809867" y="635783"/>
                  </a:cubicBezTo>
                  <a:cubicBezTo>
                    <a:pt x="5809867" y="625828"/>
                    <a:pt x="5817936" y="617758"/>
                    <a:pt x="5827891" y="617758"/>
                  </a:cubicBezTo>
                  <a:close/>
                  <a:moveTo>
                    <a:pt x="2469343" y="617758"/>
                  </a:moveTo>
                  <a:cubicBezTo>
                    <a:pt x="2479298" y="617758"/>
                    <a:pt x="2487368" y="625828"/>
                    <a:pt x="2487368" y="635783"/>
                  </a:cubicBezTo>
                  <a:cubicBezTo>
                    <a:pt x="2487368" y="645737"/>
                    <a:pt x="2479298" y="653807"/>
                    <a:pt x="2469343" y="653807"/>
                  </a:cubicBezTo>
                  <a:cubicBezTo>
                    <a:pt x="2459388" y="653807"/>
                    <a:pt x="2451319" y="645737"/>
                    <a:pt x="2451319" y="635783"/>
                  </a:cubicBezTo>
                  <a:cubicBezTo>
                    <a:pt x="2451319" y="625828"/>
                    <a:pt x="2459388" y="617758"/>
                    <a:pt x="2469343" y="617758"/>
                  </a:cubicBezTo>
                  <a:close/>
                  <a:moveTo>
                    <a:pt x="6110273" y="611750"/>
                  </a:moveTo>
                  <a:cubicBezTo>
                    <a:pt x="6120228" y="611750"/>
                    <a:pt x="6128298" y="619819"/>
                    <a:pt x="6128298" y="629774"/>
                  </a:cubicBezTo>
                  <a:cubicBezTo>
                    <a:pt x="6128298" y="639729"/>
                    <a:pt x="6120228" y="647799"/>
                    <a:pt x="6110273" y="647799"/>
                  </a:cubicBezTo>
                  <a:cubicBezTo>
                    <a:pt x="6100318" y="647799"/>
                    <a:pt x="6092248" y="639729"/>
                    <a:pt x="6092248" y="629774"/>
                  </a:cubicBezTo>
                  <a:cubicBezTo>
                    <a:pt x="6092248" y="619819"/>
                    <a:pt x="6100318" y="611750"/>
                    <a:pt x="6110273" y="611750"/>
                  </a:cubicBezTo>
                  <a:close/>
                  <a:moveTo>
                    <a:pt x="3598872" y="611750"/>
                  </a:moveTo>
                  <a:cubicBezTo>
                    <a:pt x="3608827" y="611750"/>
                    <a:pt x="3616897" y="619819"/>
                    <a:pt x="3616897" y="629774"/>
                  </a:cubicBezTo>
                  <a:cubicBezTo>
                    <a:pt x="3616897" y="639729"/>
                    <a:pt x="3608827" y="647799"/>
                    <a:pt x="3598872" y="647799"/>
                  </a:cubicBezTo>
                  <a:cubicBezTo>
                    <a:pt x="3588918" y="647799"/>
                    <a:pt x="3580848" y="639729"/>
                    <a:pt x="3580848" y="629774"/>
                  </a:cubicBezTo>
                  <a:cubicBezTo>
                    <a:pt x="3580848" y="619819"/>
                    <a:pt x="3588918" y="611750"/>
                    <a:pt x="3598872" y="611750"/>
                  </a:cubicBezTo>
                  <a:close/>
                  <a:moveTo>
                    <a:pt x="2150912" y="611750"/>
                  </a:moveTo>
                  <a:cubicBezTo>
                    <a:pt x="2160867" y="611750"/>
                    <a:pt x="2168937" y="619819"/>
                    <a:pt x="2168937" y="629774"/>
                  </a:cubicBezTo>
                  <a:cubicBezTo>
                    <a:pt x="2168937" y="639729"/>
                    <a:pt x="2160867" y="647799"/>
                    <a:pt x="2150912" y="647799"/>
                  </a:cubicBezTo>
                  <a:cubicBezTo>
                    <a:pt x="2140958" y="647799"/>
                    <a:pt x="2132888" y="639729"/>
                    <a:pt x="2132888" y="629774"/>
                  </a:cubicBezTo>
                  <a:cubicBezTo>
                    <a:pt x="2132888" y="619819"/>
                    <a:pt x="2140958" y="611750"/>
                    <a:pt x="2150912" y="611750"/>
                  </a:cubicBezTo>
                  <a:close/>
                  <a:moveTo>
                    <a:pt x="2036758" y="605742"/>
                  </a:moveTo>
                  <a:cubicBezTo>
                    <a:pt x="2046712" y="605742"/>
                    <a:pt x="2054782" y="613812"/>
                    <a:pt x="2054782" y="623766"/>
                  </a:cubicBezTo>
                  <a:cubicBezTo>
                    <a:pt x="2054782" y="633721"/>
                    <a:pt x="2046712" y="641791"/>
                    <a:pt x="2036758" y="641791"/>
                  </a:cubicBezTo>
                  <a:cubicBezTo>
                    <a:pt x="2026803" y="641791"/>
                    <a:pt x="2018733" y="633721"/>
                    <a:pt x="2018733" y="623766"/>
                  </a:cubicBezTo>
                  <a:cubicBezTo>
                    <a:pt x="2018733" y="613812"/>
                    <a:pt x="2026803" y="605742"/>
                    <a:pt x="2036758" y="605742"/>
                  </a:cubicBezTo>
                  <a:close/>
                  <a:moveTo>
                    <a:pt x="1652236" y="605742"/>
                  </a:moveTo>
                  <a:cubicBezTo>
                    <a:pt x="1662191" y="605742"/>
                    <a:pt x="1670261" y="613812"/>
                    <a:pt x="1670261" y="623766"/>
                  </a:cubicBezTo>
                  <a:cubicBezTo>
                    <a:pt x="1670261" y="633721"/>
                    <a:pt x="1662191" y="641791"/>
                    <a:pt x="1652236" y="641791"/>
                  </a:cubicBezTo>
                  <a:cubicBezTo>
                    <a:pt x="1642282" y="641791"/>
                    <a:pt x="1634212" y="633721"/>
                    <a:pt x="1634212" y="623766"/>
                  </a:cubicBezTo>
                  <a:cubicBezTo>
                    <a:pt x="1634212" y="613812"/>
                    <a:pt x="1642282" y="605742"/>
                    <a:pt x="1652236" y="605742"/>
                  </a:cubicBezTo>
                  <a:close/>
                  <a:moveTo>
                    <a:pt x="1027390" y="605742"/>
                  </a:moveTo>
                  <a:cubicBezTo>
                    <a:pt x="1037345" y="605742"/>
                    <a:pt x="1045415" y="613812"/>
                    <a:pt x="1045415" y="623766"/>
                  </a:cubicBezTo>
                  <a:cubicBezTo>
                    <a:pt x="1045415" y="633721"/>
                    <a:pt x="1037345" y="641791"/>
                    <a:pt x="1027390" y="641791"/>
                  </a:cubicBezTo>
                  <a:cubicBezTo>
                    <a:pt x="1017436" y="641791"/>
                    <a:pt x="1009366" y="633721"/>
                    <a:pt x="1009366" y="623766"/>
                  </a:cubicBezTo>
                  <a:cubicBezTo>
                    <a:pt x="1009366" y="613812"/>
                    <a:pt x="1017436" y="605742"/>
                    <a:pt x="1027390" y="605742"/>
                  </a:cubicBezTo>
                  <a:close/>
                  <a:moveTo>
                    <a:pt x="504684" y="605742"/>
                  </a:moveTo>
                  <a:cubicBezTo>
                    <a:pt x="514638" y="605742"/>
                    <a:pt x="522708" y="613812"/>
                    <a:pt x="522708" y="623766"/>
                  </a:cubicBezTo>
                  <a:cubicBezTo>
                    <a:pt x="522708" y="633721"/>
                    <a:pt x="514638" y="641791"/>
                    <a:pt x="504684" y="641791"/>
                  </a:cubicBezTo>
                  <a:cubicBezTo>
                    <a:pt x="494729" y="641791"/>
                    <a:pt x="486659" y="633721"/>
                    <a:pt x="486659" y="623766"/>
                  </a:cubicBezTo>
                  <a:cubicBezTo>
                    <a:pt x="486659" y="613812"/>
                    <a:pt x="494729" y="605742"/>
                    <a:pt x="504684" y="605742"/>
                  </a:cubicBezTo>
                  <a:close/>
                  <a:moveTo>
                    <a:pt x="378512" y="605742"/>
                  </a:moveTo>
                  <a:cubicBezTo>
                    <a:pt x="388467" y="605742"/>
                    <a:pt x="396537" y="613812"/>
                    <a:pt x="396537" y="623766"/>
                  </a:cubicBezTo>
                  <a:cubicBezTo>
                    <a:pt x="396537" y="633721"/>
                    <a:pt x="388467" y="641791"/>
                    <a:pt x="378512" y="641791"/>
                  </a:cubicBezTo>
                  <a:cubicBezTo>
                    <a:pt x="368558" y="641791"/>
                    <a:pt x="360488" y="633721"/>
                    <a:pt x="360488" y="623766"/>
                  </a:cubicBezTo>
                  <a:cubicBezTo>
                    <a:pt x="360488" y="613812"/>
                    <a:pt x="368558" y="605742"/>
                    <a:pt x="378512" y="605742"/>
                  </a:cubicBezTo>
                  <a:close/>
                  <a:moveTo>
                    <a:pt x="3358547" y="599734"/>
                  </a:moveTo>
                  <a:cubicBezTo>
                    <a:pt x="3368502" y="599734"/>
                    <a:pt x="3376572" y="607804"/>
                    <a:pt x="3376572" y="617758"/>
                  </a:cubicBezTo>
                  <a:cubicBezTo>
                    <a:pt x="3376572" y="627713"/>
                    <a:pt x="3368502" y="635783"/>
                    <a:pt x="3358547" y="635783"/>
                  </a:cubicBezTo>
                  <a:cubicBezTo>
                    <a:pt x="3348593" y="635783"/>
                    <a:pt x="3340523" y="627713"/>
                    <a:pt x="3340523" y="617758"/>
                  </a:cubicBezTo>
                  <a:cubicBezTo>
                    <a:pt x="3340523" y="607804"/>
                    <a:pt x="3348593" y="599734"/>
                    <a:pt x="3358547" y="599734"/>
                  </a:cubicBezTo>
                  <a:close/>
                  <a:moveTo>
                    <a:pt x="3887263" y="593726"/>
                  </a:moveTo>
                  <a:cubicBezTo>
                    <a:pt x="3897218" y="593726"/>
                    <a:pt x="3905288" y="601796"/>
                    <a:pt x="3905288" y="611750"/>
                  </a:cubicBezTo>
                  <a:cubicBezTo>
                    <a:pt x="3905288" y="621705"/>
                    <a:pt x="3897218" y="629775"/>
                    <a:pt x="3887263" y="629775"/>
                  </a:cubicBezTo>
                  <a:cubicBezTo>
                    <a:pt x="3877308" y="629775"/>
                    <a:pt x="3869238" y="621705"/>
                    <a:pt x="3869238" y="611750"/>
                  </a:cubicBezTo>
                  <a:cubicBezTo>
                    <a:pt x="3869238" y="601796"/>
                    <a:pt x="3877308" y="593726"/>
                    <a:pt x="3887263" y="593726"/>
                  </a:cubicBezTo>
                  <a:close/>
                  <a:moveTo>
                    <a:pt x="5623614" y="587718"/>
                  </a:moveTo>
                  <a:cubicBezTo>
                    <a:pt x="5633569" y="587718"/>
                    <a:pt x="5641639" y="595788"/>
                    <a:pt x="5641639" y="605743"/>
                  </a:cubicBezTo>
                  <a:cubicBezTo>
                    <a:pt x="5641639" y="615697"/>
                    <a:pt x="5633569" y="623767"/>
                    <a:pt x="5623614" y="623767"/>
                  </a:cubicBezTo>
                  <a:cubicBezTo>
                    <a:pt x="5613659" y="623767"/>
                    <a:pt x="5605590" y="615697"/>
                    <a:pt x="5605590" y="605743"/>
                  </a:cubicBezTo>
                  <a:cubicBezTo>
                    <a:pt x="5605590" y="595788"/>
                    <a:pt x="5613659" y="587718"/>
                    <a:pt x="5623614" y="587718"/>
                  </a:cubicBezTo>
                  <a:close/>
                  <a:moveTo>
                    <a:pt x="4157629" y="587718"/>
                  </a:moveTo>
                  <a:cubicBezTo>
                    <a:pt x="4167584" y="587718"/>
                    <a:pt x="4175654" y="595788"/>
                    <a:pt x="4175654" y="605743"/>
                  </a:cubicBezTo>
                  <a:cubicBezTo>
                    <a:pt x="4175654" y="615697"/>
                    <a:pt x="4167584" y="623767"/>
                    <a:pt x="4157629" y="623767"/>
                  </a:cubicBezTo>
                  <a:cubicBezTo>
                    <a:pt x="4147674" y="623767"/>
                    <a:pt x="4139604" y="615697"/>
                    <a:pt x="4139604" y="605743"/>
                  </a:cubicBezTo>
                  <a:cubicBezTo>
                    <a:pt x="4139604" y="595788"/>
                    <a:pt x="4147674" y="587718"/>
                    <a:pt x="4157629" y="587718"/>
                  </a:cubicBezTo>
                  <a:close/>
                  <a:moveTo>
                    <a:pt x="1886555" y="587718"/>
                  </a:moveTo>
                  <a:cubicBezTo>
                    <a:pt x="1896509" y="587718"/>
                    <a:pt x="1904579" y="595788"/>
                    <a:pt x="1904579" y="605743"/>
                  </a:cubicBezTo>
                  <a:cubicBezTo>
                    <a:pt x="1904579" y="615697"/>
                    <a:pt x="1896509" y="623767"/>
                    <a:pt x="1886555" y="623767"/>
                  </a:cubicBezTo>
                  <a:cubicBezTo>
                    <a:pt x="1876600" y="623767"/>
                    <a:pt x="1868530" y="615697"/>
                    <a:pt x="1868530" y="605743"/>
                  </a:cubicBezTo>
                  <a:cubicBezTo>
                    <a:pt x="1868530" y="595788"/>
                    <a:pt x="1876600" y="587718"/>
                    <a:pt x="1886555" y="587718"/>
                  </a:cubicBezTo>
                  <a:close/>
                  <a:moveTo>
                    <a:pt x="1147553" y="587718"/>
                  </a:moveTo>
                  <a:cubicBezTo>
                    <a:pt x="1157508" y="587718"/>
                    <a:pt x="1165578" y="595788"/>
                    <a:pt x="1165578" y="605743"/>
                  </a:cubicBezTo>
                  <a:cubicBezTo>
                    <a:pt x="1165578" y="615697"/>
                    <a:pt x="1157508" y="623767"/>
                    <a:pt x="1147553" y="623767"/>
                  </a:cubicBezTo>
                  <a:cubicBezTo>
                    <a:pt x="1137599" y="623767"/>
                    <a:pt x="1129529" y="615697"/>
                    <a:pt x="1129529" y="605743"/>
                  </a:cubicBezTo>
                  <a:cubicBezTo>
                    <a:pt x="1129529" y="595788"/>
                    <a:pt x="1137599" y="587718"/>
                    <a:pt x="1147553" y="587718"/>
                  </a:cubicBezTo>
                  <a:close/>
                  <a:moveTo>
                    <a:pt x="6212411" y="581710"/>
                  </a:moveTo>
                  <a:cubicBezTo>
                    <a:pt x="6222366" y="581710"/>
                    <a:pt x="6230436" y="589779"/>
                    <a:pt x="6230436" y="599734"/>
                  </a:cubicBezTo>
                  <a:cubicBezTo>
                    <a:pt x="6230436" y="609689"/>
                    <a:pt x="6222366" y="617759"/>
                    <a:pt x="6212411" y="617759"/>
                  </a:cubicBezTo>
                  <a:cubicBezTo>
                    <a:pt x="6202457" y="617759"/>
                    <a:pt x="6194387" y="609689"/>
                    <a:pt x="6194387" y="599734"/>
                  </a:cubicBezTo>
                  <a:cubicBezTo>
                    <a:pt x="6194387" y="589779"/>
                    <a:pt x="6202457" y="581710"/>
                    <a:pt x="6212411" y="581710"/>
                  </a:cubicBezTo>
                  <a:close/>
                  <a:moveTo>
                    <a:pt x="3478710" y="581710"/>
                  </a:moveTo>
                  <a:cubicBezTo>
                    <a:pt x="3488665" y="581710"/>
                    <a:pt x="3496735" y="589779"/>
                    <a:pt x="3496735" y="599734"/>
                  </a:cubicBezTo>
                  <a:cubicBezTo>
                    <a:pt x="3496735" y="609689"/>
                    <a:pt x="3488665" y="617759"/>
                    <a:pt x="3478710" y="617759"/>
                  </a:cubicBezTo>
                  <a:cubicBezTo>
                    <a:pt x="3468756" y="617759"/>
                    <a:pt x="3460686" y="609689"/>
                    <a:pt x="3460686" y="599734"/>
                  </a:cubicBezTo>
                  <a:cubicBezTo>
                    <a:pt x="3460686" y="589779"/>
                    <a:pt x="3468756" y="581710"/>
                    <a:pt x="3478710" y="581710"/>
                  </a:cubicBezTo>
                  <a:close/>
                  <a:moveTo>
                    <a:pt x="2883904" y="581710"/>
                  </a:moveTo>
                  <a:cubicBezTo>
                    <a:pt x="2893859" y="581710"/>
                    <a:pt x="2901929" y="589779"/>
                    <a:pt x="2901929" y="599734"/>
                  </a:cubicBezTo>
                  <a:cubicBezTo>
                    <a:pt x="2901929" y="609689"/>
                    <a:pt x="2893859" y="617759"/>
                    <a:pt x="2883904" y="617759"/>
                  </a:cubicBezTo>
                  <a:cubicBezTo>
                    <a:pt x="2873949" y="617759"/>
                    <a:pt x="2865880" y="609689"/>
                    <a:pt x="2865880" y="599734"/>
                  </a:cubicBezTo>
                  <a:cubicBezTo>
                    <a:pt x="2865880" y="589779"/>
                    <a:pt x="2873949" y="581710"/>
                    <a:pt x="2883904" y="581710"/>
                  </a:cubicBezTo>
                  <a:close/>
                  <a:moveTo>
                    <a:pt x="4488076" y="575702"/>
                  </a:moveTo>
                  <a:cubicBezTo>
                    <a:pt x="4498031" y="575702"/>
                    <a:pt x="4506101" y="583772"/>
                    <a:pt x="4506101" y="593726"/>
                  </a:cubicBezTo>
                  <a:cubicBezTo>
                    <a:pt x="4506101" y="603681"/>
                    <a:pt x="4498031" y="611751"/>
                    <a:pt x="4488076" y="611751"/>
                  </a:cubicBezTo>
                  <a:cubicBezTo>
                    <a:pt x="4478121" y="611751"/>
                    <a:pt x="4470051" y="603681"/>
                    <a:pt x="4470051" y="593726"/>
                  </a:cubicBezTo>
                  <a:cubicBezTo>
                    <a:pt x="4470051" y="583772"/>
                    <a:pt x="4478121" y="575702"/>
                    <a:pt x="4488076" y="575702"/>
                  </a:cubicBezTo>
                  <a:close/>
                  <a:moveTo>
                    <a:pt x="4313840" y="575702"/>
                  </a:moveTo>
                  <a:cubicBezTo>
                    <a:pt x="4323795" y="575702"/>
                    <a:pt x="4331865" y="583772"/>
                    <a:pt x="4331865" y="593726"/>
                  </a:cubicBezTo>
                  <a:cubicBezTo>
                    <a:pt x="4331865" y="603681"/>
                    <a:pt x="4323795" y="611751"/>
                    <a:pt x="4313840" y="611751"/>
                  </a:cubicBezTo>
                  <a:cubicBezTo>
                    <a:pt x="4303886" y="611751"/>
                    <a:pt x="4295816" y="603681"/>
                    <a:pt x="4295816" y="593726"/>
                  </a:cubicBezTo>
                  <a:cubicBezTo>
                    <a:pt x="4295816" y="583772"/>
                    <a:pt x="4303886" y="575702"/>
                    <a:pt x="4313840" y="575702"/>
                  </a:cubicBezTo>
                  <a:close/>
                  <a:moveTo>
                    <a:pt x="1381870" y="569693"/>
                  </a:moveTo>
                  <a:cubicBezTo>
                    <a:pt x="1391825" y="569693"/>
                    <a:pt x="1399895" y="577763"/>
                    <a:pt x="1399895" y="587717"/>
                  </a:cubicBezTo>
                  <a:cubicBezTo>
                    <a:pt x="1399895" y="597672"/>
                    <a:pt x="1391825" y="605742"/>
                    <a:pt x="1381870" y="605742"/>
                  </a:cubicBezTo>
                  <a:cubicBezTo>
                    <a:pt x="1371916" y="605742"/>
                    <a:pt x="1363846" y="597672"/>
                    <a:pt x="1363846" y="587717"/>
                  </a:cubicBezTo>
                  <a:cubicBezTo>
                    <a:pt x="1363846" y="577763"/>
                    <a:pt x="1371916" y="569693"/>
                    <a:pt x="1381870" y="569693"/>
                  </a:cubicBezTo>
                  <a:close/>
                  <a:moveTo>
                    <a:pt x="126170" y="563685"/>
                  </a:moveTo>
                  <a:cubicBezTo>
                    <a:pt x="136125" y="563685"/>
                    <a:pt x="144195" y="571755"/>
                    <a:pt x="144195" y="581709"/>
                  </a:cubicBezTo>
                  <a:cubicBezTo>
                    <a:pt x="144195" y="591664"/>
                    <a:pt x="136125" y="599734"/>
                    <a:pt x="126170" y="599734"/>
                  </a:cubicBezTo>
                  <a:cubicBezTo>
                    <a:pt x="116216" y="599734"/>
                    <a:pt x="108146" y="591664"/>
                    <a:pt x="108146" y="581709"/>
                  </a:cubicBezTo>
                  <a:cubicBezTo>
                    <a:pt x="108146" y="571755"/>
                    <a:pt x="116216" y="563685"/>
                    <a:pt x="126170" y="563685"/>
                  </a:cubicBezTo>
                  <a:close/>
                  <a:moveTo>
                    <a:pt x="2583497" y="557677"/>
                  </a:moveTo>
                  <a:cubicBezTo>
                    <a:pt x="2593452" y="557677"/>
                    <a:pt x="2601522" y="565747"/>
                    <a:pt x="2601522" y="575702"/>
                  </a:cubicBezTo>
                  <a:cubicBezTo>
                    <a:pt x="2601522" y="585656"/>
                    <a:pt x="2593452" y="593726"/>
                    <a:pt x="2583497" y="593726"/>
                  </a:cubicBezTo>
                  <a:cubicBezTo>
                    <a:pt x="2573542" y="593726"/>
                    <a:pt x="2565473" y="585656"/>
                    <a:pt x="2565473" y="575702"/>
                  </a:cubicBezTo>
                  <a:cubicBezTo>
                    <a:pt x="2565473" y="565747"/>
                    <a:pt x="2573542" y="557677"/>
                    <a:pt x="2583497" y="557677"/>
                  </a:cubicBezTo>
                  <a:close/>
                  <a:moveTo>
                    <a:pt x="246333" y="557677"/>
                  </a:moveTo>
                  <a:cubicBezTo>
                    <a:pt x="256288" y="557677"/>
                    <a:pt x="264358" y="565747"/>
                    <a:pt x="264358" y="575702"/>
                  </a:cubicBezTo>
                  <a:cubicBezTo>
                    <a:pt x="264358" y="585656"/>
                    <a:pt x="256288" y="593726"/>
                    <a:pt x="246333" y="593726"/>
                  </a:cubicBezTo>
                  <a:cubicBezTo>
                    <a:pt x="236379" y="593726"/>
                    <a:pt x="228309" y="585656"/>
                    <a:pt x="228309" y="575702"/>
                  </a:cubicBezTo>
                  <a:cubicBezTo>
                    <a:pt x="228309" y="565747"/>
                    <a:pt x="236379" y="557677"/>
                    <a:pt x="246333" y="557677"/>
                  </a:cubicBezTo>
                  <a:close/>
                  <a:moveTo>
                    <a:pt x="1736351" y="551669"/>
                  </a:moveTo>
                  <a:cubicBezTo>
                    <a:pt x="1746305" y="551669"/>
                    <a:pt x="1754375" y="559738"/>
                    <a:pt x="1754375" y="569693"/>
                  </a:cubicBezTo>
                  <a:cubicBezTo>
                    <a:pt x="1754375" y="579648"/>
                    <a:pt x="1746305" y="587718"/>
                    <a:pt x="1736351" y="587718"/>
                  </a:cubicBezTo>
                  <a:cubicBezTo>
                    <a:pt x="1726396" y="587718"/>
                    <a:pt x="1718326" y="579648"/>
                    <a:pt x="1718326" y="569693"/>
                  </a:cubicBezTo>
                  <a:cubicBezTo>
                    <a:pt x="1718326" y="559738"/>
                    <a:pt x="1726396" y="551669"/>
                    <a:pt x="1736351" y="551669"/>
                  </a:cubicBezTo>
                  <a:close/>
                  <a:moveTo>
                    <a:pt x="3731051" y="545661"/>
                  </a:moveTo>
                  <a:cubicBezTo>
                    <a:pt x="3741006" y="545661"/>
                    <a:pt x="3749076" y="553731"/>
                    <a:pt x="3749076" y="563685"/>
                  </a:cubicBezTo>
                  <a:cubicBezTo>
                    <a:pt x="3749076" y="573640"/>
                    <a:pt x="3741006" y="581710"/>
                    <a:pt x="3731051" y="581710"/>
                  </a:cubicBezTo>
                  <a:cubicBezTo>
                    <a:pt x="3721096" y="581710"/>
                    <a:pt x="3713027" y="573640"/>
                    <a:pt x="3713027" y="563685"/>
                  </a:cubicBezTo>
                  <a:cubicBezTo>
                    <a:pt x="3713027" y="553731"/>
                    <a:pt x="3721096" y="545661"/>
                    <a:pt x="3731051" y="545661"/>
                  </a:cubicBezTo>
                  <a:close/>
                  <a:moveTo>
                    <a:pt x="2763741" y="545661"/>
                  </a:moveTo>
                  <a:cubicBezTo>
                    <a:pt x="2773696" y="545661"/>
                    <a:pt x="2781766" y="553731"/>
                    <a:pt x="2781766" y="563685"/>
                  </a:cubicBezTo>
                  <a:cubicBezTo>
                    <a:pt x="2781766" y="573640"/>
                    <a:pt x="2773696" y="581710"/>
                    <a:pt x="2763741" y="581710"/>
                  </a:cubicBezTo>
                  <a:cubicBezTo>
                    <a:pt x="2753786" y="581710"/>
                    <a:pt x="2745717" y="573640"/>
                    <a:pt x="2745717" y="563685"/>
                  </a:cubicBezTo>
                  <a:cubicBezTo>
                    <a:pt x="2745717" y="553731"/>
                    <a:pt x="2753786" y="545661"/>
                    <a:pt x="2763741" y="545661"/>
                  </a:cubicBezTo>
                  <a:close/>
                  <a:moveTo>
                    <a:pt x="726984" y="545661"/>
                  </a:moveTo>
                  <a:cubicBezTo>
                    <a:pt x="736939" y="545661"/>
                    <a:pt x="745009" y="553731"/>
                    <a:pt x="745009" y="563685"/>
                  </a:cubicBezTo>
                  <a:cubicBezTo>
                    <a:pt x="745009" y="573640"/>
                    <a:pt x="736939" y="581710"/>
                    <a:pt x="726984" y="581710"/>
                  </a:cubicBezTo>
                  <a:cubicBezTo>
                    <a:pt x="717030" y="581710"/>
                    <a:pt x="708960" y="573640"/>
                    <a:pt x="708960" y="563685"/>
                  </a:cubicBezTo>
                  <a:cubicBezTo>
                    <a:pt x="708960" y="553731"/>
                    <a:pt x="717030" y="545661"/>
                    <a:pt x="726984" y="545661"/>
                  </a:cubicBezTo>
                  <a:close/>
                  <a:moveTo>
                    <a:pt x="3136246" y="539653"/>
                  </a:moveTo>
                  <a:cubicBezTo>
                    <a:pt x="3146201" y="539653"/>
                    <a:pt x="3154271" y="547723"/>
                    <a:pt x="3154271" y="557677"/>
                  </a:cubicBezTo>
                  <a:cubicBezTo>
                    <a:pt x="3154271" y="567632"/>
                    <a:pt x="3146201" y="575702"/>
                    <a:pt x="3136246" y="575702"/>
                  </a:cubicBezTo>
                  <a:cubicBezTo>
                    <a:pt x="3126291" y="575702"/>
                    <a:pt x="3118221" y="567632"/>
                    <a:pt x="3118221" y="557677"/>
                  </a:cubicBezTo>
                  <a:cubicBezTo>
                    <a:pt x="3118221" y="547723"/>
                    <a:pt x="3126291" y="539653"/>
                    <a:pt x="3136246" y="539653"/>
                  </a:cubicBezTo>
                  <a:close/>
                  <a:moveTo>
                    <a:pt x="3004067" y="539653"/>
                  </a:moveTo>
                  <a:cubicBezTo>
                    <a:pt x="3014022" y="539653"/>
                    <a:pt x="3022092" y="547723"/>
                    <a:pt x="3022092" y="557677"/>
                  </a:cubicBezTo>
                  <a:cubicBezTo>
                    <a:pt x="3022092" y="567632"/>
                    <a:pt x="3014022" y="575702"/>
                    <a:pt x="3004067" y="575702"/>
                  </a:cubicBezTo>
                  <a:cubicBezTo>
                    <a:pt x="2994112" y="575702"/>
                    <a:pt x="2986043" y="567632"/>
                    <a:pt x="2986043" y="557677"/>
                  </a:cubicBezTo>
                  <a:cubicBezTo>
                    <a:pt x="2986043" y="547723"/>
                    <a:pt x="2994112" y="539653"/>
                    <a:pt x="3004067" y="539653"/>
                  </a:cubicBezTo>
                  <a:close/>
                  <a:moveTo>
                    <a:pt x="835130" y="539653"/>
                  </a:moveTo>
                  <a:cubicBezTo>
                    <a:pt x="841767" y="539653"/>
                    <a:pt x="847146" y="545033"/>
                    <a:pt x="847146" y="551669"/>
                  </a:cubicBezTo>
                  <a:cubicBezTo>
                    <a:pt x="847146" y="558306"/>
                    <a:pt x="841767" y="563685"/>
                    <a:pt x="835130" y="563685"/>
                  </a:cubicBezTo>
                  <a:cubicBezTo>
                    <a:pt x="828494" y="563685"/>
                    <a:pt x="823114" y="558305"/>
                    <a:pt x="823114" y="551669"/>
                  </a:cubicBezTo>
                  <a:cubicBezTo>
                    <a:pt x="823114" y="545033"/>
                    <a:pt x="828494" y="539653"/>
                    <a:pt x="835130" y="539653"/>
                  </a:cubicBezTo>
                  <a:close/>
                  <a:moveTo>
                    <a:pt x="612829" y="539653"/>
                  </a:moveTo>
                  <a:cubicBezTo>
                    <a:pt x="622784" y="539653"/>
                    <a:pt x="630854" y="547723"/>
                    <a:pt x="630854" y="557677"/>
                  </a:cubicBezTo>
                  <a:cubicBezTo>
                    <a:pt x="630854" y="567632"/>
                    <a:pt x="622784" y="575702"/>
                    <a:pt x="612829" y="575702"/>
                  </a:cubicBezTo>
                  <a:cubicBezTo>
                    <a:pt x="602875" y="575702"/>
                    <a:pt x="594805" y="567632"/>
                    <a:pt x="594805" y="557677"/>
                  </a:cubicBezTo>
                  <a:cubicBezTo>
                    <a:pt x="594805" y="547723"/>
                    <a:pt x="602875" y="539653"/>
                    <a:pt x="612829" y="539653"/>
                  </a:cubicBezTo>
                  <a:close/>
                  <a:moveTo>
                    <a:pt x="6014143" y="533645"/>
                  </a:moveTo>
                  <a:cubicBezTo>
                    <a:pt x="6024098" y="533645"/>
                    <a:pt x="6032168" y="541715"/>
                    <a:pt x="6032168" y="551669"/>
                  </a:cubicBezTo>
                  <a:cubicBezTo>
                    <a:pt x="6032168" y="561624"/>
                    <a:pt x="6024098" y="569694"/>
                    <a:pt x="6014143" y="569694"/>
                  </a:cubicBezTo>
                  <a:cubicBezTo>
                    <a:pt x="6004188" y="569694"/>
                    <a:pt x="5996119" y="561624"/>
                    <a:pt x="5996119" y="551669"/>
                  </a:cubicBezTo>
                  <a:cubicBezTo>
                    <a:pt x="5996119" y="541715"/>
                    <a:pt x="6004188" y="533645"/>
                    <a:pt x="6014143" y="533645"/>
                  </a:cubicBezTo>
                  <a:close/>
                  <a:moveTo>
                    <a:pt x="5725752" y="533645"/>
                  </a:moveTo>
                  <a:cubicBezTo>
                    <a:pt x="5735707" y="533645"/>
                    <a:pt x="5743777" y="541715"/>
                    <a:pt x="5743777" y="551669"/>
                  </a:cubicBezTo>
                  <a:cubicBezTo>
                    <a:pt x="5743777" y="561624"/>
                    <a:pt x="5735707" y="569694"/>
                    <a:pt x="5725752" y="569694"/>
                  </a:cubicBezTo>
                  <a:cubicBezTo>
                    <a:pt x="5715798" y="569694"/>
                    <a:pt x="5707728" y="561624"/>
                    <a:pt x="5707728" y="551669"/>
                  </a:cubicBezTo>
                  <a:cubicBezTo>
                    <a:pt x="5707728" y="541715"/>
                    <a:pt x="5715798" y="533645"/>
                    <a:pt x="5725752" y="533645"/>
                  </a:cubicBezTo>
                  <a:close/>
                  <a:moveTo>
                    <a:pt x="4013434" y="533645"/>
                  </a:moveTo>
                  <a:cubicBezTo>
                    <a:pt x="4023389" y="533645"/>
                    <a:pt x="4031459" y="541715"/>
                    <a:pt x="4031459" y="551669"/>
                  </a:cubicBezTo>
                  <a:cubicBezTo>
                    <a:pt x="4031459" y="561624"/>
                    <a:pt x="4023389" y="569694"/>
                    <a:pt x="4013434" y="569694"/>
                  </a:cubicBezTo>
                  <a:cubicBezTo>
                    <a:pt x="4003480" y="569694"/>
                    <a:pt x="3995410" y="561624"/>
                    <a:pt x="3995410" y="551669"/>
                  </a:cubicBezTo>
                  <a:cubicBezTo>
                    <a:pt x="3995410" y="541715"/>
                    <a:pt x="4003480" y="533645"/>
                    <a:pt x="4013434" y="533645"/>
                  </a:cubicBezTo>
                  <a:close/>
                  <a:moveTo>
                    <a:pt x="2223009" y="533645"/>
                  </a:moveTo>
                  <a:cubicBezTo>
                    <a:pt x="2232964" y="533645"/>
                    <a:pt x="2241034" y="541715"/>
                    <a:pt x="2241034" y="551669"/>
                  </a:cubicBezTo>
                  <a:cubicBezTo>
                    <a:pt x="2241034" y="561624"/>
                    <a:pt x="2232964" y="569694"/>
                    <a:pt x="2223009" y="569694"/>
                  </a:cubicBezTo>
                  <a:cubicBezTo>
                    <a:pt x="2213055" y="569694"/>
                    <a:pt x="2204985" y="561624"/>
                    <a:pt x="2204985" y="551669"/>
                  </a:cubicBezTo>
                  <a:cubicBezTo>
                    <a:pt x="2204985" y="541715"/>
                    <a:pt x="2213055" y="533645"/>
                    <a:pt x="2223009" y="533645"/>
                  </a:cubicBezTo>
                  <a:close/>
                  <a:moveTo>
                    <a:pt x="1249691" y="533645"/>
                  </a:moveTo>
                  <a:cubicBezTo>
                    <a:pt x="1259646" y="533645"/>
                    <a:pt x="1267716" y="541715"/>
                    <a:pt x="1267716" y="551669"/>
                  </a:cubicBezTo>
                  <a:cubicBezTo>
                    <a:pt x="1267716" y="561624"/>
                    <a:pt x="1259646" y="569694"/>
                    <a:pt x="1249691" y="569694"/>
                  </a:cubicBezTo>
                  <a:cubicBezTo>
                    <a:pt x="1239737" y="569694"/>
                    <a:pt x="1231667" y="561624"/>
                    <a:pt x="1231667" y="551669"/>
                  </a:cubicBezTo>
                  <a:cubicBezTo>
                    <a:pt x="1231667" y="541715"/>
                    <a:pt x="1239737" y="533645"/>
                    <a:pt x="1249691" y="533645"/>
                  </a:cubicBezTo>
                  <a:close/>
                  <a:moveTo>
                    <a:pt x="2409261" y="527636"/>
                  </a:moveTo>
                  <a:cubicBezTo>
                    <a:pt x="2419216" y="527636"/>
                    <a:pt x="2427286" y="535706"/>
                    <a:pt x="2427286" y="545661"/>
                  </a:cubicBezTo>
                  <a:cubicBezTo>
                    <a:pt x="2427286" y="555615"/>
                    <a:pt x="2419216" y="563685"/>
                    <a:pt x="2409261" y="563685"/>
                  </a:cubicBezTo>
                  <a:cubicBezTo>
                    <a:pt x="2399307" y="563685"/>
                    <a:pt x="2391237" y="555615"/>
                    <a:pt x="2391237" y="545661"/>
                  </a:cubicBezTo>
                  <a:cubicBezTo>
                    <a:pt x="2391237" y="535706"/>
                    <a:pt x="2399307" y="527636"/>
                    <a:pt x="2409261" y="527636"/>
                  </a:cubicBezTo>
                  <a:close/>
                  <a:moveTo>
                    <a:pt x="5527484" y="521628"/>
                  </a:moveTo>
                  <a:cubicBezTo>
                    <a:pt x="5537439" y="521628"/>
                    <a:pt x="5545509" y="529697"/>
                    <a:pt x="5545509" y="539652"/>
                  </a:cubicBezTo>
                  <a:cubicBezTo>
                    <a:pt x="5545509" y="549607"/>
                    <a:pt x="5537439" y="557677"/>
                    <a:pt x="5527484" y="557677"/>
                  </a:cubicBezTo>
                  <a:cubicBezTo>
                    <a:pt x="5517529" y="557677"/>
                    <a:pt x="5509460" y="549607"/>
                    <a:pt x="5509460" y="539652"/>
                  </a:cubicBezTo>
                  <a:cubicBezTo>
                    <a:pt x="5509460" y="529697"/>
                    <a:pt x="5517529" y="521628"/>
                    <a:pt x="5527484" y="521628"/>
                  </a:cubicBezTo>
                  <a:close/>
                  <a:moveTo>
                    <a:pt x="4830540" y="521628"/>
                  </a:moveTo>
                  <a:cubicBezTo>
                    <a:pt x="4840495" y="521628"/>
                    <a:pt x="4848565" y="529697"/>
                    <a:pt x="4848565" y="539652"/>
                  </a:cubicBezTo>
                  <a:cubicBezTo>
                    <a:pt x="4848565" y="549607"/>
                    <a:pt x="4840495" y="557677"/>
                    <a:pt x="4830540" y="557677"/>
                  </a:cubicBezTo>
                  <a:cubicBezTo>
                    <a:pt x="4820586" y="557677"/>
                    <a:pt x="4812516" y="549607"/>
                    <a:pt x="4812516" y="539652"/>
                  </a:cubicBezTo>
                  <a:cubicBezTo>
                    <a:pt x="4812516" y="529697"/>
                    <a:pt x="4820586" y="521628"/>
                    <a:pt x="4830540" y="521628"/>
                  </a:cubicBezTo>
                  <a:close/>
                  <a:moveTo>
                    <a:pt x="1514049" y="521628"/>
                  </a:moveTo>
                  <a:cubicBezTo>
                    <a:pt x="1524004" y="521628"/>
                    <a:pt x="1532074" y="529697"/>
                    <a:pt x="1532074" y="539652"/>
                  </a:cubicBezTo>
                  <a:cubicBezTo>
                    <a:pt x="1532074" y="549607"/>
                    <a:pt x="1524004" y="557677"/>
                    <a:pt x="1514049" y="557677"/>
                  </a:cubicBezTo>
                  <a:cubicBezTo>
                    <a:pt x="1504095" y="557677"/>
                    <a:pt x="1496025" y="549607"/>
                    <a:pt x="1496025" y="539652"/>
                  </a:cubicBezTo>
                  <a:cubicBezTo>
                    <a:pt x="1496025" y="529697"/>
                    <a:pt x="1504095" y="521628"/>
                    <a:pt x="1514049" y="521628"/>
                  </a:cubicBezTo>
                  <a:close/>
                  <a:moveTo>
                    <a:pt x="6332574" y="515620"/>
                  </a:moveTo>
                  <a:cubicBezTo>
                    <a:pt x="6342528" y="515620"/>
                    <a:pt x="6350598" y="523690"/>
                    <a:pt x="6350598" y="533644"/>
                  </a:cubicBezTo>
                  <a:cubicBezTo>
                    <a:pt x="6350598" y="543599"/>
                    <a:pt x="6342529" y="551669"/>
                    <a:pt x="6332574" y="551669"/>
                  </a:cubicBezTo>
                  <a:cubicBezTo>
                    <a:pt x="6322620" y="551669"/>
                    <a:pt x="6314549" y="543599"/>
                    <a:pt x="6314549" y="533644"/>
                  </a:cubicBezTo>
                  <a:cubicBezTo>
                    <a:pt x="6314549" y="523690"/>
                    <a:pt x="6322619" y="515620"/>
                    <a:pt x="6332574" y="515620"/>
                  </a:cubicBezTo>
                  <a:close/>
                  <a:moveTo>
                    <a:pt x="5893980" y="509612"/>
                  </a:moveTo>
                  <a:cubicBezTo>
                    <a:pt x="5903935" y="509612"/>
                    <a:pt x="5912005" y="517682"/>
                    <a:pt x="5912005" y="527636"/>
                  </a:cubicBezTo>
                  <a:cubicBezTo>
                    <a:pt x="5912005" y="537591"/>
                    <a:pt x="5903935" y="545661"/>
                    <a:pt x="5893980" y="545661"/>
                  </a:cubicBezTo>
                  <a:cubicBezTo>
                    <a:pt x="5884025" y="545661"/>
                    <a:pt x="5875956" y="537591"/>
                    <a:pt x="5875956" y="527636"/>
                  </a:cubicBezTo>
                  <a:cubicBezTo>
                    <a:pt x="5875956" y="517682"/>
                    <a:pt x="5884025" y="509612"/>
                    <a:pt x="5893980" y="509612"/>
                  </a:cubicBezTo>
                  <a:close/>
                  <a:moveTo>
                    <a:pt x="3244392" y="509612"/>
                  </a:moveTo>
                  <a:cubicBezTo>
                    <a:pt x="3254347" y="509612"/>
                    <a:pt x="3262417" y="517682"/>
                    <a:pt x="3262417" y="527636"/>
                  </a:cubicBezTo>
                  <a:cubicBezTo>
                    <a:pt x="3262417" y="537591"/>
                    <a:pt x="3254347" y="545661"/>
                    <a:pt x="3244392" y="545661"/>
                  </a:cubicBezTo>
                  <a:cubicBezTo>
                    <a:pt x="3234437" y="545661"/>
                    <a:pt x="3226368" y="537591"/>
                    <a:pt x="3226368" y="527636"/>
                  </a:cubicBezTo>
                  <a:cubicBezTo>
                    <a:pt x="3226368" y="517682"/>
                    <a:pt x="3234437" y="509612"/>
                    <a:pt x="3244392" y="509612"/>
                  </a:cubicBezTo>
                  <a:close/>
                  <a:moveTo>
                    <a:pt x="1982684" y="509612"/>
                  </a:moveTo>
                  <a:cubicBezTo>
                    <a:pt x="1992639" y="509612"/>
                    <a:pt x="2000709" y="517682"/>
                    <a:pt x="2000709" y="527636"/>
                  </a:cubicBezTo>
                  <a:cubicBezTo>
                    <a:pt x="2000709" y="537591"/>
                    <a:pt x="1992639" y="545661"/>
                    <a:pt x="1982684" y="545661"/>
                  </a:cubicBezTo>
                  <a:cubicBezTo>
                    <a:pt x="1972730" y="545661"/>
                    <a:pt x="1964660" y="537591"/>
                    <a:pt x="1964660" y="527636"/>
                  </a:cubicBezTo>
                  <a:cubicBezTo>
                    <a:pt x="1964660" y="517682"/>
                    <a:pt x="1972730" y="509612"/>
                    <a:pt x="1982684" y="509612"/>
                  </a:cubicBezTo>
                  <a:close/>
                  <a:moveTo>
                    <a:pt x="5040825" y="503604"/>
                  </a:moveTo>
                  <a:cubicBezTo>
                    <a:pt x="5050780" y="503604"/>
                    <a:pt x="5058850" y="511674"/>
                    <a:pt x="5058850" y="521628"/>
                  </a:cubicBezTo>
                  <a:cubicBezTo>
                    <a:pt x="5058850" y="531583"/>
                    <a:pt x="5050780" y="539653"/>
                    <a:pt x="5040825" y="539653"/>
                  </a:cubicBezTo>
                  <a:cubicBezTo>
                    <a:pt x="5030871" y="539653"/>
                    <a:pt x="5022801" y="531583"/>
                    <a:pt x="5022801" y="521628"/>
                  </a:cubicBezTo>
                  <a:cubicBezTo>
                    <a:pt x="5022801" y="511674"/>
                    <a:pt x="5030871" y="503604"/>
                    <a:pt x="5040825" y="503604"/>
                  </a:cubicBezTo>
                  <a:close/>
                  <a:moveTo>
                    <a:pt x="4926670" y="503604"/>
                  </a:moveTo>
                  <a:cubicBezTo>
                    <a:pt x="4936625" y="503604"/>
                    <a:pt x="4944695" y="511674"/>
                    <a:pt x="4944695" y="521628"/>
                  </a:cubicBezTo>
                  <a:cubicBezTo>
                    <a:pt x="4944695" y="531583"/>
                    <a:pt x="4936625" y="539653"/>
                    <a:pt x="4926670" y="539653"/>
                  </a:cubicBezTo>
                  <a:cubicBezTo>
                    <a:pt x="4916715" y="539653"/>
                    <a:pt x="4908646" y="531583"/>
                    <a:pt x="4908646" y="521628"/>
                  </a:cubicBezTo>
                  <a:cubicBezTo>
                    <a:pt x="4908646" y="511674"/>
                    <a:pt x="4916715" y="503604"/>
                    <a:pt x="4926670" y="503604"/>
                  </a:cubicBezTo>
                  <a:close/>
                  <a:moveTo>
                    <a:pt x="5419337" y="497596"/>
                  </a:moveTo>
                  <a:cubicBezTo>
                    <a:pt x="5429292" y="497596"/>
                    <a:pt x="5437362" y="505666"/>
                    <a:pt x="5437362" y="515621"/>
                  </a:cubicBezTo>
                  <a:cubicBezTo>
                    <a:pt x="5437362" y="525575"/>
                    <a:pt x="5429292" y="533645"/>
                    <a:pt x="5419337" y="533645"/>
                  </a:cubicBezTo>
                  <a:cubicBezTo>
                    <a:pt x="5409382" y="533645"/>
                    <a:pt x="5401312" y="525575"/>
                    <a:pt x="5401312" y="515621"/>
                  </a:cubicBezTo>
                  <a:cubicBezTo>
                    <a:pt x="5401312" y="505666"/>
                    <a:pt x="5409382" y="497596"/>
                    <a:pt x="5419337" y="497596"/>
                  </a:cubicBezTo>
                  <a:close/>
                  <a:moveTo>
                    <a:pt x="3610889" y="497596"/>
                  </a:moveTo>
                  <a:cubicBezTo>
                    <a:pt x="3620844" y="497596"/>
                    <a:pt x="3628914" y="505666"/>
                    <a:pt x="3628914" y="515621"/>
                  </a:cubicBezTo>
                  <a:cubicBezTo>
                    <a:pt x="3628914" y="525575"/>
                    <a:pt x="3620844" y="533645"/>
                    <a:pt x="3610889" y="533645"/>
                  </a:cubicBezTo>
                  <a:cubicBezTo>
                    <a:pt x="3600934" y="533645"/>
                    <a:pt x="3592865" y="525575"/>
                    <a:pt x="3592865" y="515621"/>
                  </a:cubicBezTo>
                  <a:cubicBezTo>
                    <a:pt x="3592865" y="505666"/>
                    <a:pt x="3600934" y="497596"/>
                    <a:pt x="3610889" y="497596"/>
                  </a:cubicBezTo>
                  <a:close/>
                  <a:moveTo>
                    <a:pt x="967309" y="497596"/>
                  </a:moveTo>
                  <a:cubicBezTo>
                    <a:pt x="977264" y="497596"/>
                    <a:pt x="985334" y="505666"/>
                    <a:pt x="985334" y="515621"/>
                  </a:cubicBezTo>
                  <a:cubicBezTo>
                    <a:pt x="985334" y="525575"/>
                    <a:pt x="977264" y="533645"/>
                    <a:pt x="967309" y="533645"/>
                  </a:cubicBezTo>
                  <a:cubicBezTo>
                    <a:pt x="957355" y="533645"/>
                    <a:pt x="949285" y="525575"/>
                    <a:pt x="949285" y="515621"/>
                  </a:cubicBezTo>
                  <a:cubicBezTo>
                    <a:pt x="949285" y="505666"/>
                    <a:pt x="957355" y="497596"/>
                    <a:pt x="967309" y="497596"/>
                  </a:cubicBezTo>
                  <a:close/>
                  <a:moveTo>
                    <a:pt x="450609" y="497596"/>
                  </a:moveTo>
                  <a:cubicBezTo>
                    <a:pt x="460564" y="497596"/>
                    <a:pt x="468634" y="505666"/>
                    <a:pt x="468634" y="515621"/>
                  </a:cubicBezTo>
                  <a:cubicBezTo>
                    <a:pt x="468634" y="525575"/>
                    <a:pt x="460564" y="533645"/>
                    <a:pt x="450609" y="533645"/>
                  </a:cubicBezTo>
                  <a:cubicBezTo>
                    <a:pt x="440655" y="533645"/>
                    <a:pt x="432585" y="525575"/>
                    <a:pt x="432585" y="515621"/>
                  </a:cubicBezTo>
                  <a:cubicBezTo>
                    <a:pt x="432585" y="505666"/>
                    <a:pt x="440655" y="497596"/>
                    <a:pt x="450609" y="497596"/>
                  </a:cubicBezTo>
                  <a:close/>
                  <a:moveTo>
                    <a:pt x="4632272" y="485580"/>
                  </a:moveTo>
                  <a:cubicBezTo>
                    <a:pt x="4642227" y="485580"/>
                    <a:pt x="4650297" y="493650"/>
                    <a:pt x="4650297" y="503604"/>
                  </a:cubicBezTo>
                  <a:cubicBezTo>
                    <a:pt x="4650297" y="513559"/>
                    <a:pt x="4642227" y="521629"/>
                    <a:pt x="4632272" y="521629"/>
                  </a:cubicBezTo>
                  <a:cubicBezTo>
                    <a:pt x="4622317" y="521629"/>
                    <a:pt x="4614248" y="513559"/>
                    <a:pt x="4614248" y="503604"/>
                  </a:cubicBezTo>
                  <a:cubicBezTo>
                    <a:pt x="4614248" y="493650"/>
                    <a:pt x="4622317" y="485580"/>
                    <a:pt x="4632272" y="485580"/>
                  </a:cubicBezTo>
                  <a:close/>
                  <a:moveTo>
                    <a:pt x="4379930" y="485580"/>
                  </a:moveTo>
                  <a:cubicBezTo>
                    <a:pt x="4389885" y="485580"/>
                    <a:pt x="4397955" y="493650"/>
                    <a:pt x="4397955" y="503604"/>
                  </a:cubicBezTo>
                  <a:cubicBezTo>
                    <a:pt x="4397955" y="513559"/>
                    <a:pt x="4389885" y="521629"/>
                    <a:pt x="4379930" y="521629"/>
                  </a:cubicBezTo>
                  <a:cubicBezTo>
                    <a:pt x="4369976" y="521629"/>
                    <a:pt x="4361906" y="513559"/>
                    <a:pt x="4361906" y="503604"/>
                  </a:cubicBezTo>
                  <a:cubicBezTo>
                    <a:pt x="4361906" y="493650"/>
                    <a:pt x="4369976" y="485580"/>
                    <a:pt x="4379930" y="485580"/>
                  </a:cubicBezTo>
                  <a:close/>
                  <a:moveTo>
                    <a:pt x="5160987" y="479571"/>
                  </a:moveTo>
                  <a:cubicBezTo>
                    <a:pt x="5170942" y="479571"/>
                    <a:pt x="5179012" y="487641"/>
                    <a:pt x="5179012" y="497595"/>
                  </a:cubicBezTo>
                  <a:cubicBezTo>
                    <a:pt x="5179012" y="507550"/>
                    <a:pt x="5170942" y="515620"/>
                    <a:pt x="5160987" y="515620"/>
                  </a:cubicBezTo>
                  <a:cubicBezTo>
                    <a:pt x="5151033" y="515620"/>
                    <a:pt x="5142963" y="507550"/>
                    <a:pt x="5142963" y="497595"/>
                  </a:cubicBezTo>
                  <a:cubicBezTo>
                    <a:pt x="5142963" y="487641"/>
                    <a:pt x="5151033" y="479571"/>
                    <a:pt x="5160987" y="479571"/>
                  </a:cubicBezTo>
                  <a:close/>
                  <a:moveTo>
                    <a:pt x="4241743" y="479571"/>
                  </a:moveTo>
                  <a:cubicBezTo>
                    <a:pt x="4251698" y="479571"/>
                    <a:pt x="4259768" y="487641"/>
                    <a:pt x="4259768" y="497595"/>
                  </a:cubicBezTo>
                  <a:cubicBezTo>
                    <a:pt x="4259768" y="507550"/>
                    <a:pt x="4251698" y="515620"/>
                    <a:pt x="4241743" y="515620"/>
                  </a:cubicBezTo>
                  <a:cubicBezTo>
                    <a:pt x="4231788" y="515620"/>
                    <a:pt x="4223719" y="507550"/>
                    <a:pt x="4223719" y="497595"/>
                  </a:cubicBezTo>
                  <a:cubicBezTo>
                    <a:pt x="4223719" y="487641"/>
                    <a:pt x="4231788" y="479571"/>
                    <a:pt x="4241743" y="479571"/>
                  </a:cubicBezTo>
                  <a:close/>
                  <a:moveTo>
                    <a:pt x="3821173" y="479571"/>
                  </a:moveTo>
                  <a:cubicBezTo>
                    <a:pt x="3831128" y="479571"/>
                    <a:pt x="3839198" y="487641"/>
                    <a:pt x="3839198" y="497595"/>
                  </a:cubicBezTo>
                  <a:cubicBezTo>
                    <a:pt x="3839198" y="507550"/>
                    <a:pt x="3831128" y="515620"/>
                    <a:pt x="3821173" y="515620"/>
                  </a:cubicBezTo>
                  <a:cubicBezTo>
                    <a:pt x="3811218" y="515620"/>
                    <a:pt x="3803149" y="507550"/>
                    <a:pt x="3803149" y="497595"/>
                  </a:cubicBezTo>
                  <a:cubicBezTo>
                    <a:pt x="3803149" y="487641"/>
                    <a:pt x="3811218" y="479571"/>
                    <a:pt x="3821173" y="479571"/>
                  </a:cubicBezTo>
                  <a:close/>
                  <a:moveTo>
                    <a:pt x="3364555" y="479571"/>
                  </a:moveTo>
                  <a:cubicBezTo>
                    <a:pt x="3374510" y="479571"/>
                    <a:pt x="3382580" y="487641"/>
                    <a:pt x="3382580" y="497595"/>
                  </a:cubicBezTo>
                  <a:cubicBezTo>
                    <a:pt x="3382580" y="507550"/>
                    <a:pt x="3374510" y="515620"/>
                    <a:pt x="3364555" y="515620"/>
                  </a:cubicBezTo>
                  <a:cubicBezTo>
                    <a:pt x="3354600" y="515620"/>
                    <a:pt x="3346531" y="507550"/>
                    <a:pt x="3346531" y="497595"/>
                  </a:cubicBezTo>
                  <a:cubicBezTo>
                    <a:pt x="3346531" y="487641"/>
                    <a:pt x="3354600" y="479571"/>
                    <a:pt x="3364555" y="479571"/>
                  </a:cubicBezTo>
                  <a:close/>
                  <a:moveTo>
                    <a:pt x="1093480" y="479571"/>
                  </a:moveTo>
                  <a:cubicBezTo>
                    <a:pt x="1103435" y="479571"/>
                    <a:pt x="1111505" y="487641"/>
                    <a:pt x="1111505" y="497595"/>
                  </a:cubicBezTo>
                  <a:cubicBezTo>
                    <a:pt x="1111505" y="507550"/>
                    <a:pt x="1103435" y="515620"/>
                    <a:pt x="1093480" y="515620"/>
                  </a:cubicBezTo>
                  <a:cubicBezTo>
                    <a:pt x="1083526" y="515620"/>
                    <a:pt x="1075456" y="507550"/>
                    <a:pt x="1075456" y="497595"/>
                  </a:cubicBezTo>
                  <a:cubicBezTo>
                    <a:pt x="1075456" y="487641"/>
                    <a:pt x="1083526" y="479571"/>
                    <a:pt x="1093480" y="479571"/>
                  </a:cubicBezTo>
                  <a:close/>
                  <a:moveTo>
                    <a:pt x="5299175" y="473563"/>
                  </a:moveTo>
                  <a:cubicBezTo>
                    <a:pt x="5309130" y="473563"/>
                    <a:pt x="5317200" y="481633"/>
                    <a:pt x="5317200" y="491587"/>
                  </a:cubicBezTo>
                  <a:cubicBezTo>
                    <a:pt x="5317200" y="501542"/>
                    <a:pt x="5309130" y="509612"/>
                    <a:pt x="5299175" y="509612"/>
                  </a:cubicBezTo>
                  <a:cubicBezTo>
                    <a:pt x="5289220" y="509612"/>
                    <a:pt x="5281150" y="501542"/>
                    <a:pt x="5281150" y="491587"/>
                  </a:cubicBezTo>
                  <a:cubicBezTo>
                    <a:pt x="5281150" y="481633"/>
                    <a:pt x="5289220" y="473563"/>
                    <a:pt x="5299175" y="473563"/>
                  </a:cubicBezTo>
                  <a:close/>
                  <a:moveTo>
                    <a:pt x="4506101" y="473563"/>
                  </a:moveTo>
                  <a:cubicBezTo>
                    <a:pt x="4516056" y="473563"/>
                    <a:pt x="4524126" y="481633"/>
                    <a:pt x="4524126" y="491587"/>
                  </a:cubicBezTo>
                  <a:cubicBezTo>
                    <a:pt x="4524126" y="501542"/>
                    <a:pt x="4516056" y="509612"/>
                    <a:pt x="4506101" y="509612"/>
                  </a:cubicBezTo>
                  <a:cubicBezTo>
                    <a:pt x="4496146" y="509612"/>
                    <a:pt x="4488077" y="501542"/>
                    <a:pt x="4488077" y="491587"/>
                  </a:cubicBezTo>
                  <a:cubicBezTo>
                    <a:pt x="4488077" y="481633"/>
                    <a:pt x="4496146" y="473563"/>
                    <a:pt x="4506101" y="473563"/>
                  </a:cubicBezTo>
                  <a:close/>
                  <a:moveTo>
                    <a:pt x="4115572" y="473563"/>
                  </a:moveTo>
                  <a:cubicBezTo>
                    <a:pt x="4125527" y="473563"/>
                    <a:pt x="4133597" y="481633"/>
                    <a:pt x="4133597" y="491587"/>
                  </a:cubicBezTo>
                  <a:cubicBezTo>
                    <a:pt x="4133597" y="501542"/>
                    <a:pt x="4125527" y="509612"/>
                    <a:pt x="4115572" y="509612"/>
                  </a:cubicBezTo>
                  <a:cubicBezTo>
                    <a:pt x="4105617" y="509612"/>
                    <a:pt x="4097548" y="501542"/>
                    <a:pt x="4097548" y="491587"/>
                  </a:cubicBezTo>
                  <a:cubicBezTo>
                    <a:pt x="4097548" y="481633"/>
                    <a:pt x="4105617" y="473563"/>
                    <a:pt x="4115572" y="473563"/>
                  </a:cubicBezTo>
                  <a:close/>
                  <a:moveTo>
                    <a:pt x="2295107" y="473563"/>
                  </a:moveTo>
                  <a:cubicBezTo>
                    <a:pt x="2305062" y="473563"/>
                    <a:pt x="2313132" y="481633"/>
                    <a:pt x="2313132" y="491587"/>
                  </a:cubicBezTo>
                  <a:cubicBezTo>
                    <a:pt x="2313132" y="501542"/>
                    <a:pt x="2305062" y="509612"/>
                    <a:pt x="2295107" y="509612"/>
                  </a:cubicBezTo>
                  <a:cubicBezTo>
                    <a:pt x="2285153" y="509612"/>
                    <a:pt x="2277083" y="501542"/>
                    <a:pt x="2277083" y="491587"/>
                  </a:cubicBezTo>
                  <a:cubicBezTo>
                    <a:pt x="2277083" y="481633"/>
                    <a:pt x="2285153" y="473563"/>
                    <a:pt x="2295107" y="473563"/>
                  </a:cubicBezTo>
                  <a:close/>
                  <a:moveTo>
                    <a:pt x="1838489" y="473563"/>
                  </a:moveTo>
                  <a:cubicBezTo>
                    <a:pt x="1848444" y="473563"/>
                    <a:pt x="1856514" y="481633"/>
                    <a:pt x="1856514" y="491587"/>
                  </a:cubicBezTo>
                  <a:cubicBezTo>
                    <a:pt x="1856514" y="501542"/>
                    <a:pt x="1848444" y="509612"/>
                    <a:pt x="1838489" y="509612"/>
                  </a:cubicBezTo>
                  <a:cubicBezTo>
                    <a:pt x="1828535" y="509612"/>
                    <a:pt x="1820465" y="501542"/>
                    <a:pt x="1820465" y="491587"/>
                  </a:cubicBezTo>
                  <a:cubicBezTo>
                    <a:pt x="1820465" y="481633"/>
                    <a:pt x="1828535" y="473563"/>
                    <a:pt x="1838489" y="473563"/>
                  </a:cubicBezTo>
                  <a:close/>
                  <a:moveTo>
                    <a:pt x="2889912" y="467555"/>
                  </a:moveTo>
                  <a:cubicBezTo>
                    <a:pt x="2899867" y="467555"/>
                    <a:pt x="2907937" y="475625"/>
                    <a:pt x="2907937" y="485580"/>
                  </a:cubicBezTo>
                  <a:cubicBezTo>
                    <a:pt x="2907937" y="495534"/>
                    <a:pt x="2899867" y="503604"/>
                    <a:pt x="2889912" y="503604"/>
                  </a:cubicBezTo>
                  <a:cubicBezTo>
                    <a:pt x="2879957" y="503604"/>
                    <a:pt x="2871888" y="495534"/>
                    <a:pt x="2871888" y="485580"/>
                  </a:cubicBezTo>
                  <a:cubicBezTo>
                    <a:pt x="2871888" y="475625"/>
                    <a:pt x="2879957" y="467555"/>
                    <a:pt x="2889912" y="467555"/>
                  </a:cubicBezTo>
                  <a:close/>
                  <a:moveTo>
                    <a:pt x="2108855" y="467555"/>
                  </a:moveTo>
                  <a:cubicBezTo>
                    <a:pt x="2118810" y="467555"/>
                    <a:pt x="2126880" y="475625"/>
                    <a:pt x="2126880" y="485580"/>
                  </a:cubicBezTo>
                  <a:cubicBezTo>
                    <a:pt x="2126880" y="495534"/>
                    <a:pt x="2118810" y="503604"/>
                    <a:pt x="2108855" y="503604"/>
                  </a:cubicBezTo>
                  <a:cubicBezTo>
                    <a:pt x="2098901" y="503604"/>
                    <a:pt x="2090831" y="495534"/>
                    <a:pt x="2090831" y="485580"/>
                  </a:cubicBezTo>
                  <a:cubicBezTo>
                    <a:pt x="2090831" y="475625"/>
                    <a:pt x="2098901" y="467555"/>
                    <a:pt x="2108855" y="467555"/>
                  </a:cubicBezTo>
                  <a:close/>
                  <a:moveTo>
                    <a:pt x="1616189" y="467555"/>
                  </a:moveTo>
                  <a:cubicBezTo>
                    <a:pt x="1626143" y="467555"/>
                    <a:pt x="1634213" y="475625"/>
                    <a:pt x="1634213" y="485580"/>
                  </a:cubicBezTo>
                  <a:cubicBezTo>
                    <a:pt x="1634213" y="495534"/>
                    <a:pt x="1626143" y="503604"/>
                    <a:pt x="1616189" y="503604"/>
                  </a:cubicBezTo>
                  <a:cubicBezTo>
                    <a:pt x="1606234" y="503604"/>
                    <a:pt x="1598164" y="495534"/>
                    <a:pt x="1598164" y="485580"/>
                  </a:cubicBezTo>
                  <a:cubicBezTo>
                    <a:pt x="1598164" y="475625"/>
                    <a:pt x="1606234" y="467555"/>
                    <a:pt x="1616189" y="467555"/>
                  </a:cubicBezTo>
                  <a:close/>
                  <a:moveTo>
                    <a:pt x="330447" y="467555"/>
                  </a:moveTo>
                  <a:cubicBezTo>
                    <a:pt x="340402" y="467555"/>
                    <a:pt x="348472" y="475625"/>
                    <a:pt x="348472" y="485580"/>
                  </a:cubicBezTo>
                  <a:cubicBezTo>
                    <a:pt x="348472" y="495534"/>
                    <a:pt x="340402" y="503604"/>
                    <a:pt x="330447" y="503604"/>
                  </a:cubicBezTo>
                  <a:cubicBezTo>
                    <a:pt x="320493" y="503604"/>
                    <a:pt x="312423" y="495534"/>
                    <a:pt x="312423" y="485580"/>
                  </a:cubicBezTo>
                  <a:cubicBezTo>
                    <a:pt x="312423" y="475625"/>
                    <a:pt x="320493" y="467555"/>
                    <a:pt x="330447" y="467555"/>
                  </a:cubicBezTo>
                  <a:close/>
                  <a:moveTo>
                    <a:pt x="3935328" y="461547"/>
                  </a:moveTo>
                  <a:cubicBezTo>
                    <a:pt x="3945283" y="461547"/>
                    <a:pt x="3953353" y="469616"/>
                    <a:pt x="3953353" y="479571"/>
                  </a:cubicBezTo>
                  <a:cubicBezTo>
                    <a:pt x="3953353" y="489526"/>
                    <a:pt x="3945283" y="497596"/>
                    <a:pt x="3935328" y="497596"/>
                  </a:cubicBezTo>
                  <a:cubicBezTo>
                    <a:pt x="3925373" y="497596"/>
                    <a:pt x="3917304" y="489526"/>
                    <a:pt x="3917304" y="479571"/>
                  </a:cubicBezTo>
                  <a:cubicBezTo>
                    <a:pt x="3917304" y="469616"/>
                    <a:pt x="3925373" y="461547"/>
                    <a:pt x="3935328" y="461547"/>
                  </a:cubicBezTo>
                  <a:close/>
                  <a:moveTo>
                    <a:pt x="6224427" y="455539"/>
                  </a:moveTo>
                  <a:cubicBezTo>
                    <a:pt x="6234382" y="455539"/>
                    <a:pt x="6242452" y="463609"/>
                    <a:pt x="6242452" y="473563"/>
                  </a:cubicBezTo>
                  <a:cubicBezTo>
                    <a:pt x="6242452" y="483518"/>
                    <a:pt x="6234382" y="491588"/>
                    <a:pt x="6224427" y="491588"/>
                  </a:cubicBezTo>
                  <a:cubicBezTo>
                    <a:pt x="6214472" y="491588"/>
                    <a:pt x="6206403" y="483518"/>
                    <a:pt x="6206403" y="473563"/>
                  </a:cubicBezTo>
                  <a:cubicBezTo>
                    <a:pt x="6206403" y="463609"/>
                    <a:pt x="6214472" y="455539"/>
                    <a:pt x="6224427" y="455539"/>
                  </a:cubicBezTo>
                  <a:close/>
                  <a:moveTo>
                    <a:pt x="6110273" y="455539"/>
                  </a:moveTo>
                  <a:cubicBezTo>
                    <a:pt x="6120228" y="455539"/>
                    <a:pt x="6128298" y="463609"/>
                    <a:pt x="6128298" y="473563"/>
                  </a:cubicBezTo>
                  <a:cubicBezTo>
                    <a:pt x="6128298" y="483518"/>
                    <a:pt x="6120228" y="491588"/>
                    <a:pt x="6110273" y="491588"/>
                  </a:cubicBezTo>
                  <a:cubicBezTo>
                    <a:pt x="6100318" y="491588"/>
                    <a:pt x="6092248" y="483518"/>
                    <a:pt x="6092248" y="473563"/>
                  </a:cubicBezTo>
                  <a:cubicBezTo>
                    <a:pt x="6092248" y="463609"/>
                    <a:pt x="6100318" y="455539"/>
                    <a:pt x="6110273" y="455539"/>
                  </a:cubicBezTo>
                  <a:close/>
                  <a:moveTo>
                    <a:pt x="3496734" y="455539"/>
                  </a:moveTo>
                  <a:cubicBezTo>
                    <a:pt x="3506689" y="455539"/>
                    <a:pt x="3514759" y="463609"/>
                    <a:pt x="3514759" y="473563"/>
                  </a:cubicBezTo>
                  <a:cubicBezTo>
                    <a:pt x="3514759" y="483518"/>
                    <a:pt x="3506689" y="491588"/>
                    <a:pt x="3496734" y="491588"/>
                  </a:cubicBezTo>
                  <a:cubicBezTo>
                    <a:pt x="3486779" y="491588"/>
                    <a:pt x="3478709" y="483518"/>
                    <a:pt x="3478709" y="473563"/>
                  </a:cubicBezTo>
                  <a:cubicBezTo>
                    <a:pt x="3478709" y="463609"/>
                    <a:pt x="3486779" y="455539"/>
                    <a:pt x="3496734" y="455539"/>
                  </a:cubicBezTo>
                  <a:close/>
                  <a:moveTo>
                    <a:pt x="1333805" y="455539"/>
                  </a:moveTo>
                  <a:cubicBezTo>
                    <a:pt x="1343760" y="455539"/>
                    <a:pt x="1351830" y="463609"/>
                    <a:pt x="1351830" y="473563"/>
                  </a:cubicBezTo>
                  <a:cubicBezTo>
                    <a:pt x="1351830" y="483518"/>
                    <a:pt x="1343760" y="491588"/>
                    <a:pt x="1333805" y="491588"/>
                  </a:cubicBezTo>
                  <a:cubicBezTo>
                    <a:pt x="1323851" y="491588"/>
                    <a:pt x="1315781" y="483518"/>
                    <a:pt x="1315781" y="473563"/>
                  </a:cubicBezTo>
                  <a:cubicBezTo>
                    <a:pt x="1315781" y="463609"/>
                    <a:pt x="1323851" y="455539"/>
                    <a:pt x="1333805" y="455539"/>
                  </a:cubicBezTo>
                  <a:close/>
                  <a:moveTo>
                    <a:pt x="2727693" y="449531"/>
                  </a:moveTo>
                  <a:cubicBezTo>
                    <a:pt x="2737648" y="449531"/>
                    <a:pt x="2745718" y="457601"/>
                    <a:pt x="2745718" y="467555"/>
                  </a:cubicBezTo>
                  <a:cubicBezTo>
                    <a:pt x="2745718" y="477510"/>
                    <a:pt x="2737648" y="485580"/>
                    <a:pt x="2727693" y="485580"/>
                  </a:cubicBezTo>
                  <a:cubicBezTo>
                    <a:pt x="2717739" y="485580"/>
                    <a:pt x="2709669" y="477510"/>
                    <a:pt x="2709669" y="467555"/>
                  </a:cubicBezTo>
                  <a:cubicBezTo>
                    <a:pt x="2709669" y="457601"/>
                    <a:pt x="2717739" y="449531"/>
                    <a:pt x="2727693" y="449531"/>
                  </a:cubicBezTo>
                  <a:close/>
                  <a:moveTo>
                    <a:pt x="2607530" y="449531"/>
                  </a:moveTo>
                  <a:cubicBezTo>
                    <a:pt x="2617485" y="449531"/>
                    <a:pt x="2625555" y="457601"/>
                    <a:pt x="2625555" y="467555"/>
                  </a:cubicBezTo>
                  <a:cubicBezTo>
                    <a:pt x="2625555" y="477510"/>
                    <a:pt x="2617485" y="485580"/>
                    <a:pt x="2607530" y="485580"/>
                  </a:cubicBezTo>
                  <a:cubicBezTo>
                    <a:pt x="2597576" y="485580"/>
                    <a:pt x="2589506" y="477510"/>
                    <a:pt x="2589506" y="467555"/>
                  </a:cubicBezTo>
                  <a:cubicBezTo>
                    <a:pt x="2589506" y="457601"/>
                    <a:pt x="2597576" y="449531"/>
                    <a:pt x="2607530" y="449531"/>
                  </a:cubicBezTo>
                  <a:close/>
                  <a:moveTo>
                    <a:pt x="5797850" y="443523"/>
                  </a:moveTo>
                  <a:cubicBezTo>
                    <a:pt x="5807805" y="443523"/>
                    <a:pt x="5815875" y="451593"/>
                    <a:pt x="5815875" y="461547"/>
                  </a:cubicBezTo>
                  <a:cubicBezTo>
                    <a:pt x="5815875" y="471502"/>
                    <a:pt x="5807805" y="479572"/>
                    <a:pt x="5797850" y="479572"/>
                  </a:cubicBezTo>
                  <a:cubicBezTo>
                    <a:pt x="5787895" y="479572"/>
                    <a:pt x="5779826" y="471502"/>
                    <a:pt x="5779826" y="461547"/>
                  </a:cubicBezTo>
                  <a:cubicBezTo>
                    <a:pt x="5779826" y="451593"/>
                    <a:pt x="5787895" y="443523"/>
                    <a:pt x="5797850" y="443523"/>
                  </a:cubicBezTo>
                  <a:close/>
                  <a:moveTo>
                    <a:pt x="5653655" y="443523"/>
                  </a:moveTo>
                  <a:cubicBezTo>
                    <a:pt x="5663610" y="443523"/>
                    <a:pt x="5671680" y="451593"/>
                    <a:pt x="5671680" y="461547"/>
                  </a:cubicBezTo>
                  <a:cubicBezTo>
                    <a:pt x="5671680" y="471502"/>
                    <a:pt x="5663610" y="479572"/>
                    <a:pt x="5653655" y="479572"/>
                  </a:cubicBezTo>
                  <a:cubicBezTo>
                    <a:pt x="5643700" y="479572"/>
                    <a:pt x="5635631" y="471502"/>
                    <a:pt x="5635631" y="461547"/>
                  </a:cubicBezTo>
                  <a:cubicBezTo>
                    <a:pt x="5635631" y="451593"/>
                    <a:pt x="5643700" y="443523"/>
                    <a:pt x="5653655" y="443523"/>
                  </a:cubicBezTo>
                  <a:close/>
                  <a:moveTo>
                    <a:pt x="96129" y="437514"/>
                  </a:moveTo>
                  <a:cubicBezTo>
                    <a:pt x="106084" y="437514"/>
                    <a:pt x="114154" y="445584"/>
                    <a:pt x="114154" y="455539"/>
                  </a:cubicBezTo>
                  <a:cubicBezTo>
                    <a:pt x="114154" y="465493"/>
                    <a:pt x="106084" y="473563"/>
                    <a:pt x="96129" y="473563"/>
                  </a:cubicBezTo>
                  <a:cubicBezTo>
                    <a:pt x="86175" y="473563"/>
                    <a:pt x="78105" y="465493"/>
                    <a:pt x="78105" y="455539"/>
                  </a:cubicBezTo>
                  <a:cubicBezTo>
                    <a:pt x="78105" y="445584"/>
                    <a:pt x="86175" y="437514"/>
                    <a:pt x="96129" y="437514"/>
                  </a:cubicBezTo>
                  <a:close/>
                  <a:moveTo>
                    <a:pt x="3058140" y="431506"/>
                  </a:moveTo>
                  <a:cubicBezTo>
                    <a:pt x="3068095" y="431506"/>
                    <a:pt x="3076165" y="439575"/>
                    <a:pt x="3076165" y="449530"/>
                  </a:cubicBezTo>
                  <a:cubicBezTo>
                    <a:pt x="3076165" y="459485"/>
                    <a:pt x="3068095" y="467555"/>
                    <a:pt x="3058140" y="467555"/>
                  </a:cubicBezTo>
                  <a:cubicBezTo>
                    <a:pt x="3048186" y="467555"/>
                    <a:pt x="3040116" y="459485"/>
                    <a:pt x="3040116" y="449530"/>
                  </a:cubicBezTo>
                  <a:cubicBezTo>
                    <a:pt x="3040116" y="439575"/>
                    <a:pt x="3048186" y="431506"/>
                    <a:pt x="3058140" y="431506"/>
                  </a:cubicBezTo>
                  <a:close/>
                  <a:moveTo>
                    <a:pt x="2493375" y="431506"/>
                  </a:moveTo>
                  <a:cubicBezTo>
                    <a:pt x="2503330" y="431506"/>
                    <a:pt x="2511400" y="439575"/>
                    <a:pt x="2511400" y="449530"/>
                  </a:cubicBezTo>
                  <a:cubicBezTo>
                    <a:pt x="2511400" y="459485"/>
                    <a:pt x="2503330" y="467555"/>
                    <a:pt x="2493375" y="467555"/>
                  </a:cubicBezTo>
                  <a:cubicBezTo>
                    <a:pt x="2483420" y="467555"/>
                    <a:pt x="2475351" y="459485"/>
                    <a:pt x="2475351" y="449530"/>
                  </a:cubicBezTo>
                  <a:cubicBezTo>
                    <a:pt x="2475351" y="439575"/>
                    <a:pt x="2483420" y="431506"/>
                    <a:pt x="2493375" y="431506"/>
                  </a:cubicBezTo>
                  <a:close/>
                  <a:moveTo>
                    <a:pt x="216292" y="431506"/>
                  </a:moveTo>
                  <a:cubicBezTo>
                    <a:pt x="226247" y="431506"/>
                    <a:pt x="234317" y="439575"/>
                    <a:pt x="234317" y="449530"/>
                  </a:cubicBezTo>
                  <a:cubicBezTo>
                    <a:pt x="234317" y="459485"/>
                    <a:pt x="226247" y="467555"/>
                    <a:pt x="216292" y="467555"/>
                  </a:cubicBezTo>
                  <a:cubicBezTo>
                    <a:pt x="206338" y="467555"/>
                    <a:pt x="198268" y="459485"/>
                    <a:pt x="198268" y="449530"/>
                  </a:cubicBezTo>
                  <a:cubicBezTo>
                    <a:pt x="198268" y="439575"/>
                    <a:pt x="206338" y="431506"/>
                    <a:pt x="216292" y="431506"/>
                  </a:cubicBezTo>
                  <a:close/>
                  <a:moveTo>
                    <a:pt x="4758442" y="425498"/>
                  </a:moveTo>
                  <a:cubicBezTo>
                    <a:pt x="4768397" y="425498"/>
                    <a:pt x="4776467" y="433568"/>
                    <a:pt x="4776467" y="443522"/>
                  </a:cubicBezTo>
                  <a:cubicBezTo>
                    <a:pt x="4776467" y="453477"/>
                    <a:pt x="4768397" y="461547"/>
                    <a:pt x="4758442" y="461547"/>
                  </a:cubicBezTo>
                  <a:cubicBezTo>
                    <a:pt x="4748487" y="461547"/>
                    <a:pt x="4740417" y="453477"/>
                    <a:pt x="4740417" y="443522"/>
                  </a:cubicBezTo>
                  <a:cubicBezTo>
                    <a:pt x="4740417" y="433568"/>
                    <a:pt x="4748487" y="425498"/>
                    <a:pt x="4758442" y="425498"/>
                  </a:cubicBezTo>
                  <a:close/>
                  <a:moveTo>
                    <a:pt x="1453968" y="425498"/>
                  </a:moveTo>
                  <a:cubicBezTo>
                    <a:pt x="1463923" y="425498"/>
                    <a:pt x="1471993" y="433568"/>
                    <a:pt x="1471993" y="443522"/>
                  </a:cubicBezTo>
                  <a:cubicBezTo>
                    <a:pt x="1471993" y="453477"/>
                    <a:pt x="1463923" y="461547"/>
                    <a:pt x="1453968" y="461547"/>
                  </a:cubicBezTo>
                  <a:cubicBezTo>
                    <a:pt x="1444014" y="461547"/>
                    <a:pt x="1435944" y="453477"/>
                    <a:pt x="1435944" y="443522"/>
                  </a:cubicBezTo>
                  <a:cubicBezTo>
                    <a:pt x="1435944" y="433568"/>
                    <a:pt x="1444014" y="425498"/>
                    <a:pt x="1453968" y="425498"/>
                  </a:cubicBezTo>
                  <a:close/>
                  <a:moveTo>
                    <a:pt x="552748" y="425498"/>
                  </a:moveTo>
                  <a:cubicBezTo>
                    <a:pt x="562703" y="425498"/>
                    <a:pt x="570773" y="433568"/>
                    <a:pt x="570773" y="443522"/>
                  </a:cubicBezTo>
                  <a:cubicBezTo>
                    <a:pt x="570773" y="453477"/>
                    <a:pt x="562703" y="461547"/>
                    <a:pt x="552748" y="461547"/>
                  </a:cubicBezTo>
                  <a:cubicBezTo>
                    <a:pt x="542794" y="461547"/>
                    <a:pt x="534724" y="453477"/>
                    <a:pt x="534724" y="443522"/>
                  </a:cubicBezTo>
                  <a:cubicBezTo>
                    <a:pt x="534724" y="433568"/>
                    <a:pt x="542794" y="425498"/>
                    <a:pt x="552748" y="425498"/>
                  </a:cubicBezTo>
                  <a:close/>
                  <a:moveTo>
                    <a:pt x="1742358" y="419490"/>
                  </a:moveTo>
                  <a:cubicBezTo>
                    <a:pt x="1752313" y="419490"/>
                    <a:pt x="1760383" y="427560"/>
                    <a:pt x="1760383" y="437514"/>
                  </a:cubicBezTo>
                  <a:cubicBezTo>
                    <a:pt x="1760383" y="447469"/>
                    <a:pt x="1752313" y="455539"/>
                    <a:pt x="1742358" y="455539"/>
                  </a:cubicBezTo>
                  <a:cubicBezTo>
                    <a:pt x="1732404" y="455539"/>
                    <a:pt x="1724334" y="447469"/>
                    <a:pt x="1724334" y="437514"/>
                  </a:cubicBezTo>
                  <a:cubicBezTo>
                    <a:pt x="1724334" y="427560"/>
                    <a:pt x="1732404" y="419490"/>
                    <a:pt x="1742358" y="419490"/>
                  </a:cubicBezTo>
                  <a:close/>
                  <a:moveTo>
                    <a:pt x="1183602" y="413482"/>
                  </a:moveTo>
                  <a:cubicBezTo>
                    <a:pt x="1193557" y="413482"/>
                    <a:pt x="1201627" y="421552"/>
                    <a:pt x="1201627" y="431506"/>
                  </a:cubicBezTo>
                  <a:cubicBezTo>
                    <a:pt x="1201627" y="441461"/>
                    <a:pt x="1193557" y="449531"/>
                    <a:pt x="1183602" y="449531"/>
                  </a:cubicBezTo>
                  <a:cubicBezTo>
                    <a:pt x="1173648" y="449531"/>
                    <a:pt x="1165578" y="441461"/>
                    <a:pt x="1165578" y="431506"/>
                  </a:cubicBezTo>
                  <a:cubicBezTo>
                    <a:pt x="1165578" y="421552"/>
                    <a:pt x="1173648" y="413482"/>
                    <a:pt x="1183602" y="413482"/>
                  </a:cubicBezTo>
                  <a:close/>
                  <a:moveTo>
                    <a:pt x="895212" y="413482"/>
                  </a:moveTo>
                  <a:cubicBezTo>
                    <a:pt x="905166" y="413482"/>
                    <a:pt x="913236" y="421552"/>
                    <a:pt x="913236" y="431506"/>
                  </a:cubicBezTo>
                  <a:cubicBezTo>
                    <a:pt x="913236" y="441461"/>
                    <a:pt x="905166" y="449531"/>
                    <a:pt x="895212" y="449531"/>
                  </a:cubicBezTo>
                  <a:cubicBezTo>
                    <a:pt x="885257" y="449531"/>
                    <a:pt x="877187" y="441461"/>
                    <a:pt x="877187" y="431506"/>
                  </a:cubicBezTo>
                  <a:cubicBezTo>
                    <a:pt x="877187" y="421552"/>
                    <a:pt x="885257" y="413482"/>
                    <a:pt x="895212" y="413482"/>
                  </a:cubicBezTo>
                  <a:close/>
                  <a:moveTo>
                    <a:pt x="672910" y="413482"/>
                  </a:moveTo>
                  <a:cubicBezTo>
                    <a:pt x="682865" y="413482"/>
                    <a:pt x="690935" y="421552"/>
                    <a:pt x="690935" y="431506"/>
                  </a:cubicBezTo>
                  <a:cubicBezTo>
                    <a:pt x="690935" y="441461"/>
                    <a:pt x="682865" y="449531"/>
                    <a:pt x="672910" y="449531"/>
                  </a:cubicBezTo>
                  <a:cubicBezTo>
                    <a:pt x="662956" y="449531"/>
                    <a:pt x="654886" y="441461"/>
                    <a:pt x="654886" y="431506"/>
                  </a:cubicBezTo>
                  <a:cubicBezTo>
                    <a:pt x="654886" y="421552"/>
                    <a:pt x="662956" y="413482"/>
                    <a:pt x="672910" y="413482"/>
                  </a:cubicBezTo>
                  <a:close/>
                  <a:moveTo>
                    <a:pt x="3719035" y="407474"/>
                  </a:moveTo>
                  <a:cubicBezTo>
                    <a:pt x="3728990" y="407474"/>
                    <a:pt x="3737060" y="415544"/>
                    <a:pt x="3737060" y="425499"/>
                  </a:cubicBezTo>
                  <a:cubicBezTo>
                    <a:pt x="3737060" y="435453"/>
                    <a:pt x="3728990" y="443523"/>
                    <a:pt x="3719035" y="443523"/>
                  </a:cubicBezTo>
                  <a:cubicBezTo>
                    <a:pt x="3709081" y="443523"/>
                    <a:pt x="3701011" y="435453"/>
                    <a:pt x="3701011" y="425499"/>
                  </a:cubicBezTo>
                  <a:cubicBezTo>
                    <a:pt x="3701011" y="415544"/>
                    <a:pt x="3709081" y="407474"/>
                    <a:pt x="3719035" y="407474"/>
                  </a:cubicBezTo>
                  <a:close/>
                  <a:moveTo>
                    <a:pt x="6002126" y="401466"/>
                  </a:moveTo>
                  <a:cubicBezTo>
                    <a:pt x="6012081" y="401466"/>
                    <a:pt x="6020151" y="409535"/>
                    <a:pt x="6020151" y="419490"/>
                  </a:cubicBezTo>
                  <a:cubicBezTo>
                    <a:pt x="6020151" y="429445"/>
                    <a:pt x="6012081" y="437515"/>
                    <a:pt x="6002126" y="437515"/>
                  </a:cubicBezTo>
                  <a:cubicBezTo>
                    <a:pt x="5992172" y="437515"/>
                    <a:pt x="5984102" y="429445"/>
                    <a:pt x="5984102" y="419490"/>
                  </a:cubicBezTo>
                  <a:cubicBezTo>
                    <a:pt x="5984102" y="409535"/>
                    <a:pt x="5992172" y="401466"/>
                    <a:pt x="6002126" y="401466"/>
                  </a:cubicBezTo>
                  <a:close/>
                  <a:moveTo>
                    <a:pt x="1970668" y="401466"/>
                  </a:moveTo>
                  <a:cubicBezTo>
                    <a:pt x="1980623" y="401466"/>
                    <a:pt x="1988693" y="409535"/>
                    <a:pt x="1988693" y="419490"/>
                  </a:cubicBezTo>
                  <a:cubicBezTo>
                    <a:pt x="1988693" y="429445"/>
                    <a:pt x="1980623" y="437515"/>
                    <a:pt x="1970668" y="437515"/>
                  </a:cubicBezTo>
                  <a:cubicBezTo>
                    <a:pt x="1960714" y="437515"/>
                    <a:pt x="1952644" y="429445"/>
                    <a:pt x="1952644" y="419490"/>
                  </a:cubicBezTo>
                  <a:cubicBezTo>
                    <a:pt x="1952644" y="409535"/>
                    <a:pt x="1960714" y="401466"/>
                    <a:pt x="1970668" y="401466"/>
                  </a:cubicBezTo>
                  <a:close/>
                  <a:moveTo>
                    <a:pt x="5533492" y="395457"/>
                  </a:moveTo>
                  <a:cubicBezTo>
                    <a:pt x="5543447" y="395457"/>
                    <a:pt x="5551517" y="403527"/>
                    <a:pt x="5551517" y="413481"/>
                  </a:cubicBezTo>
                  <a:cubicBezTo>
                    <a:pt x="5551517" y="423436"/>
                    <a:pt x="5543447" y="431506"/>
                    <a:pt x="5533492" y="431506"/>
                  </a:cubicBezTo>
                  <a:cubicBezTo>
                    <a:pt x="5523537" y="431506"/>
                    <a:pt x="5515468" y="423436"/>
                    <a:pt x="5515468" y="413481"/>
                  </a:cubicBezTo>
                  <a:cubicBezTo>
                    <a:pt x="5515468" y="403527"/>
                    <a:pt x="5523537" y="395457"/>
                    <a:pt x="5533492" y="395457"/>
                  </a:cubicBezTo>
                  <a:close/>
                  <a:moveTo>
                    <a:pt x="3166287" y="395457"/>
                  </a:moveTo>
                  <a:cubicBezTo>
                    <a:pt x="3176242" y="395457"/>
                    <a:pt x="3184312" y="403527"/>
                    <a:pt x="3184312" y="413481"/>
                  </a:cubicBezTo>
                  <a:cubicBezTo>
                    <a:pt x="3184312" y="423436"/>
                    <a:pt x="3176242" y="431506"/>
                    <a:pt x="3166287" y="431506"/>
                  </a:cubicBezTo>
                  <a:cubicBezTo>
                    <a:pt x="3156332" y="431506"/>
                    <a:pt x="3148262" y="423436"/>
                    <a:pt x="3148262" y="413481"/>
                  </a:cubicBezTo>
                  <a:cubicBezTo>
                    <a:pt x="3148262" y="403527"/>
                    <a:pt x="3156332" y="395457"/>
                    <a:pt x="3166287" y="395457"/>
                  </a:cubicBezTo>
                  <a:close/>
                  <a:moveTo>
                    <a:pt x="2373213" y="395457"/>
                  </a:moveTo>
                  <a:cubicBezTo>
                    <a:pt x="2383168" y="395457"/>
                    <a:pt x="2391238" y="403527"/>
                    <a:pt x="2391238" y="413481"/>
                  </a:cubicBezTo>
                  <a:cubicBezTo>
                    <a:pt x="2391238" y="423436"/>
                    <a:pt x="2383168" y="431506"/>
                    <a:pt x="2373213" y="431506"/>
                  </a:cubicBezTo>
                  <a:cubicBezTo>
                    <a:pt x="2363259" y="431506"/>
                    <a:pt x="2355189" y="423436"/>
                    <a:pt x="2355189" y="413481"/>
                  </a:cubicBezTo>
                  <a:cubicBezTo>
                    <a:pt x="2355189" y="403527"/>
                    <a:pt x="2363259" y="395457"/>
                    <a:pt x="2373213" y="395457"/>
                  </a:cubicBezTo>
                  <a:close/>
                  <a:moveTo>
                    <a:pt x="787065" y="395457"/>
                  </a:moveTo>
                  <a:cubicBezTo>
                    <a:pt x="797020" y="395457"/>
                    <a:pt x="805090" y="403527"/>
                    <a:pt x="805090" y="413481"/>
                  </a:cubicBezTo>
                  <a:cubicBezTo>
                    <a:pt x="805090" y="423436"/>
                    <a:pt x="797020" y="431506"/>
                    <a:pt x="787065" y="431506"/>
                  </a:cubicBezTo>
                  <a:cubicBezTo>
                    <a:pt x="777111" y="431506"/>
                    <a:pt x="769041" y="423436"/>
                    <a:pt x="769041" y="413481"/>
                  </a:cubicBezTo>
                  <a:cubicBezTo>
                    <a:pt x="769041" y="403527"/>
                    <a:pt x="777111" y="395457"/>
                    <a:pt x="787065" y="395457"/>
                  </a:cubicBezTo>
                  <a:close/>
                  <a:moveTo>
                    <a:pt x="6344591" y="389449"/>
                  </a:moveTo>
                  <a:cubicBezTo>
                    <a:pt x="6354545" y="389449"/>
                    <a:pt x="6362615" y="397519"/>
                    <a:pt x="6362615" y="407473"/>
                  </a:cubicBezTo>
                  <a:cubicBezTo>
                    <a:pt x="6362615" y="417428"/>
                    <a:pt x="6354546" y="425498"/>
                    <a:pt x="6344591" y="425498"/>
                  </a:cubicBezTo>
                  <a:cubicBezTo>
                    <a:pt x="6334636" y="425498"/>
                    <a:pt x="6326566" y="417428"/>
                    <a:pt x="6326566" y="407473"/>
                  </a:cubicBezTo>
                  <a:cubicBezTo>
                    <a:pt x="6326566" y="397519"/>
                    <a:pt x="6334635" y="389449"/>
                    <a:pt x="6344591" y="389449"/>
                  </a:cubicBezTo>
                  <a:close/>
                  <a:moveTo>
                    <a:pt x="5407321" y="383441"/>
                  </a:moveTo>
                  <a:cubicBezTo>
                    <a:pt x="5417276" y="383441"/>
                    <a:pt x="5425346" y="391511"/>
                    <a:pt x="5425346" y="401465"/>
                  </a:cubicBezTo>
                  <a:cubicBezTo>
                    <a:pt x="5425346" y="411420"/>
                    <a:pt x="5417276" y="419490"/>
                    <a:pt x="5407321" y="419490"/>
                  </a:cubicBezTo>
                  <a:cubicBezTo>
                    <a:pt x="5397366" y="419490"/>
                    <a:pt x="5389297" y="411420"/>
                    <a:pt x="5389297" y="401465"/>
                  </a:cubicBezTo>
                  <a:cubicBezTo>
                    <a:pt x="5389297" y="391511"/>
                    <a:pt x="5397366" y="383441"/>
                    <a:pt x="5407321" y="383441"/>
                  </a:cubicBezTo>
                  <a:close/>
                  <a:moveTo>
                    <a:pt x="5233085" y="383441"/>
                  </a:moveTo>
                  <a:cubicBezTo>
                    <a:pt x="5243040" y="383441"/>
                    <a:pt x="5251110" y="391511"/>
                    <a:pt x="5251110" y="401465"/>
                  </a:cubicBezTo>
                  <a:cubicBezTo>
                    <a:pt x="5251110" y="411420"/>
                    <a:pt x="5243040" y="419490"/>
                    <a:pt x="5233085" y="419490"/>
                  </a:cubicBezTo>
                  <a:cubicBezTo>
                    <a:pt x="5223130" y="419490"/>
                    <a:pt x="5215061" y="411420"/>
                    <a:pt x="5215061" y="401465"/>
                  </a:cubicBezTo>
                  <a:cubicBezTo>
                    <a:pt x="5215061" y="391511"/>
                    <a:pt x="5223130" y="383441"/>
                    <a:pt x="5233085" y="383441"/>
                  </a:cubicBezTo>
                  <a:close/>
                  <a:moveTo>
                    <a:pt x="4956711" y="383441"/>
                  </a:moveTo>
                  <a:cubicBezTo>
                    <a:pt x="4966666" y="383441"/>
                    <a:pt x="4974736" y="391511"/>
                    <a:pt x="4974736" y="401465"/>
                  </a:cubicBezTo>
                  <a:cubicBezTo>
                    <a:pt x="4974736" y="411420"/>
                    <a:pt x="4966666" y="419490"/>
                    <a:pt x="4956711" y="419490"/>
                  </a:cubicBezTo>
                  <a:cubicBezTo>
                    <a:pt x="4946756" y="419490"/>
                    <a:pt x="4938687" y="411420"/>
                    <a:pt x="4938687" y="401465"/>
                  </a:cubicBezTo>
                  <a:cubicBezTo>
                    <a:pt x="4938687" y="391511"/>
                    <a:pt x="4946756" y="383441"/>
                    <a:pt x="4956711" y="383441"/>
                  </a:cubicBezTo>
                  <a:close/>
                  <a:moveTo>
                    <a:pt x="3604880" y="377433"/>
                  </a:moveTo>
                  <a:cubicBezTo>
                    <a:pt x="3614835" y="377433"/>
                    <a:pt x="3622905" y="385503"/>
                    <a:pt x="3622905" y="395458"/>
                  </a:cubicBezTo>
                  <a:cubicBezTo>
                    <a:pt x="3622905" y="405412"/>
                    <a:pt x="3614835" y="413482"/>
                    <a:pt x="3604880" y="413482"/>
                  </a:cubicBezTo>
                  <a:cubicBezTo>
                    <a:pt x="3594925" y="413482"/>
                    <a:pt x="3586856" y="405412"/>
                    <a:pt x="3586856" y="395458"/>
                  </a:cubicBezTo>
                  <a:cubicBezTo>
                    <a:pt x="3586856" y="385503"/>
                    <a:pt x="3594925" y="377433"/>
                    <a:pt x="3604880" y="377433"/>
                  </a:cubicBezTo>
                  <a:close/>
                  <a:moveTo>
                    <a:pt x="5082882" y="371425"/>
                  </a:moveTo>
                  <a:cubicBezTo>
                    <a:pt x="5092837" y="371425"/>
                    <a:pt x="5100907" y="379494"/>
                    <a:pt x="5100907" y="389449"/>
                  </a:cubicBezTo>
                  <a:cubicBezTo>
                    <a:pt x="5100907" y="399404"/>
                    <a:pt x="5092837" y="407474"/>
                    <a:pt x="5082882" y="407474"/>
                  </a:cubicBezTo>
                  <a:cubicBezTo>
                    <a:pt x="5072927" y="407474"/>
                    <a:pt x="5064858" y="399404"/>
                    <a:pt x="5064858" y="389449"/>
                  </a:cubicBezTo>
                  <a:cubicBezTo>
                    <a:pt x="5064858" y="379494"/>
                    <a:pt x="5072927" y="371425"/>
                    <a:pt x="5082882" y="371425"/>
                  </a:cubicBezTo>
                  <a:close/>
                  <a:moveTo>
                    <a:pt x="4638280" y="371425"/>
                  </a:moveTo>
                  <a:cubicBezTo>
                    <a:pt x="4648235" y="371425"/>
                    <a:pt x="4656305" y="379494"/>
                    <a:pt x="4656305" y="389449"/>
                  </a:cubicBezTo>
                  <a:cubicBezTo>
                    <a:pt x="4656305" y="399404"/>
                    <a:pt x="4648235" y="407474"/>
                    <a:pt x="4638280" y="407474"/>
                  </a:cubicBezTo>
                  <a:cubicBezTo>
                    <a:pt x="4628325" y="407474"/>
                    <a:pt x="4620255" y="399404"/>
                    <a:pt x="4620255" y="389449"/>
                  </a:cubicBezTo>
                  <a:cubicBezTo>
                    <a:pt x="4620255" y="379494"/>
                    <a:pt x="4628325" y="371425"/>
                    <a:pt x="4638280" y="371425"/>
                  </a:cubicBezTo>
                  <a:close/>
                  <a:moveTo>
                    <a:pt x="4289808" y="371425"/>
                  </a:moveTo>
                  <a:cubicBezTo>
                    <a:pt x="4299763" y="371425"/>
                    <a:pt x="4307833" y="379494"/>
                    <a:pt x="4307833" y="389449"/>
                  </a:cubicBezTo>
                  <a:cubicBezTo>
                    <a:pt x="4307833" y="399404"/>
                    <a:pt x="4299763" y="407474"/>
                    <a:pt x="4289808" y="407474"/>
                  </a:cubicBezTo>
                  <a:cubicBezTo>
                    <a:pt x="4279854" y="407474"/>
                    <a:pt x="4271784" y="399404"/>
                    <a:pt x="4271784" y="389449"/>
                  </a:cubicBezTo>
                  <a:cubicBezTo>
                    <a:pt x="4271784" y="379494"/>
                    <a:pt x="4279854" y="371425"/>
                    <a:pt x="4289808" y="371425"/>
                  </a:cubicBezTo>
                  <a:close/>
                  <a:moveTo>
                    <a:pt x="3412620" y="371425"/>
                  </a:moveTo>
                  <a:cubicBezTo>
                    <a:pt x="3422575" y="371425"/>
                    <a:pt x="3430645" y="379494"/>
                    <a:pt x="3430645" y="389449"/>
                  </a:cubicBezTo>
                  <a:cubicBezTo>
                    <a:pt x="3430645" y="399404"/>
                    <a:pt x="3422575" y="407474"/>
                    <a:pt x="3412620" y="407474"/>
                  </a:cubicBezTo>
                  <a:cubicBezTo>
                    <a:pt x="3402666" y="407474"/>
                    <a:pt x="3394596" y="399404"/>
                    <a:pt x="3394596" y="389449"/>
                  </a:cubicBezTo>
                  <a:cubicBezTo>
                    <a:pt x="3394596" y="379494"/>
                    <a:pt x="3402666" y="371425"/>
                    <a:pt x="3412620" y="371425"/>
                  </a:cubicBezTo>
                  <a:close/>
                  <a:moveTo>
                    <a:pt x="3286449" y="371425"/>
                  </a:moveTo>
                  <a:cubicBezTo>
                    <a:pt x="3296404" y="371425"/>
                    <a:pt x="3304474" y="379494"/>
                    <a:pt x="3304474" y="389449"/>
                  </a:cubicBezTo>
                  <a:cubicBezTo>
                    <a:pt x="3304474" y="399404"/>
                    <a:pt x="3296404" y="407474"/>
                    <a:pt x="3286449" y="407474"/>
                  </a:cubicBezTo>
                  <a:cubicBezTo>
                    <a:pt x="3276494" y="407474"/>
                    <a:pt x="3268424" y="399404"/>
                    <a:pt x="3268424" y="389449"/>
                  </a:cubicBezTo>
                  <a:cubicBezTo>
                    <a:pt x="3268424" y="379494"/>
                    <a:pt x="3276494" y="371425"/>
                    <a:pt x="3286449" y="371425"/>
                  </a:cubicBezTo>
                  <a:close/>
                  <a:moveTo>
                    <a:pt x="2204985" y="371425"/>
                  </a:moveTo>
                  <a:cubicBezTo>
                    <a:pt x="2214940" y="371425"/>
                    <a:pt x="2223010" y="379494"/>
                    <a:pt x="2223010" y="389449"/>
                  </a:cubicBezTo>
                  <a:cubicBezTo>
                    <a:pt x="2223010" y="399404"/>
                    <a:pt x="2214940" y="407474"/>
                    <a:pt x="2204985" y="407474"/>
                  </a:cubicBezTo>
                  <a:cubicBezTo>
                    <a:pt x="2195031" y="407474"/>
                    <a:pt x="2186961" y="399404"/>
                    <a:pt x="2186961" y="389449"/>
                  </a:cubicBezTo>
                  <a:cubicBezTo>
                    <a:pt x="2186961" y="379494"/>
                    <a:pt x="2195031" y="371425"/>
                    <a:pt x="2204985" y="371425"/>
                  </a:cubicBezTo>
                  <a:close/>
                  <a:moveTo>
                    <a:pt x="1033398" y="371425"/>
                  </a:moveTo>
                  <a:cubicBezTo>
                    <a:pt x="1043353" y="371425"/>
                    <a:pt x="1051423" y="379494"/>
                    <a:pt x="1051423" y="389449"/>
                  </a:cubicBezTo>
                  <a:cubicBezTo>
                    <a:pt x="1051423" y="399404"/>
                    <a:pt x="1043353" y="407474"/>
                    <a:pt x="1033398" y="407474"/>
                  </a:cubicBezTo>
                  <a:cubicBezTo>
                    <a:pt x="1023444" y="407474"/>
                    <a:pt x="1015374" y="399404"/>
                    <a:pt x="1015374" y="389449"/>
                  </a:cubicBezTo>
                  <a:cubicBezTo>
                    <a:pt x="1015374" y="379494"/>
                    <a:pt x="1023444" y="371425"/>
                    <a:pt x="1033398" y="371425"/>
                  </a:cubicBezTo>
                  <a:close/>
                  <a:moveTo>
                    <a:pt x="432585" y="371425"/>
                  </a:moveTo>
                  <a:cubicBezTo>
                    <a:pt x="442540" y="371425"/>
                    <a:pt x="450610" y="379494"/>
                    <a:pt x="450610" y="389449"/>
                  </a:cubicBezTo>
                  <a:cubicBezTo>
                    <a:pt x="450610" y="399404"/>
                    <a:pt x="442540" y="407474"/>
                    <a:pt x="432585" y="407474"/>
                  </a:cubicBezTo>
                  <a:cubicBezTo>
                    <a:pt x="422631" y="407474"/>
                    <a:pt x="414561" y="399404"/>
                    <a:pt x="414561" y="389449"/>
                  </a:cubicBezTo>
                  <a:cubicBezTo>
                    <a:pt x="414561" y="379494"/>
                    <a:pt x="422631" y="371425"/>
                    <a:pt x="432585" y="371425"/>
                  </a:cubicBezTo>
                  <a:close/>
                  <a:moveTo>
                    <a:pt x="4037466" y="365417"/>
                  </a:moveTo>
                  <a:cubicBezTo>
                    <a:pt x="4047421" y="365417"/>
                    <a:pt x="4055491" y="373487"/>
                    <a:pt x="4055491" y="383441"/>
                  </a:cubicBezTo>
                  <a:cubicBezTo>
                    <a:pt x="4055491" y="393396"/>
                    <a:pt x="4047421" y="401466"/>
                    <a:pt x="4037466" y="401466"/>
                  </a:cubicBezTo>
                  <a:cubicBezTo>
                    <a:pt x="4027511" y="401466"/>
                    <a:pt x="4019441" y="393396"/>
                    <a:pt x="4019441" y="383441"/>
                  </a:cubicBezTo>
                  <a:cubicBezTo>
                    <a:pt x="4019441" y="373487"/>
                    <a:pt x="4027511" y="365417"/>
                    <a:pt x="4037466" y="365417"/>
                  </a:cubicBezTo>
                  <a:close/>
                  <a:moveTo>
                    <a:pt x="2943986" y="365417"/>
                  </a:moveTo>
                  <a:cubicBezTo>
                    <a:pt x="2953941" y="365417"/>
                    <a:pt x="2962011" y="373487"/>
                    <a:pt x="2962011" y="383441"/>
                  </a:cubicBezTo>
                  <a:cubicBezTo>
                    <a:pt x="2962011" y="393396"/>
                    <a:pt x="2953941" y="401466"/>
                    <a:pt x="2943986" y="401466"/>
                  </a:cubicBezTo>
                  <a:cubicBezTo>
                    <a:pt x="2934031" y="401466"/>
                    <a:pt x="2925962" y="393396"/>
                    <a:pt x="2925962" y="383441"/>
                  </a:cubicBezTo>
                  <a:cubicBezTo>
                    <a:pt x="2925962" y="373487"/>
                    <a:pt x="2934031" y="365417"/>
                    <a:pt x="2943986" y="365417"/>
                  </a:cubicBezTo>
                  <a:close/>
                  <a:moveTo>
                    <a:pt x="2811807" y="365417"/>
                  </a:moveTo>
                  <a:cubicBezTo>
                    <a:pt x="2821762" y="365417"/>
                    <a:pt x="2829832" y="373487"/>
                    <a:pt x="2829832" y="383441"/>
                  </a:cubicBezTo>
                  <a:cubicBezTo>
                    <a:pt x="2829832" y="393396"/>
                    <a:pt x="2821762" y="401466"/>
                    <a:pt x="2811807" y="401466"/>
                  </a:cubicBezTo>
                  <a:cubicBezTo>
                    <a:pt x="2801853" y="401466"/>
                    <a:pt x="2793783" y="393396"/>
                    <a:pt x="2793783" y="383441"/>
                  </a:cubicBezTo>
                  <a:cubicBezTo>
                    <a:pt x="2793783" y="373487"/>
                    <a:pt x="2801853" y="365417"/>
                    <a:pt x="2811807" y="365417"/>
                  </a:cubicBezTo>
                  <a:close/>
                  <a:moveTo>
                    <a:pt x="5899988" y="353401"/>
                  </a:moveTo>
                  <a:cubicBezTo>
                    <a:pt x="5909943" y="353401"/>
                    <a:pt x="5918013" y="361471"/>
                    <a:pt x="5918013" y="371425"/>
                  </a:cubicBezTo>
                  <a:cubicBezTo>
                    <a:pt x="5918013" y="381380"/>
                    <a:pt x="5909943" y="389450"/>
                    <a:pt x="5899988" y="389450"/>
                  </a:cubicBezTo>
                  <a:cubicBezTo>
                    <a:pt x="5890033" y="389450"/>
                    <a:pt x="5881963" y="381380"/>
                    <a:pt x="5881963" y="371425"/>
                  </a:cubicBezTo>
                  <a:cubicBezTo>
                    <a:pt x="5881963" y="361471"/>
                    <a:pt x="5890033" y="353401"/>
                    <a:pt x="5899988" y="353401"/>
                  </a:cubicBezTo>
                  <a:close/>
                  <a:moveTo>
                    <a:pt x="4842556" y="353401"/>
                  </a:moveTo>
                  <a:cubicBezTo>
                    <a:pt x="4852511" y="353401"/>
                    <a:pt x="4860581" y="361471"/>
                    <a:pt x="4860581" y="371425"/>
                  </a:cubicBezTo>
                  <a:cubicBezTo>
                    <a:pt x="4860581" y="381380"/>
                    <a:pt x="4852511" y="389450"/>
                    <a:pt x="4842556" y="389450"/>
                  </a:cubicBezTo>
                  <a:cubicBezTo>
                    <a:pt x="4832601" y="389450"/>
                    <a:pt x="4824532" y="381380"/>
                    <a:pt x="4824532" y="371425"/>
                  </a:cubicBezTo>
                  <a:cubicBezTo>
                    <a:pt x="4824532" y="361471"/>
                    <a:pt x="4832601" y="353401"/>
                    <a:pt x="4842556" y="353401"/>
                  </a:cubicBezTo>
                  <a:close/>
                  <a:moveTo>
                    <a:pt x="4518117" y="353401"/>
                  </a:moveTo>
                  <a:cubicBezTo>
                    <a:pt x="4528072" y="353401"/>
                    <a:pt x="4536142" y="361471"/>
                    <a:pt x="4536142" y="371425"/>
                  </a:cubicBezTo>
                  <a:cubicBezTo>
                    <a:pt x="4536142" y="381380"/>
                    <a:pt x="4528072" y="389450"/>
                    <a:pt x="4518117" y="389450"/>
                  </a:cubicBezTo>
                  <a:cubicBezTo>
                    <a:pt x="4508162" y="389450"/>
                    <a:pt x="4500092" y="381380"/>
                    <a:pt x="4500092" y="371425"/>
                  </a:cubicBezTo>
                  <a:cubicBezTo>
                    <a:pt x="4500092" y="361471"/>
                    <a:pt x="4508162" y="353401"/>
                    <a:pt x="4518117" y="353401"/>
                  </a:cubicBezTo>
                  <a:close/>
                  <a:moveTo>
                    <a:pt x="4403962" y="353401"/>
                  </a:moveTo>
                  <a:cubicBezTo>
                    <a:pt x="4413917" y="353401"/>
                    <a:pt x="4421987" y="361471"/>
                    <a:pt x="4421987" y="371425"/>
                  </a:cubicBezTo>
                  <a:cubicBezTo>
                    <a:pt x="4421987" y="381380"/>
                    <a:pt x="4413917" y="389450"/>
                    <a:pt x="4403962" y="389450"/>
                  </a:cubicBezTo>
                  <a:cubicBezTo>
                    <a:pt x="4394008" y="389450"/>
                    <a:pt x="4385938" y="381380"/>
                    <a:pt x="4385938" y="371425"/>
                  </a:cubicBezTo>
                  <a:cubicBezTo>
                    <a:pt x="4385938" y="361471"/>
                    <a:pt x="4394008" y="353401"/>
                    <a:pt x="4403962" y="353401"/>
                  </a:cubicBezTo>
                  <a:close/>
                  <a:moveTo>
                    <a:pt x="4151621" y="353401"/>
                  </a:moveTo>
                  <a:cubicBezTo>
                    <a:pt x="4161576" y="353401"/>
                    <a:pt x="4169646" y="361471"/>
                    <a:pt x="4169646" y="371425"/>
                  </a:cubicBezTo>
                  <a:cubicBezTo>
                    <a:pt x="4169646" y="381380"/>
                    <a:pt x="4161576" y="389450"/>
                    <a:pt x="4151621" y="389450"/>
                  </a:cubicBezTo>
                  <a:cubicBezTo>
                    <a:pt x="4141666" y="389450"/>
                    <a:pt x="4133597" y="381380"/>
                    <a:pt x="4133597" y="371425"/>
                  </a:cubicBezTo>
                  <a:cubicBezTo>
                    <a:pt x="4133597" y="361471"/>
                    <a:pt x="4141666" y="353401"/>
                    <a:pt x="4151621" y="353401"/>
                  </a:cubicBezTo>
                  <a:close/>
                  <a:moveTo>
                    <a:pt x="3911295" y="347392"/>
                  </a:moveTo>
                  <a:cubicBezTo>
                    <a:pt x="3921250" y="347392"/>
                    <a:pt x="3929320" y="355462"/>
                    <a:pt x="3929320" y="365417"/>
                  </a:cubicBezTo>
                  <a:cubicBezTo>
                    <a:pt x="3929320" y="375371"/>
                    <a:pt x="3921250" y="383441"/>
                    <a:pt x="3911295" y="383441"/>
                  </a:cubicBezTo>
                  <a:cubicBezTo>
                    <a:pt x="3901340" y="383441"/>
                    <a:pt x="3893271" y="375371"/>
                    <a:pt x="3893271" y="365417"/>
                  </a:cubicBezTo>
                  <a:cubicBezTo>
                    <a:pt x="3893271" y="355462"/>
                    <a:pt x="3901340" y="347392"/>
                    <a:pt x="3911295" y="347392"/>
                  </a:cubicBezTo>
                  <a:close/>
                  <a:moveTo>
                    <a:pt x="2078814" y="347392"/>
                  </a:moveTo>
                  <a:cubicBezTo>
                    <a:pt x="2088769" y="347392"/>
                    <a:pt x="2096839" y="355462"/>
                    <a:pt x="2096839" y="365417"/>
                  </a:cubicBezTo>
                  <a:cubicBezTo>
                    <a:pt x="2096839" y="375371"/>
                    <a:pt x="2088769" y="383441"/>
                    <a:pt x="2078814" y="383441"/>
                  </a:cubicBezTo>
                  <a:cubicBezTo>
                    <a:pt x="2068860" y="383441"/>
                    <a:pt x="2060790" y="375371"/>
                    <a:pt x="2060790" y="365417"/>
                  </a:cubicBezTo>
                  <a:cubicBezTo>
                    <a:pt x="2060790" y="355462"/>
                    <a:pt x="2068860" y="347392"/>
                    <a:pt x="2078814" y="347392"/>
                  </a:cubicBezTo>
                  <a:close/>
                  <a:moveTo>
                    <a:pt x="1345823" y="347392"/>
                  </a:moveTo>
                  <a:cubicBezTo>
                    <a:pt x="1355777" y="347392"/>
                    <a:pt x="1363847" y="355462"/>
                    <a:pt x="1363847" y="365417"/>
                  </a:cubicBezTo>
                  <a:cubicBezTo>
                    <a:pt x="1363847" y="375371"/>
                    <a:pt x="1355777" y="383441"/>
                    <a:pt x="1345823" y="383441"/>
                  </a:cubicBezTo>
                  <a:cubicBezTo>
                    <a:pt x="1335868" y="383441"/>
                    <a:pt x="1327798" y="375371"/>
                    <a:pt x="1327798" y="365417"/>
                  </a:cubicBezTo>
                  <a:cubicBezTo>
                    <a:pt x="1327798" y="355462"/>
                    <a:pt x="1335868" y="347392"/>
                    <a:pt x="1345823" y="347392"/>
                  </a:cubicBezTo>
                  <a:close/>
                  <a:moveTo>
                    <a:pt x="1556107" y="341384"/>
                  </a:moveTo>
                  <a:cubicBezTo>
                    <a:pt x="1566061" y="341384"/>
                    <a:pt x="1574131" y="349453"/>
                    <a:pt x="1574131" y="359408"/>
                  </a:cubicBezTo>
                  <a:cubicBezTo>
                    <a:pt x="1574131" y="369363"/>
                    <a:pt x="1566061" y="377433"/>
                    <a:pt x="1556107" y="377433"/>
                  </a:cubicBezTo>
                  <a:cubicBezTo>
                    <a:pt x="1546152" y="377433"/>
                    <a:pt x="1538082" y="369363"/>
                    <a:pt x="1538082" y="359408"/>
                  </a:cubicBezTo>
                  <a:cubicBezTo>
                    <a:pt x="1538082" y="349453"/>
                    <a:pt x="1546152" y="341384"/>
                    <a:pt x="1556107" y="341384"/>
                  </a:cubicBezTo>
                  <a:close/>
                  <a:moveTo>
                    <a:pt x="306414" y="341384"/>
                  </a:moveTo>
                  <a:cubicBezTo>
                    <a:pt x="316369" y="341384"/>
                    <a:pt x="324439" y="349453"/>
                    <a:pt x="324439" y="359408"/>
                  </a:cubicBezTo>
                  <a:cubicBezTo>
                    <a:pt x="324439" y="369363"/>
                    <a:pt x="316369" y="377433"/>
                    <a:pt x="306414" y="377433"/>
                  </a:cubicBezTo>
                  <a:cubicBezTo>
                    <a:pt x="296460" y="377433"/>
                    <a:pt x="288390" y="369363"/>
                    <a:pt x="288390" y="359408"/>
                  </a:cubicBezTo>
                  <a:cubicBezTo>
                    <a:pt x="288390" y="349453"/>
                    <a:pt x="296460" y="341384"/>
                    <a:pt x="306414" y="341384"/>
                  </a:cubicBezTo>
                  <a:close/>
                  <a:moveTo>
                    <a:pt x="6206403" y="335376"/>
                  </a:moveTo>
                  <a:cubicBezTo>
                    <a:pt x="6216358" y="335376"/>
                    <a:pt x="6224428" y="343446"/>
                    <a:pt x="6224428" y="353400"/>
                  </a:cubicBezTo>
                  <a:cubicBezTo>
                    <a:pt x="6224428" y="363355"/>
                    <a:pt x="6216358" y="371425"/>
                    <a:pt x="6206403" y="371425"/>
                  </a:cubicBezTo>
                  <a:cubicBezTo>
                    <a:pt x="6196449" y="371425"/>
                    <a:pt x="6188379" y="363355"/>
                    <a:pt x="6188379" y="353400"/>
                  </a:cubicBezTo>
                  <a:cubicBezTo>
                    <a:pt x="6188379" y="343446"/>
                    <a:pt x="6196449" y="335376"/>
                    <a:pt x="6206403" y="335376"/>
                  </a:cubicBezTo>
                  <a:close/>
                  <a:moveTo>
                    <a:pt x="1670261" y="335376"/>
                  </a:moveTo>
                  <a:cubicBezTo>
                    <a:pt x="1680216" y="335376"/>
                    <a:pt x="1688286" y="343446"/>
                    <a:pt x="1688286" y="353400"/>
                  </a:cubicBezTo>
                  <a:cubicBezTo>
                    <a:pt x="1688286" y="363355"/>
                    <a:pt x="1680216" y="371425"/>
                    <a:pt x="1670261" y="371425"/>
                  </a:cubicBezTo>
                  <a:cubicBezTo>
                    <a:pt x="1660307" y="371425"/>
                    <a:pt x="1652237" y="363355"/>
                    <a:pt x="1652237" y="353400"/>
                  </a:cubicBezTo>
                  <a:cubicBezTo>
                    <a:pt x="1652237" y="343446"/>
                    <a:pt x="1660307" y="335376"/>
                    <a:pt x="1670261" y="335376"/>
                  </a:cubicBezTo>
                  <a:close/>
                  <a:moveTo>
                    <a:pt x="5767809" y="329368"/>
                  </a:moveTo>
                  <a:cubicBezTo>
                    <a:pt x="5777764" y="329368"/>
                    <a:pt x="5785834" y="337438"/>
                    <a:pt x="5785834" y="347392"/>
                  </a:cubicBezTo>
                  <a:cubicBezTo>
                    <a:pt x="5785834" y="357347"/>
                    <a:pt x="5777764" y="365417"/>
                    <a:pt x="5767809" y="365417"/>
                  </a:cubicBezTo>
                  <a:cubicBezTo>
                    <a:pt x="5757854" y="365417"/>
                    <a:pt x="5749785" y="357347"/>
                    <a:pt x="5749785" y="347392"/>
                  </a:cubicBezTo>
                  <a:cubicBezTo>
                    <a:pt x="5749785" y="337438"/>
                    <a:pt x="5757854" y="329368"/>
                    <a:pt x="5767809" y="329368"/>
                  </a:cubicBezTo>
                  <a:close/>
                  <a:moveTo>
                    <a:pt x="3797141" y="329368"/>
                  </a:moveTo>
                  <a:cubicBezTo>
                    <a:pt x="3807096" y="329368"/>
                    <a:pt x="3815166" y="337438"/>
                    <a:pt x="3815166" y="347392"/>
                  </a:cubicBezTo>
                  <a:cubicBezTo>
                    <a:pt x="3815166" y="357347"/>
                    <a:pt x="3807096" y="365417"/>
                    <a:pt x="3797141" y="365417"/>
                  </a:cubicBezTo>
                  <a:cubicBezTo>
                    <a:pt x="3787186" y="365417"/>
                    <a:pt x="3779116" y="357347"/>
                    <a:pt x="3779116" y="347392"/>
                  </a:cubicBezTo>
                  <a:cubicBezTo>
                    <a:pt x="3779116" y="337438"/>
                    <a:pt x="3787186" y="329368"/>
                    <a:pt x="3797141" y="329368"/>
                  </a:cubicBezTo>
                  <a:close/>
                  <a:moveTo>
                    <a:pt x="2673619" y="329368"/>
                  </a:moveTo>
                  <a:cubicBezTo>
                    <a:pt x="2683574" y="329368"/>
                    <a:pt x="2691644" y="337438"/>
                    <a:pt x="2691644" y="347392"/>
                  </a:cubicBezTo>
                  <a:cubicBezTo>
                    <a:pt x="2691644" y="357347"/>
                    <a:pt x="2683574" y="365417"/>
                    <a:pt x="2673619" y="365417"/>
                  </a:cubicBezTo>
                  <a:cubicBezTo>
                    <a:pt x="2663664" y="365417"/>
                    <a:pt x="2655595" y="357347"/>
                    <a:pt x="2655595" y="347392"/>
                  </a:cubicBezTo>
                  <a:cubicBezTo>
                    <a:pt x="2655595" y="337438"/>
                    <a:pt x="2663664" y="329368"/>
                    <a:pt x="2673619" y="329368"/>
                  </a:cubicBezTo>
                  <a:close/>
                  <a:moveTo>
                    <a:pt x="1898570" y="329368"/>
                  </a:moveTo>
                  <a:cubicBezTo>
                    <a:pt x="1908525" y="329368"/>
                    <a:pt x="1916595" y="337438"/>
                    <a:pt x="1916595" y="347392"/>
                  </a:cubicBezTo>
                  <a:cubicBezTo>
                    <a:pt x="1916595" y="357347"/>
                    <a:pt x="1908525" y="365417"/>
                    <a:pt x="1898570" y="365417"/>
                  </a:cubicBezTo>
                  <a:cubicBezTo>
                    <a:pt x="1888616" y="365417"/>
                    <a:pt x="1880546" y="357347"/>
                    <a:pt x="1880546" y="347392"/>
                  </a:cubicBezTo>
                  <a:cubicBezTo>
                    <a:pt x="1880546" y="337438"/>
                    <a:pt x="1888616" y="329368"/>
                    <a:pt x="1898570" y="329368"/>
                  </a:cubicBezTo>
                  <a:close/>
                  <a:moveTo>
                    <a:pt x="66089" y="323360"/>
                  </a:moveTo>
                  <a:cubicBezTo>
                    <a:pt x="76044" y="323360"/>
                    <a:pt x="84114" y="331430"/>
                    <a:pt x="84114" y="341384"/>
                  </a:cubicBezTo>
                  <a:cubicBezTo>
                    <a:pt x="84114" y="351339"/>
                    <a:pt x="76044" y="359409"/>
                    <a:pt x="66089" y="359409"/>
                  </a:cubicBezTo>
                  <a:cubicBezTo>
                    <a:pt x="56135" y="359409"/>
                    <a:pt x="48065" y="351339"/>
                    <a:pt x="48065" y="341384"/>
                  </a:cubicBezTo>
                  <a:cubicBezTo>
                    <a:pt x="48065" y="331430"/>
                    <a:pt x="56135" y="323360"/>
                    <a:pt x="66089" y="323360"/>
                  </a:cubicBezTo>
                  <a:close/>
                  <a:moveTo>
                    <a:pt x="5647646" y="317352"/>
                  </a:moveTo>
                  <a:cubicBezTo>
                    <a:pt x="5657601" y="317352"/>
                    <a:pt x="5665671" y="325422"/>
                    <a:pt x="5665671" y="335377"/>
                  </a:cubicBezTo>
                  <a:cubicBezTo>
                    <a:pt x="5665671" y="345331"/>
                    <a:pt x="5657601" y="353401"/>
                    <a:pt x="5647646" y="353401"/>
                  </a:cubicBezTo>
                  <a:cubicBezTo>
                    <a:pt x="5637691" y="353401"/>
                    <a:pt x="5629622" y="345331"/>
                    <a:pt x="5629622" y="335377"/>
                  </a:cubicBezTo>
                  <a:cubicBezTo>
                    <a:pt x="5629622" y="325422"/>
                    <a:pt x="5637691" y="317352"/>
                    <a:pt x="5647646" y="317352"/>
                  </a:cubicBezTo>
                  <a:close/>
                  <a:moveTo>
                    <a:pt x="3064148" y="311344"/>
                  </a:moveTo>
                  <a:cubicBezTo>
                    <a:pt x="3074103" y="311344"/>
                    <a:pt x="3082173" y="319413"/>
                    <a:pt x="3082173" y="329368"/>
                  </a:cubicBezTo>
                  <a:cubicBezTo>
                    <a:pt x="3082173" y="339323"/>
                    <a:pt x="3074103" y="347393"/>
                    <a:pt x="3064148" y="347393"/>
                  </a:cubicBezTo>
                  <a:cubicBezTo>
                    <a:pt x="3054193" y="347393"/>
                    <a:pt x="3046124" y="339323"/>
                    <a:pt x="3046124" y="329368"/>
                  </a:cubicBezTo>
                  <a:cubicBezTo>
                    <a:pt x="3046124" y="319413"/>
                    <a:pt x="3054193" y="311344"/>
                    <a:pt x="3064148" y="311344"/>
                  </a:cubicBezTo>
                  <a:close/>
                  <a:moveTo>
                    <a:pt x="2553457" y="311344"/>
                  </a:moveTo>
                  <a:cubicBezTo>
                    <a:pt x="2563412" y="311344"/>
                    <a:pt x="2571482" y="319413"/>
                    <a:pt x="2571482" y="329368"/>
                  </a:cubicBezTo>
                  <a:cubicBezTo>
                    <a:pt x="2571482" y="339323"/>
                    <a:pt x="2563412" y="347393"/>
                    <a:pt x="2553457" y="347393"/>
                  </a:cubicBezTo>
                  <a:cubicBezTo>
                    <a:pt x="2543502" y="347393"/>
                    <a:pt x="2535433" y="339323"/>
                    <a:pt x="2535433" y="329368"/>
                  </a:cubicBezTo>
                  <a:cubicBezTo>
                    <a:pt x="2535433" y="319413"/>
                    <a:pt x="2543502" y="311344"/>
                    <a:pt x="2553457" y="311344"/>
                  </a:cubicBezTo>
                  <a:close/>
                  <a:moveTo>
                    <a:pt x="6098257" y="305335"/>
                  </a:moveTo>
                  <a:cubicBezTo>
                    <a:pt x="6108212" y="305335"/>
                    <a:pt x="6116282" y="313405"/>
                    <a:pt x="6116282" y="323359"/>
                  </a:cubicBezTo>
                  <a:cubicBezTo>
                    <a:pt x="6116282" y="333314"/>
                    <a:pt x="6108212" y="341384"/>
                    <a:pt x="6098257" y="341384"/>
                  </a:cubicBezTo>
                  <a:cubicBezTo>
                    <a:pt x="6088302" y="341384"/>
                    <a:pt x="6080233" y="333314"/>
                    <a:pt x="6080233" y="323359"/>
                  </a:cubicBezTo>
                  <a:cubicBezTo>
                    <a:pt x="6080233" y="313405"/>
                    <a:pt x="6088302" y="305335"/>
                    <a:pt x="6098257" y="305335"/>
                  </a:cubicBezTo>
                  <a:close/>
                  <a:moveTo>
                    <a:pt x="1231667" y="305335"/>
                  </a:moveTo>
                  <a:cubicBezTo>
                    <a:pt x="1241622" y="305335"/>
                    <a:pt x="1249692" y="313405"/>
                    <a:pt x="1249692" y="323359"/>
                  </a:cubicBezTo>
                  <a:cubicBezTo>
                    <a:pt x="1249692" y="333314"/>
                    <a:pt x="1241622" y="341384"/>
                    <a:pt x="1231667" y="341384"/>
                  </a:cubicBezTo>
                  <a:cubicBezTo>
                    <a:pt x="1221713" y="341384"/>
                    <a:pt x="1213643" y="333314"/>
                    <a:pt x="1213643" y="323359"/>
                  </a:cubicBezTo>
                  <a:cubicBezTo>
                    <a:pt x="1213643" y="313405"/>
                    <a:pt x="1221713" y="305335"/>
                    <a:pt x="1231667" y="305335"/>
                  </a:cubicBezTo>
                  <a:close/>
                  <a:moveTo>
                    <a:pt x="174235" y="305335"/>
                  </a:moveTo>
                  <a:cubicBezTo>
                    <a:pt x="184190" y="305335"/>
                    <a:pt x="192260" y="313405"/>
                    <a:pt x="192260" y="323359"/>
                  </a:cubicBezTo>
                  <a:cubicBezTo>
                    <a:pt x="192260" y="333314"/>
                    <a:pt x="184190" y="341384"/>
                    <a:pt x="174235" y="341384"/>
                  </a:cubicBezTo>
                  <a:cubicBezTo>
                    <a:pt x="164281" y="341384"/>
                    <a:pt x="156211" y="333314"/>
                    <a:pt x="156211" y="323359"/>
                  </a:cubicBezTo>
                  <a:cubicBezTo>
                    <a:pt x="156211" y="313405"/>
                    <a:pt x="164281" y="305335"/>
                    <a:pt x="174235" y="305335"/>
                  </a:cubicBezTo>
                  <a:close/>
                  <a:moveTo>
                    <a:pt x="3520767" y="299327"/>
                  </a:moveTo>
                  <a:cubicBezTo>
                    <a:pt x="3530722" y="299327"/>
                    <a:pt x="3538792" y="307397"/>
                    <a:pt x="3538792" y="317351"/>
                  </a:cubicBezTo>
                  <a:cubicBezTo>
                    <a:pt x="3538792" y="327306"/>
                    <a:pt x="3530722" y="335376"/>
                    <a:pt x="3520767" y="335376"/>
                  </a:cubicBezTo>
                  <a:cubicBezTo>
                    <a:pt x="3510812" y="335376"/>
                    <a:pt x="3502743" y="327306"/>
                    <a:pt x="3502743" y="317351"/>
                  </a:cubicBezTo>
                  <a:cubicBezTo>
                    <a:pt x="3502743" y="307397"/>
                    <a:pt x="3510812" y="299327"/>
                    <a:pt x="3520767" y="299327"/>
                  </a:cubicBezTo>
                  <a:close/>
                  <a:moveTo>
                    <a:pt x="5347240" y="293319"/>
                  </a:moveTo>
                  <a:cubicBezTo>
                    <a:pt x="5357195" y="293319"/>
                    <a:pt x="5365265" y="301389"/>
                    <a:pt x="5365265" y="311343"/>
                  </a:cubicBezTo>
                  <a:cubicBezTo>
                    <a:pt x="5365265" y="321298"/>
                    <a:pt x="5357195" y="329368"/>
                    <a:pt x="5347240" y="329368"/>
                  </a:cubicBezTo>
                  <a:cubicBezTo>
                    <a:pt x="5337285" y="329368"/>
                    <a:pt x="5329216" y="321298"/>
                    <a:pt x="5329216" y="311343"/>
                  </a:cubicBezTo>
                  <a:cubicBezTo>
                    <a:pt x="5329216" y="301389"/>
                    <a:pt x="5337285" y="293319"/>
                    <a:pt x="5347240" y="293319"/>
                  </a:cubicBezTo>
                  <a:close/>
                  <a:moveTo>
                    <a:pt x="2439302" y="293319"/>
                  </a:moveTo>
                  <a:cubicBezTo>
                    <a:pt x="2449257" y="293319"/>
                    <a:pt x="2457327" y="301389"/>
                    <a:pt x="2457327" y="311343"/>
                  </a:cubicBezTo>
                  <a:cubicBezTo>
                    <a:pt x="2457327" y="321298"/>
                    <a:pt x="2449257" y="329368"/>
                    <a:pt x="2439302" y="329368"/>
                  </a:cubicBezTo>
                  <a:cubicBezTo>
                    <a:pt x="2429347" y="329368"/>
                    <a:pt x="2421278" y="321298"/>
                    <a:pt x="2421278" y="311343"/>
                  </a:cubicBezTo>
                  <a:cubicBezTo>
                    <a:pt x="2421278" y="301389"/>
                    <a:pt x="2429347" y="293319"/>
                    <a:pt x="2439302" y="293319"/>
                  </a:cubicBezTo>
                  <a:close/>
                  <a:moveTo>
                    <a:pt x="2301115" y="293319"/>
                  </a:moveTo>
                  <a:cubicBezTo>
                    <a:pt x="2311070" y="293319"/>
                    <a:pt x="2319140" y="301389"/>
                    <a:pt x="2319140" y="311343"/>
                  </a:cubicBezTo>
                  <a:cubicBezTo>
                    <a:pt x="2319140" y="321298"/>
                    <a:pt x="2311070" y="329368"/>
                    <a:pt x="2301115" y="329368"/>
                  </a:cubicBezTo>
                  <a:cubicBezTo>
                    <a:pt x="2291161" y="329368"/>
                    <a:pt x="2283091" y="321298"/>
                    <a:pt x="2283091" y="311343"/>
                  </a:cubicBezTo>
                  <a:cubicBezTo>
                    <a:pt x="2283091" y="301389"/>
                    <a:pt x="2291161" y="293319"/>
                    <a:pt x="2301115" y="293319"/>
                  </a:cubicBezTo>
                  <a:close/>
                  <a:moveTo>
                    <a:pt x="1447960" y="293319"/>
                  </a:moveTo>
                  <a:cubicBezTo>
                    <a:pt x="1457915" y="293319"/>
                    <a:pt x="1465985" y="301389"/>
                    <a:pt x="1465985" y="311343"/>
                  </a:cubicBezTo>
                  <a:cubicBezTo>
                    <a:pt x="1465985" y="321298"/>
                    <a:pt x="1457915" y="329368"/>
                    <a:pt x="1447960" y="329368"/>
                  </a:cubicBezTo>
                  <a:cubicBezTo>
                    <a:pt x="1438006" y="329368"/>
                    <a:pt x="1429936" y="321298"/>
                    <a:pt x="1429936" y="311343"/>
                  </a:cubicBezTo>
                  <a:cubicBezTo>
                    <a:pt x="1429936" y="301389"/>
                    <a:pt x="1438006" y="293319"/>
                    <a:pt x="1447960" y="293319"/>
                  </a:cubicBezTo>
                  <a:close/>
                  <a:moveTo>
                    <a:pt x="901219" y="293319"/>
                  </a:moveTo>
                  <a:cubicBezTo>
                    <a:pt x="911174" y="293319"/>
                    <a:pt x="919244" y="301389"/>
                    <a:pt x="919244" y="311343"/>
                  </a:cubicBezTo>
                  <a:cubicBezTo>
                    <a:pt x="919244" y="321298"/>
                    <a:pt x="911174" y="329368"/>
                    <a:pt x="901219" y="329368"/>
                  </a:cubicBezTo>
                  <a:cubicBezTo>
                    <a:pt x="891265" y="329368"/>
                    <a:pt x="883195" y="321298"/>
                    <a:pt x="883195" y="311343"/>
                  </a:cubicBezTo>
                  <a:cubicBezTo>
                    <a:pt x="883195" y="301389"/>
                    <a:pt x="891265" y="293319"/>
                    <a:pt x="901219" y="293319"/>
                  </a:cubicBezTo>
                  <a:close/>
                  <a:moveTo>
                    <a:pt x="552748" y="293319"/>
                  </a:moveTo>
                  <a:cubicBezTo>
                    <a:pt x="562703" y="293319"/>
                    <a:pt x="570773" y="301389"/>
                    <a:pt x="570773" y="311343"/>
                  </a:cubicBezTo>
                  <a:cubicBezTo>
                    <a:pt x="570773" y="321298"/>
                    <a:pt x="562703" y="329368"/>
                    <a:pt x="552748" y="329368"/>
                  </a:cubicBezTo>
                  <a:cubicBezTo>
                    <a:pt x="542794" y="329368"/>
                    <a:pt x="534724" y="321298"/>
                    <a:pt x="534724" y="311343"/>
                  </a:cubicBezTo>
                  <a:cubicBezTo>
                    <a:pt x="534724" y="301389"/>
                    <a:pt x="542794" y="293319"/>
                    <a:pt x="552748" y="293319"/>
                  </a:cubicBezTo>
                  <a:close/>
                  <a:moveTo>
                    <a:pt x="6326566" y="287311"/>
                  </a:moveTo>
                  <a:cubicBezTo>
                    <a:pt x="6336521" y="287311"/>
                    <a:pt x="6344591" y="295381"/>
                    <a:pt x="6344591" y="305336"/>
                  </a:cubicBezTo>
                  <a:cubicBezTo>
                    <a:pt x="6344591" y="315290"/>
                    <a:pt x="6336522" y="323360"/>
                    <a:pt x="6326566" y="323360"/>
                  </a:cubicBezTo>
                  <a:cubicBezTo>
                    <a:pt x="6316612" y="323360"/>
                    <a:pt x="6308542" y="315290"/>
                    <a:pt x="6308542" y="305336"/>
                  </a:cubicBezTo>
                  <a:cubicBezTo>
                    <a:pt x="6308542" y="295381"/>
                    <a:pt x="6316611" y="287311"/>
                    <a:pt x="6326566" y="287311"/>
                  </a:cubicBezTo>
                  <a:close/>
                  <a:moveTo>
                    <a:pt x="5503451" y="287311"/>
                  </a:moveTo>
                  <a:cubicBezTo>
                    <a:pt x="5513406" y="287311"/>
                    <a:pt x="5521476" y="295381"/>
                    <a:pt x="5521476" y="305336"/>
                  </a:cubicBezTo>
                  <a:cubicBezTo>
                    <a:pt x="5521476" y="315290"/>
                    <a:pt x="5513406" y="323360"/>
                    <a:pt x="5503451" y="323360"/>
                  </a:cubicBezTo>
                  <a:cubicBezTo>
                    <a:pt x="5493496" y="323360"/>
                    <a:pt x="5485427" y="315290"/>
                    <a:pt x="5485427" y="305336"/>
                  </a:cubicBezTo>
                  <a:cubicBezTo>
                    <a:pt x="5485427" y="295381"/>
                    <a:pt x="5493496" y="287311"/>
                    <a:pt x="5503451" y="287311"/>
                  </a:cubicBezTo>
                  <a:close/>
                  <a:moveTo>
                    <a:pt x="1808448" y="287311"/>
                  </a:moveTo>
                  <a:cubicBezTo>
                    <a:pt x="1818403" y="287311"/>
                    <a:pt x="1826473" y="295381"/>
                    <a:pt x="1826473" y="305336"/>
                  </a:cubicBezTo>
                  <a:cubicBezTo>
                    <a:pt x="1826473" y="315290"/>
                    <a:pt x="1818403" y="323360"/>
                    <a:pt x="1808448" y="323360"/>
                  </a:cubicBezTo>
                  <a:cubicBezTo>
                    <a:pt x="1798494" y="323360"/>
                    <a:pt x="1790424" y="315290"/>
                    <a:pt x="1790424" y="305336"/>
                  </a:cubicBezTo>
                  <a:cubicBezTo>
                    <a:pt x="1790424" y="295381"/>
                    <a:pt x="1798494" y="287311"/>
                    <a:pt x="1808448" y="287311"/>
                  </a:cubicBezTo>
                  <a:close/>
                  <a:moveTo>
                    <a:pt x="672910" y="287311"/>
                  </a:moveTo>
                  <a:cubicBezTo>
                    <a:pt x="682865" y="287311"/>
                    <a:pt x="690935" y="295381"/>
                    <a:pt x="690935" y="305336"/>
                  </a:cubicBezTo>
                  <a:cubicBezTo>
                    <a:pt x="690935" y="315290"/>
                    <a:pt x="682865" y="323360"/>
                    <a:pt x="672910" y="323360"/>
                  </a:cubicBezTo>
                  <a:cubicBezTo>
                    <a:pt x="662956" y="323360"/>
                    <a:pt x="654886" y="315290"/>
                    <a:pt x="654886" y="305336"/>
                  </a:cubicBezTo>
                  <a:cubicBezTo>
                    <a:pt x="654886" y="295381"/>
                    <a:pt x="662956" y="287311"/>
                    <a:pt x="672910" y="287311"/>
                  </a:cubicBezTo>
                  <a:close/>
                  <a:moveTo>
                    <a:pt x="4710377" y="275295"/>
                  </a:moveTo>
                  <a:cubicBezTo>
                    <a:pt x="4720332" y="275295"/>
                    <a:pt x="4728402" y="283365"/>
                    <a:pt x="4728402" y="293319"/>
                  </a:cubicBezTo>
                  <a:cubicBezTo>
                    <a:pt x="4728402" y="303274"/>
                    <a:pt x="4720332" y="311344"/>
                    <a:pt x="4710377" y="311344"/>
                  </a:cubicBezTo>
                  <a:cubicBezTo>
                    <a:pt x="4700423" y="311344"/>
                    <a:pt x="4692353" y="303274"/>
                    <a:pt x="4692353" y="293319"/>
                  </a:cubicBezTo>
                  <a:cubicBezTo>
                    <a:pt x="4692353" y="283365"/>
                    <a:pt x="4700423" y="275295"/>
                    <a:pt x="4710377" y="275295"/>
                  </a:cubicBezTo>
                  <a:close/>
                  <a:moveTo>
                    <a:pt x="4962719" y="269287"/>
                  </a:moveTo>
                  <a:cubicBezTo>
                    <a:pt x="4972674" y="269287"/>
                    <a:pt x="4980744" y="277357"/>
                    <a:pt x="4980744" y="287311"/>
                  </a:cubicBezTo>
                  <a:cubicBezTo>
                    <a:pt x="4980744" y="297266"/>
                    <a:pt x="4972674" y="305336"/>
                    <a:pt x="4962719" y="305336"/>
                  </a:cubicBezTo>
                  <a:cubicBezTo>
                    <a:pt x="4952764" y="305336"/>
                    <a:pt x="4944695" y="297266"/>
                    <a:pt x="4944695" y="287311"/>
                  </a:cubicBezTo>
                  <a:cubicBezTo>
                    <a:pt x="4944695" y="277357"/>
                    <a:pt x="4952764" y="269287"/>
                    <a:pt x="4962719" y="269287"/>
                  </a:cubicBezTo>
                  <a:close/>
                  <a:moveTo>
                    <a:pt x="3652945" y="269287"/>
                  </a:moveTo>
                  <a:cubicBezTo>
                    <a:pt x="3662900" y="269287"/>
                    <a:pt x="3670970" y="277357"/>
                    <a:pt x="3670970" y="287311"/>
                  </a:cubicBezTo>
                  <a:cubicBezTo>
                    <a:pt x="3670970" y="297266"/>
                    <a:pt x="3662900" y="305336"/>
                    <a:pt x="3652945" y="305336"/>
                  </a:cubicBezTo>
                  <a:cubicBezTo>
                    <a:pt x="3642991" y="305336"/>
                    <a:pt x="3634921" y="297266"/>
                    <a:pt x="3634921" y="287311"/>
                  </a:cubicBezTo>
                  <a:cubicBezTo>
                    <a:pt x="3634921" y="277357"/>
                    <a:pt x="3642991" y="269287"/>
                    <a:pt x="3652945" y="269287"/>
                  </a:cubicBezTo>
                  <a:close/>
                  <a:moveTo>
                    <a:pt x="1123520" y="269287"/>
                  </a:moveTo>
                  <a:cubicBezTo>
                    <a:pt x="1133475" y="269287"/>
                    <a:pt x="1141545" y="277357"/>
                    <a:pt x="1141545" y="287311"/>
                  </a:cubicBezTo>
                  <a:cubicBezTo>
                    <a:pt x="1141545" y="297266"/>
                    <a:pt x="1133475" y="305336"/>
                    <a:pt x="1123520" y="305336"/>
                  </a:cubicBezTo>
                  <a:cubicBezTo>
                    <a:pt x="1113566" y="305336"/>
                    <a:pt x="1105496" y="297266"/>
                    <a:pt x="1105496" y="287311"/>
                  </a:cubicBezTo>
                  <a:cubicBezTo>
                    <a:pt x="1105496" y="277357"/>
                    <a:pt x="1113566" y="269287"/>
                    <a:pt x="1123520" y="269287"/>
                  </a:cubicBezTo>
                  <a:close/>
                  <a:moveTo>
                    <a:pt x="5112922" y="263279"/>
                  </a:moveTo>
                  <a:cubicBezTo>
                    <a:pt x="5122877" y="263279"/>
                    <a:pt x="5130947" y="271349"/>
                    <a:pt x="5130947" y="281303"/>
                  </a:cubicBezTo>
                  <a:cubicBezTo>
                    <a:pt x="5130947" y="291258"/>
                    <a:pt x="5122877" y="299328"/>
                    <a:pt x="5112922" y="299328"/>
                  </a:cubicBezTo>
                  <a:cubicBezTo>
                    <a:pt x="5102967" y="299328"/>
                    <a:pt x="5094898" y="291258"/>
                    <a:pt x="5094898" y="281303"/>
                  </a:cubicBezTo>
                  <a:cubicBezTo>
                    <a:pt x="5094898" y="271349"/>
                    <a:pt x="5102967" y="263279"/>
                    <a:pt x="5112922" y="263279"/>
                  </a:cubicBezTo>
                  <a:close/>
                  <a:moveTo>
                    <a:pt x="4217710" y="263279"/>
                  </a:moveTo>
                  <a:cubicBezTo>
                    <a:pt x="4227665" y="263279"/>
                    <a:pt x="4235735" y="271349"/>
                    <a:pt x="4235735" y="281303"/>
                  </a:cubicBezTo>
                  <a:cubicBezTo>
                    <a:pt x="4235735" y="291258"/>
                    <a:pt x="4227665" y="299328"/>
                    <a:pt x="4217710" y="299328"/>
                  </a:cubicBezTo>
                  <a:cubicBezTo>
                    <a:pt x="4207755" y="299328"/>
                    <a:pt x="4199685" y="291258"/>
                    <a:pt x="4199685" y="281303"/>
                  </a:cubicBezTo>
                  <a:cubicBezTo>
                    <a:pt x="4199685" y="271349"/>
                    <a:pt x="4207755" y="263279"/>
                    <a:pt x="4217710" y="263279"/>
                  </a:cubicBezTo>
                  <a:close/>
                  <a:moveTo>
                    <a:pt x="3190319" y="263279"/>
                  </a:moveTo>
                  <a:cubicBezTo>
                    <a:pt x="3200274" y="263279"/>
                    <a:pt x="3208344" y="271349"/>
                    <a:pt x="3208344" y="281303"/>
                  </a:cubicBezTo>
                  <a:cubicBezTo>
                    <a:pt x="3208344" y="291258"/>
                    <a:pt x="3200274" y="299328"/>
                    <a:pt x="3190319" y="299328"/>
                  </a:cubicBezTo>
                  <a:cubicBezTo>
                    <a:pt x="3180364" y="299328"/>
                    <a:pt x="3172295" y="291258"/>
                    <a:pt x="3172295" y="281303"/>
                  </a:cubicBezTo>
                  <a:cubicBezTo>
                    <a:pt x="3172295" y="271349"/>
                    <a:pt x="3180364" y="263279"/>
                    <a:pt x="3190319" y="263279"/>
                  </a:cubicBezTo>
                  <a:close/>
                  <a:moveTo>
                    <a:pt x="5996118" y="257270"/>
                  </a:moveTo>
                  <a:cubicBezTo>
                    <a:pt x="6006073" y="257270"/>
                    <a:pt x="6014143" y="265340"/>
                    <a:pt x="6014143" y="275295"/>
                  </a:cubicBezTo>
                  <a:cubicBezTo>
                    <a:pt x="6014143" y="285249"/>
                    <a:pt x="6006073" y="293319"/>
                    <a:pt x="5996118" y="293319"/>
                  </a:cubicBezTo>
                  <a:cubicBezTo>
                    <a:pt x="5986164" y="293319"/>
                    <a:pt x="5978094" y="285249"/>
                    <a:pt x="5978094" y="275295"/>
                  </a:cubicBezTo>
                  <a:cubicBezTo>
                    <a:pt x="5978094" y="265340"/>
                    <a:pt x="5986164" y="257270"/>
                    <a:pt x="5996118" y="257270"/>
                  </a:cubicBezTo>
                  <a:close/>
                  <a:moveTo>
                    <a:pt x="5233085" y="257270"/>
                  </a:moveTo>
                  <a:cubicBezTo>
                    <a:pt x="5243040" y="257270"/>
                    <a:pt x="5251110" y="265340"/>
                    <a:pt x="5251110" y="275295"/>
                  </a:cubicBezTo>
                  <a:cubicBezTo>
                    <a:pt x="5251110" y="285249"/>
                    <a:pt x="5243040" y="293319"/>
                    <a:pt x="5233085" y="293319"/>
                  </a:cubicBezTo>
                  <a:cubicBezTo>
                    <a:pt x="5223130" y="293319"/>
                    <a:pt x="5215061" y="285249"/>
                    <a:pt x="5215061" y="275295"/>
                  </a:cubicBezTo>
                  <a:cubicBezTo>
                    <a:pt x="5215061" y="265340"/>
                    <a:pt x="5223130" y="257270"/>
                    <a:pt x="5233085" y="257270"/>
                  </a:cubicBezTo>
                  <a:close/>
                  <a:moveTo>
                    <a:pt x="4584206" y="257270"/>
                  </a:moveTo>
                  <a:cubicBezTo>
                    <a:pt x="4594161" y="257270"/>
                    <a:pt x="4602231" y="265340"/>
                    <a:pt x="4602231" y="275295"/>
                  </a:cubicBezTo>
                  <a:cubicBezTo>
                    <a:pt x="4602231" y="285249"/>
                    <a:pt x="4594161" y="293319"/>
                    <a:pt x="4584206" y="293319"/>
                  </a:cubicBezTo>
                  <a:cubicBezTo>
                    <a:pt x="4574252" y="293319"/>
                    <a:pt x="4566182" y="285249"/>
                    <a:pt x="4566182" y="275295"/>
                  </a:cubicBezTo>
                  <a:cubicBezTo>
                    <a:pt x="4566182" y="265340"/>
                    <a:pt x="4574252" y="257270"/>
                    <a:pt x="4584206" y="257270"/>
                  </a:cubicBezTo>
                  <a:close/>
                  <a:moveTo>
                    <a:pt x="2156921" y="257270"/>
                  </a:moveTo>
                  <a:cubicBezTo>
                    <a:pt x="2166875" y="257270"/>
                    <a:pt x="2174945" y="265340"/>
                    <a:pt x="2174945" y="275295"/>
                  </a:cubicBezTo>
                  <a:cubicBezTo>
                    <a:pt x="2174945" y="285249"/>
                    <a:pt x="2166875" y="293319"/>
                    <a:pt x="2156921" y="293319"/>
                  </a:cubicBezTo>
                  <a:cubicBezTo>
                    <a:pt x="2146966" y="293319"/>
                    <a:pt x="2138896" y="285249"/>
                    <a:pt x="2138896" y="275295"/>
                  </a:cubicBezTo>
                  <a:cubicBezTo>
                    <a:pt x="2138896" y="265340"/>
                    <a:pt x="2146966" y="257270"/>
                    <a:pt x="2156921" y="257270"/>
                  </a:cubicBezTo>
                  <a:close/>
                  <a:moveTo>
                    <a:pt x="781057" y="257270"/>
                  </a:moveTo>
                  <a:cubicBezTo>
                    <a:pt x="791012" y="257270"/>
                    <a:pt x="799082" y="265340"/>
                    <a:pt x="799082" y="275295"/>
                  </a:cubicBezTo>
                  <a:cubicBezTo>
                    <a:pt x="799082" y="285249"/>
                    <a:pt x="791012" y="293319"/>
                    <a:pt x="781057" y="293319"/>
                  </a:cubicBezTo>
                  <a:cubicBezTo>
                    <a:pt x="771103" y="293319"/>
                    <a:pt x="763033" y="285249"/>
                    <a:pt x="763033" y="275295"/>
                  </a:cubicBezTo>
                  <a:cubicBezTo>
                    <a:pt x="763033" y="265340"/>
                    <a:pt x="771103" y="257270"/>
                    <a:pt x="781057" y="257270"/>
                  </a:cubicBezTo>
                  <a:close/>
                  <a:moveTo>
                    <a:pt x="420569" y="257270"/>
                  </a:moveTo>
                  <a:cubicBezTo>
                    <a:pt x="430524" y="257270"/>
                    <a:pt x="438594" y="265340"/>
                    <a:pt x="438594" y="275295"/>
                  </a:cubicBezTo>
                  <a:cubicBezTo>
                    <a:pt x="438594" y="285249"/>
                    <a:pt x="430524" y="293319"/>
                    <a:pt x="420569" y="293319"/>
                  </a:cubicBezTo>
                  <a:cubicBezTo>
                    <a:pt x="410615" y="293319"/>
                    <a:pt x="402545" y="285249"/>
                    <a:pt x="402545" y="275295"/>
                  </a:cubicBezTo>
                  <a:cubicBezTo>
                    <a:pt x="402545" y="265340"/>
                    <a:pt x="410615" y="257270"/>
                    <a:pt x="420569" y="257270"/>
                  </a:cubicBezTo>
                  <a:close/>
                  <a:moveTo>
                    <a:pt x="5845915" y="245254"/>
                  </a:moveTo>
                  <a:cubicBezTo>
                    <a:pt x="5855870" y="245254"/>
                    <a:pt x="5863940" y="253324"/>
                    <a:pt x="5863940" y="263278"/>
                  </a:cubicBezTo>
                  <a:cubicBezTo>
                    <a:pt x="5863940" y="273233"/>
                    <a:pt x="5855870" y="281303"/>
                    <a:pt x="5845915" y="281303"/>
                  </a:cubicBezTo>
                  <a:cubicBezTo>
                    <a:pt x="5835961" y="281303"/>
                    <a:pt x="5827891" y="273233"/>
                    <a:pt x="5827891" y="263278"/>
                  </a:cubicBezTo>
                  <a:cubicBezTo>
                    <a:pt x="5827891" y="253324"/>
                    <a:pt x="5835961" y="245254"/>
                    <a:pt x="5845915" y="245254"/>
                  </a:cubicBezTo>
                  <a:close/>
                  <a:moveTo>
                    <a:pt x="4013434" y="245254"/>
                  </a:moveTo>
                  <a:cubicBezTo>
                    <a:pt x="4023389" y="245254"/>
                    <a:pt x="4031459" y="253324"/>
                    <a:pt x="4031459" y="263278"/>
                  </a:cubicBezTo>
                  <a:cubicBezTo>
                    <a:pt x="4031459" y="273233"/>
                    <a:pt x="4023389" y="281303"/>
                    <a:pt x="4013434" y="281303"/>
                  </a:cubicBezTo>
                  <a:cubicBezTo>
                    <a:pt x="4003480" y="281303"/>
                    <a:pt x="3995410" y="273233"/>
                    <a:pt x="3995410" y="263278"/>
                  </a:cubicBezTo>
                  <a:cubicBezTo>
                    <a:pt x="3995410" y="253324"/>
                    <a:pt x="4003480" y="245254"/>
                    <a:pt x="4013434" y="245254"/>
                  </a:cubicBezTo>
                  <a:close/>
                  <a:moveTo>
                    <a:pt x="2841847" y="245254"/>
                  </a:moveTo>
                  <a:cubicBezTo>
                    <a:pt x="2851802" y="245254"/>
                    <a:pt x="2859872" y="253324"/>
                    <a:pt x="2859872" y="263278"/>
                  </a:cubicBezTo>
                  <a:cubicBezTo>
                    <a:pt x="2859872" y="273233"/>
                    <a:pt x="2851802" y="281303"/>
                    <a:pt x="2841847" y="281303"/>
                  </a:cubicBezTo>
                  <a:cubicBezTo>
                    <a:pt x="2831893" y="281303"/>
                    <a:pt x="2823823" y="273233"/>
                    <a:pt x="2823823" y="263278"/>
                  </a:cubicBezTo>
                  <a:cubicBezTo>
                    <a:pt x="2823823" y="253324"/>
                    <a:pt x="2831893" y="245254"/>
                    <a:pt x="2841847" y="245254"/>
                  </a:cubicBezTo>
                  <a:close/>
                  <a:moveTo>
                    <a:pt x="2006717" y="245254"/>
                  </a:moveTo>
                  <a:cubicBezTo>
                    <a:pt x="2016671" y="245254"/>
                    <a:pt x="2024741" y="253324"/>
                    <a:pt x="2024741" y="263278"/>
                  </a:cubicBezTo>
                  <a:cubicBezTo>
                    <a:pt x="2024741" y="273233"/>
                    <a:pt x="2016671" y="281303"/>
                    <a:pt x="2006717" y="281303"/>
                  </a:cubicBezTo>
                  <a:cubicBezTo>
                    <a:pt x="1996762" y="281303"/>
                    <a:pt x="1988692" y="273233"/>
                    <a:pt x="1988692" y="263278"/>
                  </a:cubicBezTo>
                  <a:cubicBezTo>
                    <a:pt x="1988692" y="253324"/>
                    <a:pt x="1996762" y="245254"/>
                    <a:pt x="2006717" y="245254"/>
                  </a:cubicBezTo>
                  <a:close/>
                  <a:moveTo>
                    <a:pt x="1009366" y="245254"/>
                  </a:moveTo>
                  <a:cubicBezTo>
                    <a:pt x="1019321" y="245254"/>
                    <a:pt x="1027391" y="253324"/>
                    <a:pt x="1027391" y="263278"/>
                  </a:cubicBezTo>
                  <a:cubicBezTo>
                    <a:pt x="1027391" y="273233"/>
                    <a:pt x="1019321" y="281303"/>
                    <a:pt x="1009366" y="281303"/>
                  </a:cubicBezTo>
                  <a:cubicBezTo>
                    <a:pt x="999412" y="281303"/>
                    <a:pt x="991342" y="273233"/>
                    <a:pt x="991342" y="263278"/>
                  </a:cubicBezTo>
                  <a:cubicBezTo>
                    <a:pt x="991342" y="253324"/>
                    <a:pt x="999412" y="245254"/>
                    <a:pt x="1009366" y="245254"/>
                  </a:cubicBezTo>
                  <a:close/>
                  <a:moveTo>
                    <a:pt x="4337873" y="239246"/>
                  </a:moveTo>
                  <a:cubicBezTo>
                    <a:pt x="4347828" y="239246"/>
                    <a:pt x="4355898" y="247316"/>
                    <a:pt x="4355898" y="257270"/>
                  </a:cubicBezTo>
                  <a:cubicBezTo>
                    <a:pt x="4355898" y="267225"/>
                    <a:pt x="4347828" y="275295"/>
                    <a:pt x="4337873" y="275295"/>
                  </a:cubicBezTo>
                  <a:cubicBezTo>
                    <a:pt x="4327918" y="275295"/>
                    <a:pt x="4319848" y="267225"/>
                    <a:pt x="4319848" y="257270"/>
                  </a:cubicBezTo>
                  <a:cubicBezTo>
                    <a:pt x="4319848" y="247316"/>
                    <a:pt x="4327918" y="239246"/>
                    <a:pt x="4337873" y="239246"/>
                  </a:cubicBezTo>
                  <a:close/>
                  <a:moveTo>
                    <a:pt x="3310482" y="239246"/>
                  </a:moveTo>
                  <a:cubicBezTo>
                    <a:pt x="3320437" y="239246"/>
                    <a:pt x="3328507" y="247316"/>
                    <a:pt x="3328507" y="257270"/>
                  </a:cubicBezTo>
                  <a:cubicBezTo>
                    <a:pt x="3328507" y="267225"/>
                    <a:pt x="3320437" y="275295"/>
                    <a:pt x="3310482" y="275295"/>
                  </a:cubicBezTo>
                  <a:cubicBezTo>
                    <a:pt x="3300527" y="275295"/>
                    <a:pt x="3292458" y="267225"/>
                    <a:pt x="3292458" y="257270"/>
                  </a:cubicBezTo>
                  <a:cubicBezTo>
                    <a:pt x="3292458" y="247316"/>
                    <a:pt x="3300527" y="239246"/>
                    <a:pt x="3310482" y="239246"/>
                  </a:cubicBezTo>
                  <a:close/>
                  <a:moveTo>
                    <a:pt x="3418628" y="233238"/>
                  </a:moveTo>
                  <a:cubicBezTo>
                    <a:pt x="3428583" y="233238"/>
                    <a:pt x="3436653" y="241308"/>
                    <a:pt x="3436653" y="251262"/>
                  </a:cubicBezTo>
                  <a:cubicBezTo>
                    <a:pt x="3436653" y="261217"/>
                    <a:pt x="3428583" y="269287"/>
                    <a:pt x="3418628" y="269287"/>
                  </a:cubicBezTo>
                  <a:cubicBezTo>
                    <a:pt x="3408674" y="269287"/>
                    <a:pt x="3400604" y="261217"/>
                    <a:pt x="3400604" y="251262"/>
                  </a:cubicBezTo>
                  <a:cubicBezTo>
                    <a:pt x="3400604" y="241308"/>
                    <a:pt x="3408674" y="233238"/>
                    <a:pt x="3418628" y="233238"/>
                  </a:cubicBezTo>
                  <a:close/>
                  <a:moveTo>
                    <a:pt x="4836548" y="227230"/>
                  </a:moveTo>
                  <a:cubicBezTo>
                    <a:pt x="4846503" y="227230"/>
                    <a:pt x="4854573" y="235300"/>
                    <a:pt x="4854573" y="245255"/>
                  </a:cubicBezTo>
                  <a:cubicBezTo>
                    <a:pt x="4854573" y="255209"/>
                    <a:pt x="4846503" y="263279"/>
                    <a:pt x="4836548" y="263279"/>
                  </a:cubicBezTo>
                  <a:cubicBezTo>
                    <a:pt x="4826593" y="263279"/>
                    <a:pt x="4818524" y="255209"/>
                    <a:pt x="4818524" y="245255"/>
                  </a:cubicBezTo>
                  <a:cubicBezTo>
                    <a:pt x="4818524" y="235300"/>
                    <a:pt x="4826593" y="227230"/>
                    <a:pt x="4836548" y="227230"/>
                  </a:cubicBezTo>
                  <a:close/>
                  <a:moveTo>
                    <a:pt x="2949994" y="227230"/>
                  </a:moveTo>
                  <a:cubicBezTo>
                    <a:pt x="2959949" y="227230"/>
                    <a:pt x="2968019" y="235300"/>
                    <a:pt x="2968019" y="245255"/>
                  </a:cubicBezTo>
                  <a:cubicBezTo>
                    <a:pt x="2968019" y="255209"/>
                    <a:pt x="2959949" y="263279"/>
                    <a:pt x="2949994" y="263279"/>
                  </a:cubicBezTo>
                  <a:cubicBezTo>
                    <a:pt x="2940039" y="263279"/>
                    <a:pt x="2931970" y="255209"/>
                    <a:pt x="2931970" y="245255"/>
                  </a:cubicBezTo>
                  <a:cubicBezTo>
                    <a:pt x="2931970" y="235300"/>
                    <a:pt x="2940039" y="227230"/>
                    <a:pt x="2949994" y="227230"/>
                  </a:cubicBezTo>
                  <a:close/>
                  <a:moveTo>
                    <a:pt x="2727693" y="227230"/>
                  </a:moveTo>
                  <a:cubicBezTo>
                    <a:pt x="2737648" y="227230"/>
                    <a:pt x="2745718" y="235300"/>
                    <a:pt x="2745718" y="245255"/>
                  </a:cubicBezTo>
                  <a:cubicBezTo>
                    <a:pt x="2745718" y="255209"/>
                    <a:pt x="2737648" y="263279"/>
                    <a:pt x="2727693" y="263279"/>
                  </a:cubicBezTo>
                  <a:cubicBezTo>
                    <a:pt x="2717739" y="263279"/>
                    <a:pt x="2709669" y="255209"/>
                    <a:pt x="2709669" y="245255"/>
                  </a:cubicBezTo>
                  <a:cubicBezTo>
                    <a:pt x="2709669" y="235300"/>
                    <a:pt x="2717739" y="227230"/>
                    <a:pt x="2727693" y="227230"/>
                  </a:cubicBezTo>
                  <a:close/>
                  <a:moveTo>
                    <a:pt x="270365" y="227230"/>
                  </a:moveTo>
                  <a:cubicBezTo>
                    <a:pt x="280320" y="227230"/>
                    <a:pt x="288390" y="235300"/>
                    <a:pt x="288390" y="245255"/>
                  </a:cubicBezTo>
                  <a:cubicBezTo>
                    <a:pt x="288390" y="255209"/>
                    <a:pt x="280320" y="263279"/>
                    <a:pt x="270365" y="263279"/>
                  </a:cubicBezTo>
                  <a:cubicBezTo>
                    <a:pt x="260411" y="263279"/>
                    <a:pt x="252341" y="255209"/>
                    <a:pt x="252341" y="245255"/>
                  </a:cubicBezTo>
                  <a:cubicBezTo>
                    <a:pt x="252341" y="235300"/>
                    <a:pt x="260411" y="227230"/>
                    <a:pt x="270365" y="227230"/>
                  </a:cubicBezTo>
                  <a:close/>
                  <a:moveTo>
                    <a:pt x="3893271" y="221222"/>
                  </a:moveTo>
                  <a:cubicBezTo>
                    <a:pt x="3903226" y="221222"/>
                    <a:pt x="3911296" y="229291"/>
                    <a:pt x="3911296" y="239246"/>
                  </a:cubicBezTo>
                  <a:cubicBezTo>
                    <a:pt x="3911296" y="249201"/>
                    <a:pt x="3903226" y="257271"/>
                    <a:pt x="3893271" y="257271"/>
                  </a:cubicBezTo>
                  <a:cubicBezTo>
                    <a:pt x="3883317" y="257271"/>
                    <a:pt x="3875247" y="249201"/>
                    <a:pt x="3875247" y="239246"/>
                  </a:cubicBezTo>
                  <a:cubicBezTo>
                    <a:pt x="3875247" y="229291"/>
                    <a:pt x="3883317" y="221222"/>
                    <a:pt x="3893271" y="221222"/>
                  </a:cubicBezTo>
                  <a:close/>
                  <a:moveTo>
                    <a:pt x="1682277" y="221222"/>
                  </a:moveTo>
                  <a:cubicBezTo>
                    <a:pt x="1692232" y="221222"/>
                    <a:pt x="1700302" y="229291"/>
                    <a:pt x="1700302" y="239246"/>
                  </a:cubicBezTo>
                  <a:cubicBezTo>
                    <a:pt x="1700302" y="249201"/>
                    <a:pt x="1692232" y="257271"/>
                    <a:pt x="1682277" y="257271"/>
                  </a:cubicBezTo>
                  <a:cubicBezTo>
                    <a:pt x="1672323" y="257271"/>
                    <a:pt x="1664253" y="249201"/>
                    <a:pt x="1664253" y="239246"/>
                  </a:cubicBezTo>
                  <a:cubicBezTo>
                    <a:pt x="1664253" y="229291"/>
                    <a:pt x="1672323" y="221222"/>
                    <a:pt x="1682277" y="221222"/>
                  </a:cubicBezTo>
                  <a:close/>
                  <a:moveTo>
                    <a:pt x="4458036" y="215213"/>
                  </a:moveTo>
                  <a:cubicBezTo>
                    <a:pt x="4467991" y="215213"/>
                    <a:pt x="4476061" y="223283"/>
                    <a:pt x="4476061" y="233237"/>
                  </a:cubicBezTo>
                  <a:cubicBezTo>
                    <a:pt x="4476061" y="243192"/>
                    <a:pt x="4467991" y="251262"/>
                    <a:pt x="4458036" y="251262"/>
                  </a:cubicBezTo>
                  <a:cubicBezTo>
                    <a:pt x="4448081" y="251262"/>
                    <a:pt x="4440011" y="243192"/>
                    <a:pt x="4440011" y="233237"/>
                  </a:cubicBezTo>
                  <a:cubicBezTo>
                    <a:pt x="4440011" y="223283"/>
                    <a:pt x="4448081" y="215213"/>
                    <a:pt x="4458036" y="215213"/>
                  </a:cubicBezTo>
                  <a:close/>
                  <a:moveTo>
                    <a:pt x="3767100" y="215213"/>
                  </a:moveTo>
                  <a:cubicBezTo>
                    <a:pt x="3777055" y="215213"/>
                    <a:pt x="3785125" y="223283"/>
                    <a:pt x="3785125" y="233237"/>
                  </a:cubicBezTo>
                  <a:cubicBezTo>
                    <a:pt x="3785125" y="243192"/>
                    <a:pt x="3777055" y="251262"/>
                    <a:pt x="3767100" y="251262"/>
                  </a:cubicBezTo>
                  <a:cubicBezTo>
                    <a:pt x="3757145" y="251262"/>
                    <a:pt x="3749075" y="243192"/>
                    <a:pt x="3749075" y="233237"/>
                  </a:cubicBezTo>
                  <a:cubicBezTo>
                    <a:pt x="3749075" y="223283"/>
                    <a:pt x="3757145" y="215213"/>
                    <a:pt x="3767100" y="215213"/>
                  </a:cubicBezTo>
                  <a:close/>
                  <a:moveTo>
                    <a:pt x="6224427" y="209205"/>
                  </a:moveTo>
                  <a:cubicBezTo>
                    <a:pt x="6234382" y="209205"/>
                    <a:pt x="6242452" y="217275"/>
                    <a:pt x="6242452" y="227229"/>
                  </a:cubicBezTo>
                  <a:cubicBezTo>
                    <a:pt x="6242452" y="237184"/>
                    <a:pt x="6234382" y="245254"/>
                    <a:pt x="6224427" y="245254"/>
                  </a:cubicBezTo>
                  <a:cubicBezTo>
                    <a:pt x="6214472" y="245254"/>
                    <a:pt x="6206403" y="237184"/>
                    <a:pt x="6206403" y="227229"/>
                  </a:cubicBezTo>
                  <a:cubicBezTo>
                    <a:pt x="6206403" y="217275"/>
                    <a:pt x="6214472" y="209205"/>
                    <a:pt x="6224427" y="209205"/>
                  </a:cubicBezTo>
                  <a:close/>
                  <a:moveTo>
                    <a:pt x="1315782" y="209205"/>
                  </a:moveTo>
                  <a:cubicBezTo>
                    <a:pt x="1325736" y="209205"/>
                    <a:pt x="1333806" y="217275"/>
                    <a:pt x="1333806" y="227229"/>
                  </a:cubicBezTo>
                  <a:cubicBezTo>
                    <a:pt x="1333806" y="237184"/>
                    <a:pt x="1325736" y="245254"/>
                    <a:pt x="1315782" y="245254"/>
                  </a:cubicBezTo>
                  <a:cubicBezTo>
                    <a:pt x="1305827" y="245254"/>
                    <a:pt x="1297757" y="237184"/>
                    <a:pt x="1297757" y="227229"/>
                  </a:cubicBezTo>
                  <a:cubicBezTo>
                    <a:pt x="1297757" y="217275"/>
                    <a:pt x="1305827" y="209205"/>
                    <a:pt x="1315782" y="209205"/>
                  </a:cubicBezTo>
                  <a:close/>
                  <a:moveTo>
                    <a:pt x="5713736" y="203197"/>
                  </a:moveTo>
                  <a:cubicBezTo>
                    <a:pt x="5723691" y="203197"/>
                    <a:pt x="5731761" y="211267"/>
                    <a:pt x="5731761" y="221221"/>
                  </a:cubicBezTo>
                  <a:cubicBezTo>
                    <a:pt x="5731761" y="231176"/>
                    <a:pt x="5723691" y="239246"/>
                    <a:pt x="5713736" y="239246"/>
                  </a:cubicBezTo>
                  <a:cubicBezTo>
                    <a:pt x="5703781" y="239246"/>
                    <a:pt x="5695712" y="231176"/>
                    <a:pt x="5695712" y="221221"/>
                  </a:cubicBezTo>
                  <a:cubicBezTo>
                    <a:pt x="5695712" y="211267"/>
                    <a:pt x="5703781" y="203197"/>
                    <a:pt x="5713736" y="203197"/>
                  </a:cubicBezTo>
                  <a:close/>
                  <a:moveTo>
                    <a:pt x="1550098" y="203197"/>
                  </a:moveTo>
                  <a:cubicBezTo>
                    <a:pt x="1560053" y="203197"/>
                    <a:pt x="1568123" y="211267"/>
                    <a:pt x="1568123" y="221221"/>
                  </a:cubicBezTo>
                  <a:cubicBezTo>
                    <a:pt x="1568123" y="231176"/>
                    <a:pt x="1560053" y="239246"/>
                    <a:pt x="1550098" y="239246"/>
                  </a:cubicBezTo>
                  <a:cubicBezTo>
                    <a:pt x="1540144" y="239246"/>
                    <a:pt x="1532074" y="231176"/>
                    <a:pt x="1532074" y="221221"/>
                  </a:cubicBezTo>
                  <a:cubicBezTo>
                    <a:pt x="1532074" y="211267"/>
                    <a:pt x="1540144" y="203197"/>
                    <a:pt x="1550098" y="203197"/>
                  </a:cubicBezTo>
                  <a:close/>
                  <a:moveTo>
                    <a:pt x="5587565" y="197189"/>
                  </a:moveTo>
                  <a:cubicBezTo>
                    <a:pt x="5597520" y="197189"/>
                    <a:pt x="5605590" y="205259"/>
                    <a:pt x="5605590" y="215214"/>
                  </a:cubicBezTo>
                  <a:cubicBezTo>
                    <a:pt x="5605590" y="225168"/>
                    <a:pt x="5597520" y="233238"/>
                    <a:pt x="5587565" y="233238"/>
                  </a:cubicBezTo>
                  <a:cubicBezTo>
                    <a:pt x="5577610" y="233238"/>
                    <a:pt x="5569541" y="225168"/>
                    <a:pt x="5569541" y="215214"/>
                  </a:cubicBezTo>
                  <a:cubicBezTo>
                    <a:pt x="5569541" y="205259"/>
                    <a:pt x="5577610" y="197189"/>
                    <a:pt x="5587565" y="197189"/>
                  </a:cubicBezTo>
                  <a:close/>
                  <a:moveTo>
                    <a:pt x="4121580" y="197189"/>
                  </a:moveTo>
                  <a:cubicBezTo>
                    <a:pt x="4131535" y="197189"/>
                    <a:pt x="4139605" y="205259"/>
                    <a:pt x="4139605" y="215214"/>
                  </a:cubicBezTo>
                  <a:cubicBezTo>
                    <a:pt x="4139605" y="225168"/>
                    <a:pt x="4131535" y="233238"/>
                    <a:pt x="4121580" y="233238"/>
                  </a:cubicBezTo>
                  <a:cubicBezTo>
                    <a:pt x="4111625" y="233238"/>
                    <a:pt x="4103556" y="225168"/>
                    <a:pt x="4103556" y="215214"/>
                  </a:cubicBezTo>
                  <a:cubicBezTo>
                    <a:pt x="4103556" y="205259"/>
                    <a:pt x="4111625" y="197189"/>
                    <a:pt x="4121580" y="197189"/>
                  </a:cubicBezTo>
                  <a:close/>
                  <a:moveTo>
                    <a:pt x="3076164" y="197189"/>
                  </a:moveTo>
                  <a:cubicBezTo>
                    <a:pt x="3086119" y="197189"/>
                    <a:pt x="3094189" y="205259"/>
                    <a:pt x="3094189" y="215214"/>
                  </a:cubicBezTo>
                  <a:cubicBezTo>
                    <a:pt x="3094189" y="225168"/>
                    <a:pt x="3086119" y="233238"/>
                    <a:pt x="3076164" y="233238"/>
                  </a:cubicBezTo>
                  <a:cubicBezTo>
                    <a:pt x="3066209" y="233238"/>
                    <a:pt x="3058139" y="225168"/>
                    <a:pt x="3058139" y="215214"/>
                  </a:cubicBezTo>
                  <a:cubicBezTo>
                    <a:pt x="3058139" y="205259"/>
                    <a:pt x="3066209" y="197189"/>
                    <a:pt x="3076164" y="197189"/>
                  </a:cubicBezTo>
                  <a:close/>
                  <a:moveTo>
                    <a:pt x="5449378" y="191181"/>
                  </a:moveTo>
                  <a:cubicBezTo>
                    <a:pt x="5459333" y="191181"/>
                    <a:pt x="5467403" y="199250"/>
                    <a:pt x="5467403" y="209205"/>
                  </a:cubicBezTo>
                  <a:cubicBezTo>
                    <a:pt x="5467403" y="219160"/>
                    <a:pt x="5459333" y="227230"/>
                    <a:pt x="5449378" y="227230"/>
                  </a:cubicBezTo>
                  <a:cubicBezTo>
                    <a:pt x="5439423" y="227230"/>
                    <a:pt x="5431353" y="219160"/>
                    <a:pt x="5431353" y="209205"/>
                  </a:cubicBezTo>
                  <a:cubicBezTo>
                    <a:pt x="5431353" y="199250"/>
                    <a:pt x="5439423" y="191181"/>
                    <a:pt x="5449378" y="191181"/>
                  </a:cubicBezTo>
                  <a:close/>
                  <a:moveTo>
                    <a:pt x="2607530" y="191181"/>
                  </a:moveTo>
                  <a:cubicBezTo>
                    <a:pt x="2617485" y="191181"/>
                    <a:pt x="2625555" y="199250"/>
                    <a:pt x="2625555" y="209205"/>
                  </a:cubicBezTo>
                  <a:cubicBezTo>
                    <a:pt x="2625555" y="219160"/>
                    <a:pt x="2617485" y="227230"/>
                    <a:pt x="2607530" y="227230"/>
                  </a:cubicBezTo>
                  <a:cubicBezTo>
                    <a:pt x="2597576" y="227230"/>
                    <a:pt x="2589506" y="219160"/>
                    <a:pt x="2589506" y="209205"/>
                  </a:cubicBezTo>
                  <a:cubicBezTo>
                    <a:pt x="2589506" y="199250"/>
                    <a:pt x="2597576" y="191181"/>
                    <a:pt x="2607530" y="191181"/>
                  </a:cubicBezTo>
                  <a:close/>
                  <a:moveTo>
                    <a:pt x="30040" y="191181"/>
                  </a:moveTo>
                  <a:cubicBezTo>
                    <a:pt x="39995" y="191181"/>
                    <a:pt x="48065" y="199250"/>
                    <a:pt x="48065" y="209205"/>
                  </a:cubicBezTo>
                  <a:cubicBezTo>
                    <a:pt x="48065" y="219160"/>
                    <a:pt x="39995" y="227230"/>
                    <a:pt x="30040" y="227230"/>
                  </a:cubicBezTo>
                  <a:cubicBezTo>
                    <a:pt x="20086" y="227230"/>
                    <a:pt x="12016" y="219160"/>
                    <a:pt x="12016" y="209205"/>
                  </a:cubicBezTo>
                  <a:cubicBezTo>
                    <a:pt x="12016" y="199250"/>
                    <a:pt x="20086" y="191181"/>
                    <a:pt x="30040" y="191181"/>
                  </a:cubicBezTo>
                  <a:close/>
                  <a:moveTo>
                    <a:pt x="6368623" y="185173"/>
                  </a:moveTo>
                  <a:cubicBezTo>
                    <a:pt x="6378577" y="185173"/>
                    <a:pt x="6386648" y="193243"/>
                    <a:pt x="6386648" y="203197"/>
                  </a:cubicBezTo>
                  <a:cubicBezTo>
                    <a:pt x="6386648" y="213152"/>
                    <a:pt x="6378578" y="221222"/>
                    <a:pt x="6368623" y="221222"/>
                  </a:cubicBezTo>
                  <a:cubicBezTo>
                    <a:pt x="6358669" y="221222"/>
                    <a:pt x="6350599" y="213152"/>
                    <a:pt x="6350599" y="203197"/>
                  </a:cubicBezTo>
                  <a:cubicBezTo>
                    <a:pt x="6350599" y="193243"/>
                    <a:pt x="6358668" y="185173"/>
                    <a:pt x="6368623" y="185173"/>
                  </a:cubicBezTo>
                  <a:close/>
                  <a:moveTo>
                    <a:pt x="2379221" y="179165"/>
                  </a:moveTo>
                  <a:cubicBezTo>
                    <a:pt x="2389176" y="179165"/>
                    <a:pt x="2397246" y="187235"/>
                    <a:pt x="2397246" y="197189"/>
                  </a:cubicBezTo>
                  <a:cubicBezTo>
                    <a:pt x="2397246" y="207144"/>
                    <a:pt x="2389176" y="215214"/>
                    <a:pt x="2379221" y="215214"/>
                  </a:cubicBezTo>
                  <a:cubicBezTo>
                    <a:pt x="2369267" y="215214"/>
                    <a:pt x="2361197" y="207144"/>
                    <a:pt x="2361197" y="197189"/>
                  </a:cubicBezTo>
                  <a:cubicBezTo>
                    <a:pt x="2361197" y="187235"/>
                    <a:pt x="2369267" y="179165"/>
                    <a:pt x="2379221" y="179165"/>
                  </a:cubicBezTo>
                  <a:close/>
                  <a:moveTo>
                    <a:pt x="2253050" y="179165"/>
                  </a:moveTo>
                  <a:cubicBezTo>
                    <a:pt x="2263005" y="179165"/>
                    <a:pt x="2271075" y="187235"/>
                    <a:pt x="2271075" y="197189"/>
                  </a:cubicBezTo>
                  <a:cubicBezTo>
                    <a:pt x="2271075" y="207144"/>
                    <a:pt x="2263005" y="215214"/>
                    <a:pt x="2253050" y="215214"/>
                  </a:cubicBezTo>
                  <a:cubicBezTo>
                    <a:pt x="2243096" y="215214"/>
                    <a:pt x="2235026" y="207144"/>
                    <a:pt x="2235026" y="197189"/>
                  </a:cubicBezTo>
                  <a:cubicBezTo>
                    <a:pt x="2235026" y="187235"/>
                    <a:pt x="2243096" y="179165"/>
                    <a:pt x="2253050" y="179165"/>
                  </a:cubicBezTo>
                  <a:close/>
                  <a:moveTo>
                    <a:pt x="624846" y="179165"/>
                  </a:moveTo>
                  <a:cubicBezTo>
                    <a:pt x="634800" y="179165"/>
                    <a:pt x="642870" y="187235"/>
                    <a:pt x="642870" y="197189"/>
                  </a:cubicBezTo>
                  <a:cubicBezTo>
                    <a:pt x="642870" y="207144"/>
                    <a:pt x="634800" y="215214"/>
                    <a:pt x="624846" y="215214"/>
                  </a:cubicBezTo>
                  <a:cubicBezTo>
                    <a:pt x="614891" y="215214"/>
                    <a:pt x="606821" y="207144"/>
                    <a:pt x="606821" y="197189"/>
                  </a:cubicBezTo>
                  <a:cubicBezTo>
                    <a:pt x="606821" y="187235"/>
                    <a:pt x="614891" y="179165"/>
                    <a:pt x="624846" y="179165"/>
                  </a:cubicBezTo>
                  <a:close/>
                  <a:moveTo>
                    <a:pt x="6116281" y="167148"/>
                  </a:moveTo>
                  <a:cubicBezTo>
                    <a:pt x="6126236" y="167148"/>
                    <a:pt x="6134306" y="175218"/>
                    <a:pt x="6134306" y="185173"/>
                  </a:cubicBezTo>
                  <a:cubicBezTo>
                    <a:pt x="6134306" y="195127"/>
                    <a:pt x="6126236" y="203197"/>
                    <a:pt x="6116281" y="203197"/>
                  </a:cubicBezTo>
                  <a:cubicBezTo>
                    <a:pt x="6106327" y="203197"/>
                    <a:pt x="6098257" y="195127"/>
                    <a:pt x="6098257" y="185173"/>
                  </a:cubicBezTo>
                  <a:cubicBezTo>
                    <a:pt x="6098257" y="175218"/>
                    <a:pt x="6106327" y="167148"/>
                    <a:pt x="6116281" y="167148"/>
                  </a:cubicBezTo>
                  <a:close/>
                  <a:moveTo>
                    <a:pt x="5311191" y="167148"/>
                  </a:moveTo>
                  <a:cubicBezTo>
                    <a:pt x="5321146" y="167148"/>
                    <a:pt x="5329216" y="175218"/>
                    <a:pt x="5329216" y="185173"/>
                  </a:cubicBezTo>
                  <a:cubicBezTo>
                    <a:pt x="5329216" y="195127"/>
                    <a:pt x="5321146" y="203197"/>
                    <a:pt x="5311191" y="203197"/>
                  </a:cubicBezTo>
                  <a:cubicBezTo>
                    <a:pt x="5301237" y="203197"/>
                    <a:pt x="5293167" y="195127"/>
                    <a:pt x="5293167" y="185173"/>
                  </a:cubicBezTo>
                  <a:cubicBezTo>
                    <a:pt x="5293167" y="175218"/>
                    <a:pt x="5301237" y="167148"/>
                    <a:pt x="5311191" y="167148"/>
                  </a:cubicBezTo>
                  <a:close/>
                  <a:moveTo>
                    <a:pt x="3508750" y="167148"/>
                  </a:moveTo>
                  <a:cubicBezTo>
                    <a:pt x="3518705" y="167148"/>
                    <a:pt x="3526775" y="175218"/>
                    <a:pt x="3526775" y="185173"/>
                  </a:cubicBezTo>
                  <a:cubicBezTo>
                    <a:pt x="3526775" y="195127"/>
                    <a:pt x="3518705" y="203197"/>
                    <a:pt x="3508750" y="203197"/>
                  </a:cubicBezTo>
                  <a:cubicBezTo>
                    <a:pt x="3498796" y="203197"/>
                    <a:pt x="3490726" y="195127"/>
                    <a:pt x="3490726" y="185173"/>
                  </a:cubicBezTo>
                  <a:cubicBezTo>
                    <a:pt x="3490726" y="175218"/>
                    <a:pt x="3498796" y="167148"/>
                    <a:pt x="3508750" y="167148"/>
                  </a:cubicBezTo>
                  <a:close/>
                  <a:moveTo>
                    <a:pt x="1820464" y="167148"/>
                  </a:moveTo>
                  <a:cubicBezTo>
                    <a:pt x="1830419" y="167148"/>
                    <a:pt x="1838489" y="175218"/>
                    <a:pt x="1838489" y="185173"/>
                  </a:cubicBezTo>
                  <a:cubicBezTo>
                    <a:pt x="1838489" y="195127"/>
                    <a:pt x="1830419" y="203197"/>
                    <a:pt x="1820464" y="203197"/>
                  </a:cubicBezTo>
                  <a:cubicBezTo>
                    <a:pt x="1810510" y="203197"/>
                    <a:pt x="1802440" y="195127"/>
                    <a:pt x="1802440" y="185173"/>
                  </a:cubicBezTo>
                  <a:cubicBezTo>
                    <a:pt x="1802440" y="175218"/>
                    <a:pt x="1810510" y="167148"/>
                    <a:pt x="1820464" y="167148"/>
                  </a:cubicBezTo>
                  <a:close/>
                  <a:moveTo>
                    <a:pt x="1423927" y="167148"/>
                  </a:moveTo>
                  <a:cubicBezTo>
                    <a:pt x="1433882" y="167148"/>
                    <a:pt x="1441952" y="175218"/>
                    <a:pt x="1441952" y="185173"/>
                  </a:cubicBezTo>
                  <a:cubicBezTo>
                    <a:pt x="1441952" y="195127"/>
                    <a:pt x="1433882" y="203197"/>
                    <a:pt x="1423927" y="203197"/>
                  </a:cubicBezTo>
                  <a:cubicBezTo>
                    <a:pt x="1413973" y="203197"/>
                    <a:pt x="1405903" y="195127"/>
                    <a:pt x="1405903" y="185173"/>
                  </a:cubicBezTo>
                  <a:cubicBezTo>
                    <a:pt x="1405903" y="175218"/>
                    <a:pt x="1413973" y="167148"/>
                    <a:pt x="1423927" y="167148"/>
                  </a:cubicBezTo>
                  <a:close/>
                  <a:moveTo>
                    <a:pt x="5100906" y="161140"/>
                  </a:moveTo>
                  <a:cubicBezTo>
                    <a:pt x="5110861" y="161140"/>
                    <a:pt x="5118931" y="169209"/>
                    <a:pt x="5118931" y="179164"/>
                  </a:cubicBezTo>
                  <a:cubicBezTo>
                    <a:pt x="5118931" y="189119"/>
                    <a:pt x="5110861" y="197189"/>
                    <a:pt x="5100906" y="197189"/>
                  </a:cubicBezTo>
                  <a:cubicBezTo>
                    <a:pt x="5090952" y="197189"/>
                    <a:pt x="5082882" y="189119"/>
                    <a:pt x="5082882" y="179164"/>
                  </a:cubicBezTo>
                  <a:cubicBezTo>
                    <a:pt x="5082882" y="169209"/>
                    <a:pt x="5090952" y="161140"/>
                    <a:pt x="5100906" y="161140"/>
                  </a:cubicBezTo>
                  <a:close/>
                  <a:moveTo>
                    <a:pt x="1189610" y="161140"/>
                  </a:moveTo>
                  <a:cubicBezTo>
                    <a:pt x="1199565" y="161140"/>
                    <a:pt x="1207635" y="169209"/>
                    <a:pt x="1207635" y="179164"/>
                  </a:cubicBezTo>
                  <a:cubicBezTo>
                    <a:pt x="1207635" y="189119"/>
                    <a:pt x="1199565" y="197189"/>
                    <a:pt x="1189610" y="197189"/>
                  </a:cubicBezTo>
                  <a:cubicBezTo>
                    <a:pt x="1179656" y="197189"/>
                    <a:pt x="1171586" y="189119"/>
                    <a:pt x="1171586" y="179164"/>
                  </a:cubicBezTo>
                  <a:cubicBezTo>
                    <a:pt x="1171586" y="169209"/>
                    <a:pt x="1179656" y="161140"/>
                    <a:pt x="1189610" y="161140"/>
                  </a:cubicBezTo>
                  <a:close/>
                  <a:moveTo>
                    <a:pt x="492666" y="161140"/>
                  </a:moveTo>
                  <a:cubicBezTo>
                    <a:pt x="502621" y="161140"/>
                    <a:pt x="510691" y="169209"/>
                    <a:pt x="510691" y="179164"/>
                  </a:cubicBezTo>
                  <a:cubicBezTo>
                    <a:pt x="510691" y="189119"/>
                    <a:pt x="502621" y="197189"/>
                    <a:pt x="492666" y="197189"/>
                  </a:cubicBezTo>
                  <a:cubicBezTo>
                    <a:pt x="482712" y="197189"/>
                    <a:pt x="474642" y="189119"/>
                    <a:pt x="474642" y="179164"/>
                  </a:cubicBezTo>
                  <a:cubicBezTo>
                    <a:pt x="474642" y="169209"/>
                    <a:pt x="482712" y="161140"/>
                    <a:pt x="492666" y="161140"/>
                  </a:cubicBezTo>
                  <a:close/>
                  <a:moveTo>
                    <a:pt x="132178" y="161140"/>
                  </a:moveTo>
                  <a:cubicBezTo>
                    <a:pt x="142133" y="161140"/>
                    <a:pt x="150203" y="169209"/>
                    <a:pt x="150203" y="179164"/>
                  </a:cubicBezTo>
                  <a:cubicBezTo>
                    <a:pt x="150203" y="189119"/>
                    <a:pt x="142133" y="197189"/>
                    <a:pt x="132178" y="197189"/>
                  </a:cubicBezTo>
                  <a:cubicBezTo>
                    <a:pt x="122224" y="197189"/>
                    <a:pt x="114154" y="189119"/>
                    <a:pt x="114154" y="179164"/>
                  </a:cubicBezTo>
                  <a:cubicBezTo>
                    <a:pt x="114154" y="169209"/>
                    <a:pt x="122224" y="161140"/>
                    <a:pt x="132178" y="161140"/>
                  </a:cubicBezTo>
                  <a:close/>
                  <a:moveTo>
                    <a:pt x="4968727" y="155132"/>
                  </a:moveTo>
                  <a:cubicBezTo>
                    <a:pt x="4978682" y="155132"/>
                    <a:pt x="4986752" y="163202"/>
                    <a:pt x="4986752" y="173156"/>
                  </a:cubicBezTo>
                  <a:cubicBezTo>
                    <a:pt x="4986752" y="183111"/>
                    <a:pt x="4978682" y="191181"/>
                    <a:pt x="4968727" y="191181"/>
                  </a:cubicBezTo>
                  <a:cubicBezTo>
                    <a:pt x="4958772" y="191181"/>
                    <a:pt x="4950702" y="183111"/>
                    <a:pt x="4950702" y="173156"/>
                  </a:cubicBezTo>
                  <a:cubicBezTo>
                    <a:pt x="4950702" y="163202"/>
                    <a:pt x="4958772" y="155132"/>
                    <a:pt x="4968727" y="155132"/>
                  </a:cubicBezTo>
                  <a:close/>
                  <a:moveTo>
                    <a:pt x="3634921" y="155132"/>
                  </a:moveTo>
                  <a:cubicBezTo>
                    <a:pt x="3644876" y="155132"/>
                    <a:pt x="3652946" y="163202"/>
                    <a:pt x="3652946" y="173156"/>
                  </a:cubicBezTo>
                  <a:cubicBezTo>
                    <a:pt x="3652946" y="183111"/>
                    <a:pt x="3644876" y="191181"/>
                    <a:pt x="3634921" y="191181"/>
                  </a:cubicBezTo>
                  <a:cubicBezTo>
                    <a:pt x="3624966" y="191181"/>
                    <a:pt x="3616897" y="183111"/>
                    <a:pt x="3616897" y="173156"/>
                  </a:cubicBezTo>
                  <a:cubicBezTo>
                    <a:pt x="3616897" y="163202"/>
                    <a:pt x="3624966" y="155132"/>
                    <a:pt x="3634921" y="155132"/>
                  </a:cubicBezTo>
                  <a:close/>
                  <a:moveTo>
                    <a:pt x="2493375" y="155132"/>
                  </a:moveTo>
                  <a:cubicBezTo>
                    <a:pt x="2503330" y="155132"/>
                    <a:pt x="2511400" y="163202"/>
                    <a:pt x="2511400" y="173156"/>
                  </a:cubicBezTo>
                  <a:cubicBezTo>
                    <a:pt x="2511400" y="183111"/>
                    <a:pt x="2503330" y="191181"/>
                    <a:pt x="2493375" y="191181"/>
                  </a:cubicBezTo>
                  <a:cubicBezTo>
                    <a:pt x="2483420" y="191181"/>
                    <a:pt x="2475351" y="183111"/>
                    <a:pt x="2475351" y="173156"/>
                  </a:cubicBezTo>
                  <a:cubicBezTo>
                    <a:pt x="2475351" y="163202"/>
                    <a:pt x="2483420" y="155132"/>
                    <a:pt x="2493375" y="155132"/>
                  </a:cubicBezTo>
                  <a:close/>
                  <a:moveTo>
                    <a:pt x="1922603" y="155132"/>
                  </a:moveTo>
                  <a:cubicBezTo>
                    <a:pt x="1932558" y="155132"/>
                    <a:pt x="1940628" y="163202"/>
                    <a:pt x="1940628" y="173156"/>
                  </a:cubicBezTo>
                  <a:cubicBezTo>
                    <a:pt x="1940628" y="183111"/>
                    <a:pt x="1932558" y="191181"/>
                    <a:pt x="1922603" y="191181"/>
                  </a:cubicBezTo>
                  <a:cubicBezTo>
                    <a:pt x="1912649" y="191181"/>
                    <a:pt x="1904579" y="183111"/>
                    <a:pt x="1904579" y="173156"/>
                  </a:cubicBezTo>
                  <a:cubicBezTo>
                    <a:pt x="1904579" y="163202"/>
                    <a:pt x="1912649" y="155132"/>
                    <a:pt x="1922603" y="155132"/>
                  </a:cubicBezTo>
                  <a:close/>
                  <a:moveTo>
                    <a:pt x="919244" y="155132"/>
                  </a:moveTo>
                  <a:cubicBezTo>
                    <a:pt x="929199" y="155132"/>
                    <a:pt x="937269" y="163202"/>
                    <a:pt x="937269" y="173156"/>
                  </a:cubicBezTo>
                  <a:cubicBezTo>
                    <a:pt x="937269" y="183111"/>
                    <a:pt x="929199" y="191181"/>
                    <a:pt x="919244" y="191181"/>
                  </a:cubicBezTo>
                  <a:cubicBezTo>
                    <a:pt x="909290" y="191181"/>
                    <a:pt x="901220" y="183111"/>
                    <a:pt x="901220" y="173156"/>
                  </a:cubicBezTo>
                  <a:cubicBezTo>
                    <a:pt x="901220" y="163202"/>
                    <a:pt x="909290" y="155132"/>
                    <a:pt x="919244" y="155132"/>
                  </a:cubicBezTo>
                  <a:close/>
                  <a:moveTo>
                    <a:pt x="5905996" y="149124"/>
                  </a:moveTo>
                  <a:cubicBezTo>
                    <a:pt x="5915951" y="149124"/>
                    <a:pt x="5924021" y="157194"/>
                    <a:pt x="5924021" y="167148"/>
                  </a:cubicBezTo>
                  <a:cubicBezTo>
                    <a:pt x="5924021" y="177103"/>
                    <a:pt x="5915951" y="185173"/>
                    <a:pt x="5905996" y="185173"/>
                  </a:cubicBezTo>
                  <a:cubicBezTo>
                    <a:pt x="5896042" y="185173"/>
                    <a:pt x="5887972" y="177103"/>
                    <a:pt x="5887972" y="167148"/>
                  </a:cubicBezTo>
                  <a:cubicBezTo>
                    <a:pt x="5887972" y="157194"/>
                    <a:pt x="5896042" y="149124"/>
                    <a:pt x="5905996" y="149124"/>
                  </a:cubicBezTo>
                  <a:close/>
                  <a:moveTo>
                    <a:pt x="4644288" y="149124"/>
                  </a:moveTo>
                  <a:cubicBezTo>
                    <a:pt x="4654243" y="149124"/>
                    <a:pt x="4662313" y="157194"/>
                    <a:pt x="4662313" y="167148"/>
                  </a:cubicBezTo>
                  <a:cubicBezTo>
                    <a:pt x="4662313" y="177103"/>
                    <a:pt x="4654243" y="185173"/>
                    <a:pt x="4644288" y="185173"/>
                  </a:cubicBezTo>
                  <a:cubicBezTo>
                    <a:pt x="4634334" y="185173"/>
                    <a:pt x="4626264" y="177103"/>
                    <a:pt x="4626264" y="167148"/>
                  </a:cubicBezTo>
                  <a:cubicBezTo>
                    <a:pt x="4626264" y="157194"/>
                    <a:pt x="4634334" y="149124"/>
                    <a:pt x="4644288" y="149124"/>
                  </a:cubicBezTo>
                  <a:close/>
                  <a:moveTo>
                    <a:pt x="2126880" y="149124"/>
                  </a:moveTo>
                  <a:cubicBezTo>
                    <a:pt x="2136834" y="149124"/>
                    <a:pt x="2144904" y="157194"/>
                    <a:pt x="2144904" y="167148"/>
                  </a:cubicBezTo>
                  <a:cubicBezTo>
                    <a:pt x="2144904" y="177103"/>
                    <a:pt x="2136834" y="185173"/>
                    <a:pt x="2126880" y="185173"/>
                  </a:cubicBezTo>
                  <a:cubicBezTo>
                    <a:pt x="2116925" y="185173"/>
                    <a:pt x="2108855" y="177103"/>
                    <a:pt x="2108855" y="167148"/>
                  </a:cubicBezTo>
                  <a:cubicBezTo>
                    <a:pt x="2108855" y="157194"/>
                    <a:pt x="2116925" y="149124"/>
                    <a:pt x="2126880" y="149124"/>
                  </a:cubicBezTo>
                  <a:close/>
                  <a:moveTo>
                    <a:pt x="799081" y="149124"/>
                  </a:moveTo>
                  <a:cubicBezTo>
                    <a:pt x="809036" y="149124"/>
                    <a:pt x="817106" y="157194"/>
                    <a:pt x="817106" y="167148"/>
                  </a:cubicBezTo>
                  <a:cubicBezTo>
                    <a:pt x="817106" y="177103"/>
                    <a:pt x="809036" y="185173"/>
                    <a:pt x="799081" y="185173"/>
                  </a:cubicBezTo>
                  <a:cubicBezTo>
                    <a:pt x="789127" y="185173"/>
                    <a:pt x="781057" y="177103"/>
                    <a:pt x="781057" y="167148"/>
                  </a:cubicBezTo>
                  <a:cubicBezTo>
                    <a:pt x="781057" y="157194"/>
                    <a:pt x="789127" y="149124"/>
                    <a:pt x="799081" y="149124"/>
                  </a:cubicBezTo>
                  <a:close/>
                  <a:moveTo>
                    <a:pt x="366495" y="149124"/>
                  </a:moveTo>
                  <a:cubicBezTo>
                    <a:pt x="376450" y="149124"/>
                    <a:pt x="384520" y="157194"/>
                    <a:pt x="384520" y="167148"/>
                  </a:cubicBezTo>
                  <a:cubicBezTo>
                    <a:pt x="384520" y="177103"/>
                    <a:pt x="376450" y="185173"/>
                    <a:pt x="366495" y="185173"/>
                  </a:cubicBezTo>
                  <a:cubicBezTo>
                    <a:pt x="356541" y="185173"/>
                    <a:pt x="348471" y="177103"/>
                    <a:pt x="348471" y="167148"/>
                  </a:cubicBezTo>
                  <a:cubicBezTo>
                    <a:pt x="348471" y="157194"/>
                    <a:pt x="356541" y="149124"/>
                    <a:pt x="366495" y="149124"/>
                  </a:cubicBezTo>
                  <a:close/>
                  <a:moveTo>
                    <a:pt x="4758442" y="143116"/>
                  </a:moveTo>
                  <a:cubicBezTo>
                    <a:pt x="4768397" y="143116"/>
                    <a:pt x="4776467" y="151186"/>
                    <a:pt x="4776467" y="161140"/>
                  </a:cubicBezTo>
                  <a:cubicBezTo>
                    <a:pt x="4776467" y="171095"/>
                    <a:pt x="4768397" y="179165"/>
                    <a:pt x="4758442" y="179165"/>
                  </a:cubicBezTo>
                  <a:cubicBezTo>
                    <a:pt x="4748487" y="179165"/>
                    <a:pt x="4740417" y="171095"/>
                    <a:pt x="4740417" y="161140"/>
                  </a:cubicBezTo>
                  <a:cubicBezTo>
                    <a:pt x="4740417" y="151186"/>
                    <a:pt x="4748487" y="143116"/>
                    <a:pt x="4758442" y="143116"/>
                  </a:cubicBezTo>
                  <a:close/>
                  <a:moveTo>
                    <a:pt x="3226368" y="143116"/>
                  </a:moveTo>
                  <a:cubicBezTo>
                    <a:pt x="3236323" y="143116"/>
                    <a:pt x="3244393" y="151186"/>
                    <a:pt x="3244393" y="161140"/>
                  </a:cubicBezTo>
                  <a:cubicBezTo>
                    <a:pt x="3244393" y="171095"/>
                    <a:pt x="3236323" y="179165"/>
                    <a:pt x="3226368" y="179165"/>
                  </a:cubicBezTo>
                  <a:cubicBezTo>
                    <a:pt x="3216413" y="179165"/>
                    <a:pt x="3208343" y="171095"/>
                    <a:pt x="3208343" y="161140"/>
                  </a:cubicBezTo>
                  <a:cubicBezTo>
                    <a:pt x="3208343" y="151186"/>
                    <a:pt x="3216413" y="143116"/>
                    <a:pt x="3226368" y="143116"/>
                  </a:cubicBezTo>
                  <a:close/>
                  <a:moveTo>
                    <a:pt x="4235735" y="131100"/>
                  </a:moveTo>
                  <a:cubicBezTo>
                    <a:pt x="4245690" y="131100"/>
                    <a:pt x="4253760" y="139169"/>
                    <a:pt x="4253760" y="149124"/>
                  </a:cubicBezTo>
                  <a:cubicBezTo>
                    <a:pt x="4253760" y="159079"/>
                    <a:pt x="4245690" y="167149"/>
                    <a:pt x="4235735" y="167149"/>
                  </a:cubicBezTo>
                  <a:cubicBezTo>
                    <a:pt x="4225780" y="167149"/>
                    <a:pt x="4217711" y="159079"/>
                    <a:pt x="4217711" y="149124"/>
                  </a:cubicBezTo>
                  <a:cubicBezTo>
                    <a:pt x="4217711" y="139169"/>
                    <a:pt x="4225780" y="131100"/>
                    <a:pt x="4235735" y="131100"/>
                  </a:cubicBezTo>
                  <a:close/>
                  <a:moveTo>
                    <a:pt x="1057431" y="131100"/>
                  </a:moveTo>
                  <a:cubicBezTo>
                    <a:pt x="1067386" y="131100"/>
                    <a:pt x="1075456" y="139169"/>
                    <a:pt x="1075456" y="149124"/>
                  </a:cubicBezTo>
                  <a:cubicBezTo>
                    <a:pt x="1075456" y="159079"/>
                    <a:pt x="1067386" y="167149"/>
                    <a:pt x="1057431" y="167149"/>
                  </a:cubicBezTo>
                  <a:cubicBezTo>
                    <a:pt x="1047477" y="167149"/>
                    <a:pt x="1039407" y="159079"/>
                    <a:pt x="1039407" y="149124"/>
                  </a:cubicBezTo>
                  <a:cubicBezTo>
                    <a:pt x="1039407" y="139169"/>
                    <a:pt x="1047477" y="131100"/>
                    <a:pt x="1057431" y="131100"/>
                  </a:cubicBezTo>
                  <a:close/>
                  <a:moveTo>
                    <a:pt x="4536141" y="119083"/>
                  </a:moveTo>
                  <a:cubicBezTo>
                    <a:pt x="4546096" y="119083"/>
                    <a:pt x="4554166" y="127153"/>
                    <a:pt x="4554166" y="137107"/>
                  </a:cubicBezTo>
                  <a:cubicBezTo>
                    <a:pt x="4554166" y="147062"/>
                    <a:pt x="4546096" y="155132"/>
                    <a:pt x="4536141" y="155132"/>
                  </a:cubicBezTo>
                  <a:cubicBezTo>
                    <a:pt x="4526186" y="155132"/>
                    <a:pt x="4518117" y="147062"/>
                    <a:pt x="4518117" y="137107"/>
                  </a:cubicBezTo>
                  <a:cubicBezTo>
                    <a:pt x="4518117" y="127153"/>
                    <a:pt x="4526186" y="119083"/>
                    <a:pt x="4536141" y="119083"/>
                  </a:cubicBezTo>
                  <a:close/>
                  <a:moveTo>
                    <a:pt x="4361905" y="119083"/>
                  </a:moveTo>
                  <a:cubicBezTo>
                    <a:pt x="4371860" y="119083"/>
                    <a:pt x="4379930" y="127153"/>
                    <a:pt x="4379930" y="137107"/>
                  </a:cubicBezTo>
                  <a:cubicBezTo>
                    <a:pt x="4379930" y="147062"/>
                    <a:pt x="4371860" y="155132"/>
                    <a:pt x="4361905" y="155132"/>
                  </a:cubicBezTo>
                  <a:cubicBezTo>
                    <a:pt x="4351950" y="155132"/>
                    <a:pt x="4343881" y="147062"/>
                    <a:pt x="4343881" y="137107"/>
                  </a:cubicBezTo>
                  <a:cubicBezTo>
                    <a:pt x="4343881" y="127153"/>
                    <a:pt x="4351950" y="119083"/>
                    <a:pt x="4361905" y="119083"/>
                  </a:cubicBezTo>
                  <a:close/>
                  <a:moveTo>
                    <a:pt x="6020151" y="113075"/>
                  </a:moveTo>
                  <a:cubicBezTo>
                    <a:pt x="6030106" y="113075"/>
                    <a:pt x="6038176" y="121145"/>
                    <a:pt x="6038176" y="131099"/>
                  </a:cubicBezTo>
                  <a:cubicBezTo>
                    <a:pt x="6038176" y="141054"/>
                    <a:pt x="6030106" y="149124"/>
                    <a:pt x="6020151" y="149124"/>
                  </a:cubicBezTo>
                  <a:cubicBezTo>
                    <a:pt x="6010196" y="149124"/>
                    <a:pt x="6002126" y="141054"/>
                    <a:pt x="6002126" y="131099"/>
                  </a:cubicBezTo>
                  <a:cubicBezTo>
                    <a:pt x="6002126" y="121145"/>
                    <a:pt x="6010196" y="113075"/>
                    <a:pt x="6020151" y="113075"/>
                  </a:cubicBezTo>
                  <a:close/>
                  <a:moveTo>
                    <a:pt x="5209053" y="113075"/>
                  </a:moveTo>
                  <a:cubicBezTo>
                    <a:pt x="5219008" y="113075"/>
                    <a:pt x="5227078" y="121145"/>
                    <a:pt x="5227078" y="131099"/>
                  </a:cubicBezTo>
                  <a:cubicBezTo>
                    <a:pt x="5227078" y="141054"/>
                    <a:pt x="5219008" y="149124"/>
                    <a:pt x="5209053" y="149124"/>
                  </a:cubicBezTo>
                  <a:cubicBezTo>
                    <a:pt x="5199098" y="149124"/>
                    <a:pt x="5191028" y="141054"/>
                    <a:pt x="5191028" y="131099"/>
                  </a:cubicBezTo>
                  <a:cubicBezTo>
                    <a:pt x="5191028" y="121145"/>
                    <a:pt x="5199098" y="113075"/>
                    <a:pt x="5209053" y="113075"/>
                  </a:cubicBezTo>
                  <a:close/>
                  <a:moveTo>
                    <a:pt x="2865880" y="113075"/>
                  </a:moveTo>
                  <a:cubicBezTo>
                    <a:pt x="2875835" y="113075"/>
                    <a:pt x="2883905" y="121145"/>
                    <a:pt x="2883905" y="131099"/>
                  </a:cubicBezTo>
                  <a:cubicBezTo>
                    <a:pt x="2883905" y="141054"/>
                    <a:pt x="2875835" y="149124"/>
                    <a:pt x="2865880" y="149124"/>
                  </a:cubicBezTo>
                  <a:cubicBezTo>
                    <a:pt x="2855925" y="149124"/>
                    <a:pt x="2847855" y="141054"/>
                    <a:pt x="2847855" y="131099"/>
                  </a:cubicBezTo>
                  <a:cubicBezTo>
                    <a:pt x="2847855" y="121145"/>
                    <a:pt x="2855925" y="113075"/>
                    <a:pt x="2865880" y="113075"/>
                  </a:cubicBezTo>
                  <a:close/>
                  <a:moveTo>
                    <a:pt x="2751725" y="113075"/>
                  </a:moveTo>
                  <a:cubicBezTo>
                    <a:pt x="2761680" y="113075"/>
                    <a:pt x="2769750" y="121145"/>
                    <a:pt x="2769750" y="131099"/>
                  </a:cubicBezTo>
                  <a:cubicBezTo>
                    <a:pt x="2769750" y="141054"/>
                    <a:pt x="2761680" y="149124"/>
                    <a:pt x="2751725" y="149124"/>
                  </a:cubicBezTo>
                  <a:cubicBezTo>
                    <a:pt x="2741771" y="149124"/>
                    <a:pt x="2733701" y="141054"/>
                    <a:pt x="2733701" y="131099"/>
                  </a:cubicBezTo>
                  <a:cubicBezTo>
                    <a:pt x="2733701" y="121145"/>
                    <a:pt x="2741771" y="113075"/>
                    <a:pt x="2751725" y="113075"/>
                  </a:cubicBezTo>
                  <a:close/>
                  <a:moveTo>
                    <a:pt x="5797850" y="107067"/>
                  </a:moveTo>
                  <a:cubicBezTo>
                    <a:pt x="5807805" y="107067"/>
                    <a:pt x="5815875" y="115137"/>
                    <a:pt x="5815875" y="125092"/>
                  </a:cubicBezTo>
                  <a:cubicBezTo>
                    <a:pt x="5815875" y="135046"/>
                    <a:pt x="5807805" y="143116"/>
                    <a:pt x="5797850" y="143116"/>
                  </a:cubicBezTo>
                  <a:cubicBezTo>
                    <a:pt x="5787895" y="143116"/>
                    <a:pt x="5779826" y="135046"/>
                    <a:pt x="5779826" y="125092"/>
                  </a:cubicBezTo>
                  <a:cubicBezTo>
                    <a:pt x="5779826" y="115137"/>
                    <a:pt x="5787895" y="107067"/>
                    <a:pt x="5797850" y="107067"/>
                  </a:cubicBezTo>
                  <a:close/>
                  <a:moveTo>
                    <a:pt x="4055491" y="107067"/>
                  </a:moveTo>
                  <a:cubicBezTo>
                    <a:pt x="4065446" y="107067"/>
                    <a:pt x="4073516" y="115137"/>
                    <a:pt x="4073516" y="125092"/>
                  </a:cubicBezTo>
                  <a:cubicBezTo>
                    <a:pt x="4073516" y="135046"/>
                    <a:pt x="4065446" y="143116"/>
                    <a:pt x="4055491" y="143116"/>
                  </a:cubicBezTo>
                  <a:cubicBezTo>
                    <a:pt x="4045536" y="143116"/>
                    <a:pt x="4037467" y="135046"/>
                    <a:pt x="4037467" y="125092"/>
                  </a:cubicBezTo>
                  <a:cubicBezTo>
                    <a:pt x="4037467" y="115137"/>
                    <a:pt x="4045536" y="107067"/>
                    <a:pt x="4055491" y="107067"/>
                  </a:cubicBezTo>
                  <a:close/>
                  <a:moveTo>
                    <a:pt x="3917303" y="107067"/>
                  </a:moveTo>
                  <a:cubicBezTo>
                    <a:pt x="3927258" y="107067"/>
                    <a:pt x="3935328" y="115137"/>
                    <a:pt x="3935328" y="125092"/>
                  </a:cubicBezTo>
                  <a:cubicBezTo>
                    <a:pt x="3935328" y="135046"/>
                    <a:pt x="3927258" y="143116"/>
                    <a:pt x="3917303" y="143116"/>
                  </a:cubicBezTo>
                  <a:cubicBezTo>
                    <a:pt x="3907348" y="143116"/>
                    <a:pt x="3899278" y="135046"/>
                    <a:pt x="3899278" y="125092"/>
                  </a:cubicBezTo>
                  <a:cubicBezTo>
                    <a:pt x="3899278" y="115137"/>
                    <a:pt x="3907348" y="107067"/>
                    <a:pt x="3917303" y="107067"/>
                  </a:cubicBezTo>
                  <a:close/>
                  <a:moveTo>
                    <a:pt x="3346531" y="107067"/>
                  </a:moveTo>
                  <a:cubicBezTo>
                    <a:pt x="3356486" y="107067"/>
                    <a:pt x="3364556" y="115137"/>
                    <a:pt x="3364556" y="125092"/>
                  </a:cubicBezTo>
                  <a:cubicBezTo>
                    <a:pt x="3364556" y="135046"/>
                    <a:pt x="3356486" y="143116"/>
                    <a:pt x="3346531" y="143116"/>
                  </a:cubicBezTo>
                  <a:cubicBezTo>
                    <a:pt x="3336576" y="143116"/>
                    <a:pt x="3328506" y="135046"/>
                    <a:pt x="3328506" y="125092"/>
                  </a:cubicBezTo>
                  <a:cubicBezTo>
                    <a:pt x="3328506" y="115137"/>
                    <a:pt x="3336576" y="107067"/>
                    <a:pt x="3346531" y="107067"/>
                  </a:cubicBezTo>
                  <a:close/>
                  <a:moveTo>
                    <a:pt x="2024741" y="107067"/>
                  </a:moveTo>
                  <a:cubicBezTo>
                    <a:pt x="2034696" y="107067"/>
                    <a:pt x="2042766" y="115137"/>
                    <a:pt x="2042766" y="125092"/>
                  </a:cubicBezTo>
                  <a:cubicBezTo>
                    <a:pt x="2042766" y="135046"/>
                    <a:pt x="2034696" y="143116"/>
                    <a:pt x="2024741" y="143116"/>
                  </a:cubicBezTo>
                  <a:cubicBezTo>
                    <a:pt x="2014787" y="143116"/>
                    <a:pt x="2006717" y="135046"/>
                    <a:pt x="2006717" y="125092"/>
                  </a:cubicBezTo>
                  <a:cubicBezTo>
                    <a:pt x="2006717" y="115137"/>
                    <a:pt x="2014787" y="107067"/>
                    <a:pt x="2024741" y="107067"/>
                  </a:cubicBezTo>
                  <a:close/>
                  <a:moveTo>
                    <a:pt x="240325" y="107067"/>
                  </a:moveTo>
                  <a:cubicBezTo>
                    <a:pt x="250280" y="107067"/>
                    <a:pt x="258350" y="115137"/>
                    <a:pt x="258350" y="125092"/>
                  </a:cubicBezTo>
                  <a:cubicBezTo>
                    <a:pt x="258350" y="135046"/>
                    <a:pt x="250280" y="143116"/>
                    <a:pt x="240325" y="143116"/>
                  </a:cubicBezTo>
                  <a:cubicBezTo>
                    <a:pt x="230371" y="143116"/>
                    <a:pt x="222301" y="135046"/>
                    <a:pt x="222301" y="125092"/>
                  </a:cubicBezTo>
                  <a:cubicBezTo>
                    <a:pt x="222301" y="115137"/>
                    <a:pt x="230371" y="107067"/>
                    <a:pt x="240325" y="107067"/>
                  </a:cubicBezTo>
                  <a:close/>
                  <a:moveTo>
                    <a:pt x="3761092" y="101059"/>
                  </a:moveTo>
                  <a:cubicBezTo>
                    <a:pt x="3771047" y="101059"/>
                    <a:pt x="3779117" y="109128"/>
                    <a:pt x="3779117" y="119083"/>
                  </a:cubicBezTo>
                  <a:cubicBezTo>
                    <a:pt x="3779117" y="129038"/>
                    <a:pt x="3771047" y="137108"/>
                    <a:pt x="3761092" y="137108"/>
                  </a:cubicBezTo>
                  <a:cubicBezTo>
                    <a:pt x="3751137" y="137108"/>
                    <a:pt x="3743068" y="129038"/>
                    <a:pt x="3743068" y="119083"/>
                  </a:cubicBezTo>
                  <a:cubicBezTo>
                    <a:pt x="3743068" y="109128"/>
                    <a:pt x="3751137" y="101059"/>
                    <a:pt x="3761092" y="101059"/>
                  </a:cubicBezTo>
                  <a:close/>
                  <a:moveTo>
                    <a:pt x="1706311" y="101059"/>
                  </a:moveTo>
                  <a:cubicBezTo>
                    <a:pt x="1716265" y="101059"/>
                    <a:pt x="1724335" y="109128"/>
                    <a:pt x="1724335" y="119083"/>
                  </a:cubicBezTo>
                  <a:cubicBezTo>
                    <a:pt x="1724335" y="129038"/>
                    <a:pt x="1716265" y="137108"/>
                    <a:pt x="1706311" y="137108"/>
                  </a:cubicBezTo>
                  <a:cubicBezTo>
                    <a:pt x="1696356" y="137108"/>
                    <a:pt x="1688286" y="129038"/>
                    <a:pt x="1688286" y="119083"/>
                  </a:cubicBezTo>
                  <a:cubicBezTo>
                    <a:pt x="1688286" y="109128"/>
                    <a:pt x="1696356" y="101059"/>
                    <a:pt x="1706311" y="101059"/>
                  </a:cubicBezTo>
                  <a:close/>
                  <a:moveTo>
                    <a:pt x="1574131" y="101059"/>
                  </a:moveTo>
                  <a:cubicBezTo>
                    <a:pt x="1584086" y="101059"/>
                    <a:pt x="1592156" y="109128"/>
                    <a:pt x="1592156" y="119083"/>
                  </a:cubicBezTo>
                  <a:cubicBezTo>
                    <a:pt x="1592156" y="129038"/>
                    <a:pt x="1584086" y="137108"/>
                    <a:pt x="1574131" y="137108"/>
                  </a:cubicBezTo>
                  <a:cubicBezTo>
                    <a:pt x="1564177" y="137108"/>
                    <a:pt x="1556107" y="129038"/>
                    <a:pt x="1556107" y="119083"/>
                  </a:cubicBezTo>
                  <a:cubicBezTo>
                    <a:pt x="1556107" y="109128"/>
                    <a:pt x="1564177" y="101059"/>
                    <a:pt x="1574131" y="101059"/>
                  </a:cubicBezTo>
                  <a:close/>
                  <a:moveTo>
                    <a:pt x="5611598" y="89043"/>
                  </a:moveTo>
                  <a:cubicBezTo>
                    <a:pt x="5621553" y="89043"/>
                    <a:pt x="5629623" y="97113"/>
                    <a:pt x="5629623" y="107067"/>
                  </a:cubicBezTo>
                  <a:cubicBezTo>
                    <a:pt x="5629623" y="117022"/>
                    <a:pt x="5621553" y="125092"/>
                    <a:pt x="5611598" y="125092"/>
                  </a:cubicBezTo>
                  <a:cubicBezTo>
                    <a:pt x="5601644" y="125092"/>
                    <a:pt x="5593574" y="117022"/>
                    <a:pt x="5593574" y="107067"/>
                  </a:cubicBezTo>
                  <a:cubicBezTo>
                    <a:pt x="5593574" y="97113"/>
                    <a:pt x="5601644" y="89043"/>
                    <a:pt x="5611598" y="89043"/>
                  </a:cubicBezTo>
                  <a:close/>
                  <a:moveTo>
                    <a:pt x="5419337" y="89043"/>
                  </a:moveTo>
                  <a:cubicBezTo>
                    <a:pt x="5429292" y="89043"/>
                    <a:pt x="5437362" y="97113"/>
                    <a:pt x="5437362" y="107067"/>
                  </a:cubicBezTo>
                  <a:cubicBezTo>
                    <a:pt x="5437362" y="117022"/>
                    <a:pt x="5429292" y="125092"/>
                    <a:pt x="5419337" y="125092"/>
                  </a:cubicBezTo>
                  <a:cubicBezTo>
                    <a:pt x="5409382" y="125092"/>
                    <a:pt x="5401312" y="117022"/>
                    <a:pt x="5401312" y="107067"/>
                  </a:cubicBezTo>
                  <a:cubicBezTo>
                    <a:pt x="5401312" y="97113"/>
                    <a:pt x="5409382" y="89043"/>
                    <a:pt x="5419337" y="89043"/>
                  </a:cubicBezTo>
                  <a:close/>
                  <a:moveTo>
                    <a:pt x="2992051" y="89043"/>
                  </a:moveTo>
                  <a:cubicBezTo>
                    <a:pt x="3002006" y="89043"/>
                    <a:pt x="3010076" y="97113"/>
                    <a:pt x="3010076" y="107067"/>
                  </a:cubicBezTo>
                  <a:cubicBezTo>
                    <a:pt x="3010076" y="117022"/>
                    <a:pt x="3002006" y="125092"/>
                    <a:pt x="2992051" y="125092"/>
                  </a:cubicBezTo>
                  <a:cubicBezTo>
                    <a:pt x="2982097" y="125092"/>
                    <a:pt x="2974027" y="117022"/>
                    <a:pt x="2974027" y="107067"/>
                  </a:cubicBezTo>
                  <a:cubicBezTo>
                    <a:pt x="2974027" y="97113"/>
                    <a:pt x="2982097" y="89043"/>
                    <a:pt x="2992051" y="89043"/>
                  </a:cubicBezTo>
                  <a:close/>
                  <a:moveTo>
                    <a:pt x="6368623" y="83034"/>
                  </a:moveTo>
                  <a:cubicBezTo>
                    <a:pt x="6378577" y="83034"/>
                    <a:pt x="6386648" y="91104"/>
                    <a:pt x="6386648" y="101058"/>
                  </a:cubicBezTo>
                  <a:cubicBezTo>
                    <a:pt x="6386648" y="111013"/>
                    <a:pt x="6378578" y="119083"/>
                    <a:pt x="6368623" y="119083"/>
                  </a:cubicBezTo>
                  <a:cubicBezTo>
                    <a:pt x="6358669" y="119083"/>
                    <a:pt x="6350599" y="111013"/>
                    <a:pt x="6350599" y="101058"/>
                  </a:cubicBezTo>
                  <a:cubicBezTo>
                    <a:pt x="6350599" y="91104"/>
                    <a:pt x="6358668" y="83034"/>
                    <a:pt x="6368623" y="83034"/>
                  </a:cubicBezTo>
                  <a:close/>
                  <a:moveTo>
                    <a:pt x="6242452" y="83034"/>
                  </a:moveTo>
                  <a:cubicBezTo>
                    <a:pt x="6252407" y="83034"/>
                    <a:pt x="6260477" y="91104"/>
                    <a:pt x="6260477" y="101058"/>
                  </a:cubicBezTo>
                  <a:cubicBezTo>
                    <a:pt x="6260477" y="111013"/>
                    <a:pt x="6252407" y="119083"/>
                    <a:pt x="6242452" y="119083"/>
                  </a:cubicBezTo>
                  <a:cubicBezTo>
                    <a:pt x="6232498" y="119083"/>
                    <a:pt x="6224428" y="111013"/>
                    <a:pt x="6224428" y="101058"/>
                  </a:cubicBezTo>
                  <a:cubicBezTo>
                    <a:pt x="6224428" y="91104"/>
                    <a:pt x="6232498" y="83034"/>
                    <a:pt x="6242452" y="83034"/>
                  </a:cubicBezTo>
                  <a:close/>
                  <a:moveTo>
                    <a:pt x="4884613" y="83034"/>
                  </a:moveTo>
                  <a:cubicBezTo>
                    <a:pt x="4894568" y="83034"/>
                    <a:pt x="4902638" y="91104"/>
                    <a:pt x="4902638" y="101058"/>
                  </a:cubicBezTo>
                  <a:cubicBezTo>
                    <a:pt x="4902638" y="111013"/>
                    <a:pt x="4894568" y="119083"/>
                    <a:pt x="4884613" y="119083"/>
                  </a:cubicBezTo>
                  <a:cubicBezTo>
                    <a:pt x="4874659" y="119083"/>
                    <a:pt x="4866589" y="111013"/>
                    <a:pt x="4866589" y="101058"/>
                  </a:cubicBezTo>
                  <a:cubicBezTo>
                    <a:pt x="4866589" y="91104"/>
                    <a:pt x="4874659" y="83034"/>
                    <a:pt x="4884613" y="83034"/>
                  </a:cubicBezTo>
                  <a:close/>
                  <a:moveTo>
                    <a:pt x="3118221" y="83034"/>
                  </a:moveTo>
                  <a:cubicBezTo>
                    <a:pt x="3128176" y="83034"/>
                    <a:pt x="3136246" y="91104"/>
                    <a:pt x="3136246" y="101058"/>
                  </a:cubicBezTo>
                  <a:cubicBezTo>
                    <a:pt x="3136246" y="111013"/>
                    <a:pt x="3128176" y="119083"/>
                    <a:pt x="3118221" y="119083"/>
                  </a:cubicBezTo>
                  <a:cubicBezTo>
                    <a:pt x="3108267" y="119083"/>
                    <a:pt x="3100197" y="111013"/>
                    <a:pt x="3100197" y="101058"/>
                  </a:cubicBezTo>
                  <a:cubicBezTo>
                    <a:pt x="3100197" y="91104"/>
                    <a:pt x="3108267" y="83034"/>
                    <a:pt x="3118221" y="83034"/>
                  </a:cubicBezTo>
                  <a:close/>
                  <a:moveTo>
                    <a:pt x="2619546" y="83034"/>
                  </a:moveTo>
                  <a:cubicBezTo>
                    <a:pt x="2629501" y="83034"/>
                    <a:pt x="2637571" y="91104"/>
                    <a:pt x="2637571" y="101058"/>
                  </a:cubicBezTo>
                  <a:cubicBezTo>
                    <a:pt x="2637571" y="111013"/>
                    <a:pt x="2629501" y="119083"/>
                    <a:pt x="2619546" y="119083"/>
                  </a:cubicBezTo>
                  <a:cubicBezTo>
                    <a:pt x="2609591" y="119083"/>
                    <a:pt x="2601522" y="111013"/>
                    <a:pt x="2601522" y="101058"/>
                  </a:cubicBezTo>
                  <a:cubicBezTo>
                    <a:pt x="2601522" y="91104"/>
                    <a:pt x="2609591" y="83034"/>
                    <a:pt x="2619546" y="83034"/>
                  </a:cubicBezTo>
                  <a:close/>
                  <a:moveTo>
                    <a:pt x="1291748" y="83034"/>
                  </a:moveTo>
                  <a:cubicBezTo>
                    <a:pt x="1301703" y="83034"/>
                    <a:pt x="1309773" y="91104"/>
                    <a:pt x="1309773" y="101058"/>
                  </a:cubicBezTo>
                  <a:cubicBezTo>
                    <a:pt x="1309773" y="111013"/>
                    <a:pt x="1301703" y="119083"/>
                    <a:pt x="1291748" y="119083"/>
                  </a:cubicBezTo>
                  <a:cubicBezTo>
                    <a:pt x="1281794" y="119083"/>
                    <a:pt x="1273724" y="111013"/>
                    <a:pt x="1273724" y="101058"/>
                  </a:cubicBezTo>
                  <a:cubicBezTo>
                    <a:pt x="1273724" y="91104"/>
                    <a:pt x="1281794" y="83034"/>
                    <a:pt x="1291748" y="83034"/>
                  </a:cubicBezTo>
                  <a:close/>
                  <a:moveTo>
                    <a:pt x="702951" y="83034"/>
                  </a:moveTo>
                  <a:cubicBezTo>
                    <a:pt x="712906" y="83034"/>
                    <a:pt x="720976" y="91104"/>
                    <a:pt x="720976" y="101058"/>
                  </a:cubicBezTo>
                  <a:cubicBezTo>
                    <a:pt x="720976" y="111013"/>
                    <a:pt x="712906" y="119083"/>
                    <a:pt x="702951" y="119083"/>
                  </a:cubicBezTo>
                  <a:cubicBezTo>
                    <a:pt x="692997" y="119083"/>
                    <a:pt x="684927" y="111013"/>
                    <a:pt x="684927" y="101058"/>
                  </a:cubicBezTo>
                  <a:cubicBezTo>
                    <a:pt x="684927" y="91104"/>
                    <a:pt x="692997" y="83034"/>
                    <a:pt x="702951" y="83034"/>
                  </a:cubicBezTo>
                  <a:close/>
                  <a:moveTo>
                    <a:pt x="2319139" y="65010"/>
                  </a:moveTo>
                  <a:cubicBezTo>
                    <a:pt x="2329094" y="65010"/>
                    <a:pt x="2337164" y="73080"/>
                    <a:pt x="2337164" y="83034"/>
                  </a:cubicBezTo>
                  <a:cubicBezTo>
                    <a:pt x="2337164" y="92989"/>
                    <a:pt x="2329094" y="101059"/>
                    <a:pt x="2319139" y="101059"/>
                  </a:cubicBezTo>
                  <a:cubicBezTo>
                    <a:pt x="2309185" y="101059"/>
                    <a:pt x="2301115" y="92989"/>
                    <a:pt x="2301115" y="83034"/>
                  </a:cubicBezTo>
                  <a:cubicBezTo>
                    <a:pt x="2301115" y="73080"/>
                    <a:pt x="2309185" y="65010"/>
                    <a:pt x="2319139" y="65010"/>
                  </a:cubicBezTo>
                  <a:close/>
                  <a:moveTo>
                    <a:pt x="564765" y="65010"/>
                  </a:moveTo>
                  <a:cubicBezTo>
                    <a:pt x="574719" y="65010"/>
                    <a:pt x="582789" y="73080"/>
                    <a:pt x="582789" y="83034"/>
                  </a:cubicBezTo>
                  <a:cubicBezTo>
                    <a:pt x="582789" y="92989"/>
                    <a:pt x="574719" y="101059"/>
                    <a:pt x="564765" y="101059"/>
                  </a:cubicBezTo>
                  <a:cubicBezTo>
                    <a:pt x="554810" y="101059"/>
                    <a:pt x="546740" y="92989"/>
                    <a:pt x="546740" y="83034"/>
                  </a:cubicBezTo>
                  <a:cubicBezTo>
                    <a:pt x="546740" y="73080"/>
                    <a:pt x="554810" y="65010"/>
                    <a:pt x="564765" y="65010"/>
                  </a:cubicBezTo>
                  <a:close/>
                  <a:moveTo>
                    <a:pt x="18024" y="65010"/>
                  </a:moveTo>
                  <a:cubicBezTo>
                    <a:pt x="27979" y="65010"/>
                    <a:pt x="36049" y="73080"/>
                    <a:pt x="36049" y="83034"/>
                  </a:cubicBezTo>
                  <a:cubicBezTo>
                    <a:pt x="36049" y="92989"/>
                    <a:pt x="27979" y="101059"/>
                    <a:pt x="18024" y="101059"/>
                  </a:cubicBezTo>
                  <a:cubicBezTo>
                    <a:pt x="8070" y="101059"/>
                    <a:pt x="0" y="92989"/>
                    <a:pt x="0" y="83034"/>
                  </a:cubicBezTo>
                  <a:cubicBezTo>
                    <a:pt x="0" y="73080"/>
                    <a:pt x="8070" y="65010"/>
                    <a:pt x="18024" y="65010"/>
                  </a:cubicBezTo>
                  <a:close/>
                  <a:moveTo>
                    <a:pt x="5052841" y="59002"/>
                  </a:moveTo>
                  <a:cubicBezTo>
                    <a:pt x="5062796" y="59002"/>
                    <a:pt x="5070866" y="67072"/>
                    <a:pt x="5070866" y="77026"/>
                  </a:cubicBezTo>
                  <a:cubicBezTo>
                    <a:pt x="5070866" y="86981"/>
                    <a:pt x="5062796" y="95051"/>
                    <a:pt x="5052841" y="95051"/>
                  </a:cubicBezTo>
                  <a:cubicBezTo>
                    <a:pt x="5042886" y="95051"/>
                    <a:pt x="5034817" y="86981"/>
                    <a:pt x="5034817" y="77026"/>
                  </a:cubicBezTo>
                  <a:cubicBezTo>
                    <a:pt x="5034817" y="67072"/>
                    <a:pt x="5042886" y="59002"/>
                    <a:pt x="5052841" y="59002"/>
                  </a:cubicBezTo>
                  <a:close/>
                  <a:moveTo>
                    <a:pt x="3490726" y="59002"/>
                  </a:moveTo>
                  <a:cubicBezTo>
                    <a:pt x="3500681" y="59002"/>
                    <a:pt x="3508751" y="67072"/>
                    <a:pt x="3508751" y="77026"/>
                  </a:cubicBezTo>
                  <a:cubicBezTo>
                    <a:pt x="3508751" y="86981"/>
                    <a:pt x="3500681" y="95051"/>
                    <a:pt x="3490726" y="95051"/>
                  </a:cubicBezTo>
                  <a:cubicBezTo>
                    <a:pt x="3480771" y="95051"/>
                    <a:pt x="3472702" y="86981"/>
                    <a:pt x="3472702" y="77026"/>
                  </a:cubicBezTo>
                  <a:cubicBezTo>
                    <a:pt x="3472702" y="67072"/>
                    <a:pt x="3480771" y="59002"/>
                    <a:pt x="3490726" y="59002"/>
                  </a:cubicBezTo>
                  <a:close/>
                  <a:moveTo>
                    <a:pt x="1447960" y="59002"/>
                  </a:moveTo>
                  <a:cubicBezTo>
                    <a:pt x="1457915" y="59002"/>
                    <a:pt x="1465985" y="67072"/>
                    <a:pt x="1465985" y="77026"/>
                  </a:cubicBezTo>
                  <a:cubicBezTo>
                    <a:pt x="1465985" y="86981"/>
                    <a:pt x="1457915" y="95051"/>
                    <a:pt x="1447960" y="95051"/>
                  </a:cubicBezTo>
                  <a:cubicBezTo>
                    <a:pt x="1438006" y="95051"/>
                    <a:pt x="1429936" y="86981"/>
                    <a:pt x="1429936" y="77026"/>
                  </a:cubicBezTo>
                  <a:cubicBezTo>
                    <a:pt x="1429936" y="67072"/>
                    <a:pt x="1438006" y="59002"/>
                    <a:pt x="1447960" y="59002"/>
                  </a:cubicBezTo>
                  <a:close/>
                  <a:moveTo>
                    <a:pt x="2192969" y="46987"/>
                  </a:moveTo>
                  <a:cubicBezTo>
                    <a:pt x="2202924" y="46987"/>
                    <a:pt x="2210994" y="55057"/>
                    <a:pt x="2210994" y="65012"/>
                  </a:cubicBezTo>
                  <a:cubicBezTo>
                    <a:pt x="2210994" y="74966"/>
                    <a:pt x="2202924" y="83036"/>
                    <a:pt x="2192969" y="83036"/>
                  </a:cubicBezTo>
                  <a:cubicBezTo>
                    <a:pt x="2183015" y="83036"/>
                    <a:pt x="2174945" y="74966"/>
                    <a:pt x="2174945" y="65012"/>
                  </a:cubicBezTo>
                  <a:cubicBezTo>
                    <a:pt x="2174945" y="55057"/>
                    <a:pt x="2183015" y="46987"/>
                    <a:pt x="2192969" y="46987"/>
                  </a:cubicBezTo>
                  <a:close/>
                  <a:moveTo>
                    <a:pt x="4434003" y="40979"/>
                  </a:moveTo>
                  <a:cubicBezTo>
                    <a:pt x="4443958" y="40979"/>
                    <a:pt x="4452028" y="49048"/>
                    <a:pt x="4452028" y="59003"/>
                  </a:cubicBezTo>
                  <a:cubicBezTo>
                    <a:pt x="4452028" y="68958"/>
                    <a:pt x="4443958" y="77028"/>
                    <a:pt x="4434003" y="77028"/>
                  </a:cubicBezTo>
                  <a:cubicBezTo>
                    <a:pt x="4424049" y="77028"/>
                    <a:pt x="4415979" y="68958"/>
                    <a:pt x="4415979" y="59003"/>
                  </a:cubicBezTo>
                  <a:cubicBezTo>
                    <a:pt x="4415979" y="49048"/>
                    <a:pt x="4424049" y="40979"/>
                    <a:pt x="4434003" y="40979"/>
                  </a:cubicBezTo>
                  <a:close/>
                  <a:moveTo>
                    <a:pt x="3616897" y="40979"/>
                  </a:moveTo>
                  <a:cubicBezTo>
                    <a:pt x="3626852" y="40979"/>
                    <a:pt x="3634922" y="49048"/>
                    <a:pt x="3634922" y="59003"/>
                  </a:cubicBezTo>
                  <a:cubicBezTo>
                    <a:pt x="3634922" y="68958"/>
                    <a:pt x="3626852" y="77028"/>
                    <a:pt x="3616897" y="77028"/>
                  </a:cubicBezTo>
                  <a:cubicBezTo>
                    <a:pt x="3606942" y="77028"/>
                    <a:pt x="3598872" y="68958"/>
                    <a:pt x="3598872" y="59003"/>
                  </a:cubicBezTo>
                  <a:cubicBezTo>
                    <a:pt x="3598872" y="49048"/>
                    <a:pt x="3606942" y="40979"/>
                    <a:pt x="3616897" y="40979"/>
                  </a:cubicBezTo>
                  <a:close/>
                  <a:moveTo>
                    <a:pt x="1826473" y="40979"/>
                  </a:moveTo>
                  <a:cubicBezTo>
                    <a:pt x="1836427" y="40979"/>
                    <a:pt x="1844497" y="49048"/>
                    <a:pt x="1844497" y="59003"/>
                  </a:cubicBezTo>
                  <a:cubicBezTo>
                    <a:pt x="1844497" y="68958"/>
                    <a:pt x="1836427" y="77028"/>
                    <a:pt x="1826473" y="77028"/>
                  </a:cubicBezTo>
                  <a:cubicBezTo>
                    <a:pt x="1816518" y="77028"/>
                    <a:pt x="1808448" y="68958"/>
                    <a:pt x="1808448" y="59003"/>
                  </a:cubicBezTo>
                  <a:cubicBezTo>
                    <a:pt x="1808448" y="49048"/>
                    <a:pt x="1816518" y="40979"/>
                    <a:pt x="1826473" y="40979"/>
                  </a:cubicBezTo>
                  <a:close/>
                  <a:moveTo>
                    <a:pt x="5942045" y="34970"/>
                  </a:moveTo>
                  <a:cubicBezTo>
                    <a:pt x="5952000" y="34970"/>
                    <a:pt x="5960070" y="43040"/>
                    <a:pt x="5960070" y="52994"/>
                  </a:cubicBezTo>
                  <a:cubicBezTo>
                    <a:pt x="5960070" y="62949"/>
                    <a:pt x="5952000" y="71019"/>
                    <a:pt x="5942045" y="71019"/>
                  </a:cubicBezTo>
                  <a:cubicBezTo>
                    <a:pt x="5932091" y="71019"/>
                    <a:pt x="5924021" y="62949"/>
                    <a:pt x="5924021" y="52994"/>
                  </a:cubicBezTo>
                  <a:cubicBezTo>
                    <a:pt x="5924021" y="43040"/>
                    <a:pt x="5932091" y="34970"/>
                    <a:pt x="5942045" y="34970"/>
                  </a:cubicBezTo>
                  <a:close/>
                  <a:moveTo>
                    <a:pt x="5719744" y="34970"/>
                  </a:moveTo>
                  <a:cubicBezTo>
                    <a:pt x="5729699" y="34970"/>
                    <a:pt x="5737769" y="43040"/>
                    <a:pt x="5737769" y="52994"/>
                  </a:cubicBezTo>
                  <a:cubicBezTo>
                    <a:pt x="5737769" y="62949"/>
                    <a:pt x="5729699" y="71019"/>
                    <a:pt x="5719744" y="71019"/>
                  </a:cubicBezTo>
                  <a:cubicBezTo>
                    <a:pt x="5709789" y="71019"/>
                    <a:pt x="5701719" y="62949"/>
                    <a:pt x="5701719" y="52994"/>
                  </a:cubicBezTo>
                  <a:cubicBezTo>
                    <a:pt x="5701719" y="43040"/>
                    <a:pt x="5709789" y="34970"/>
                    <a:pt x="5719744" y="34970"/>
                  </a:cubicBezTo>
                  <a:close/>
                  <a:moveTo>
                    <a:pt x="1171586" y="34970"/>
                  </a:moveTo>
                  <a:cubicBezTo>
                    <a:pt x="1181541" y="34970"/>
                    <a:pt x="1189611" y="43040"/>
                    <a:pt x="1189611" y="52994"/>
                  </a:cubicBezTo>
                  <a:cubicBezTo>
                    <a:pt x="1189611" y="62949"/>
                    <a:pt x="1181541" y="71019"/>
                    <a:pt x="1171586" y="71019"/>
                  </a:cubicBezTo>
                  <a:cubicBezTo>
                    <a:pt x="1161632" y="71019"/>
                    <a:pt x="1153562" y="62949"/>
                    <a:pt x="1153562" y="52994"/>
                  </a:cubicBezTo>
                  <a:cubicBezTo>
                    <a:pt x="1153562" y="43040"/>
                    <a:pt x="1161632" y="34970"/>
                    <a:pt x="1171586" y="34970"/>
                  </a:cubicBezTo>
                  <a:close/>
                  <a:moveTo>
                    <a:pt x="937268" y="34970"/>
                  </a:moveTo>
                  <a:cubicBezTo>
                    <a:pt x="947223" y="34970"/>
                    <a:pt x="955293" y="43040"/>
                    <a:pt x="955293" y="52994"/>
                  </a:cubicBezTo>
                  <a:cubicBezTo>
                    <a:pt x="955293" y="62949"/>
                    <a:pt x="947223" y="71019"/>
                    <a:pt x="937268" y="71019"/>
                  </a:cubicBezTo>
                  <a:cubicBezTo>
                    <a:pt x="927314" y="71019"/>
                    <a:pt x="919244" y="62949"/>
                    <a:pt x="919244" y="52994"/>
                  </a:cubicBezTo>
                  <a:cubicBezTo>
                    <a:pt x="919244" y="43040"/>
                    <a:pt x="927314" y="34970"/>
                    <a:pt x="937268" y="34970"/>
                  </a:cubicBezTo>
                  <a:close/>
                  <a:moveTo>
                    <a:pt x="426577" y="34970"/>
                  </a:moveTo>
                  <a:cubicBezTo>
                    <a:pt x="436532" y="34970"/>
                    <a:pt x="444602" y="43040"/>
                    <a:pt x="444602" y="52994"/>
                  </a:cubicBezTo>
                  <a:cubicBezTo>
                    <a:pt x="444602" y="62949"/>
                    <a:pt x="436532" y="71019"/>
                    <a:pt x="426577" y="71019"/>
                  </a:cubicBezTo>
                  <a:cubicBezTo>
                    <a:pt x="416623" y="71019"/>
                    <a:pt x="408553" y="62949"/>
                    <a:pt x="408553" y="52994"/>
                  </a:cubicBezTo>
                  <a:cubicBezTo>
                    <a:pt x="408553" y="43040"/>
                    <a:pt x="416623" y="34970"/>
                    <a:pt x="426577" y="34970"/>
                  </a:cubicBezTo>
                  <a:close/>
                  <a:moveTo>
                    <a:pt x="6146322" y="28962"/>
                  </a:moveTo>
                  <a:cubicBezTo>
                    <a:pt x="6156277" y="28962"/>
                    <a:pt x="6164347" y="37032"/>
                    <a:pt x="6164347" y="46986"/>
                  </a:cubicBezTo>
                  <a:cubicBezTo>
                    <a:pt x="6164347" y="56941"/>
                    <a:pt x="6156277" y="65011"/>
                    <a:pt x="6146322" y="65011"/>
                  </a:cubicBezTo>
                  <a:cubicBezTo>
                    <a:pt x="6136368" y="65011"/>
                    <a:pt x="6128298" y="56941"/>
                    <a:pt x="6128298" y="46986"/>
                  </a:cubicBezTo>
                  <a:cubicBezTo>
                    <a:pt x="6128298" y="37032"/>
                    <a:pt x="6136368" y="28962"/>
                    <a:pt x="6146322" y="28962"/>
                  </a:cubicBezTo>
                  <a:close/>
                  <a:moveTo>
                    <a:pt x="4776467" y="28962"/>
                  </a:moveTo>
                  <a:cubicBezTo>
                    <a:pt x="4786422" y="28962"/>
                    <a:pt x="4794492" y="37032"/>
                    <a:pt x="4794492" y="46986"/>
                  </a:cubicBezTo>
                  <a:cubicBezTo>
                    <a:pt x="4794492" y="56941"/>
                    <a:pt x="4786422" y="65011"/>
                    <a:pt x="4776467" y="65011"/>
                  </a:cubicBezTo>
                  <a:cubicBezTo>
                    <a:pt x="4766512" y="65011"/>
                    <a:pt x="4758443" y="56941"/>
                    <a:pt x="4758443" y="46986"/>
                  </a:cubicBezTo>
                  <a:cubicBezTo>
                    <a:pt x="4758443" y="37032"/>
                    <a:pt x="4766512" y="28962"/>
                    <a:pt x="4776467" y="28962"/>
                  </a:cubicBezTo>
                  <a:close/>
                  <a:moveTo>
                    <a:pt x="2451318" y="28962"/>
                  </a:moveTo>
                  <a:cubicBezTo>
                    <a:pt x="2461273" y="28962"/>
                    <a:pt x="2469343" y="37032"/>
                    <a:pt x="2469343" y="46986"/>
                  </a:cubicBezTo>
                  <a:cubicBezTo>
                    <a:pt x="2469343" y="56941"/>
                    <a:pt x="2461273" y="65011"/>
                    <a:pt x="2451318" y="65011"/>
                  </a:cubicBezTo>
                  <a:cubicBezTo>
                    <a:pt x="2441364" y="65011"/>
                    <a:pt x="2433294" y="56941"/>
                    <a:pt x="2433294" y="46986"/>
                  </a:cubicBezTo>
                  <a:cubicBezTo>
                    <a:pt x="2433294" y="37032"/>
                    <a:pt x="2441364" y="28962"/>
                    <a:pt x="2451318" y="28962"/>
                  </a:cubicBezTo>
                  <a:close/>
                  <a:moveTo>
                    <a:pt x="150203" y="28962"/>
                  </a:moveTo>
                  <a:cubicBezTo>
                    <a:pt x="160158" y="28962"/>
                    <a:pt x="168228" y="37032"/>
                    <a:pt x="168228" y="46986"/>
                  </a:cubicBezTo>
                  <a:cubicBezTo>
                    <a:pt x="168228" y="56941"/>
                    <a:pt x="160158" y="65011"/>
                    <a:pt x="150203" y="65011"/>
                  </a:cubicBezTo>
                  <a:cubicBezTo>
                    <a:pt x="140249" y="65011"/>
                    <a:pt x="132179" y="56941"/>
                    <a:pt x="132179" y="46986"/>
                  </a:cubicBezTo>
                  <a:cubicBezTo>
                    <a:pt x="132179" y="37032"/>
                    <a:pt x="140249" y="28962"/>
                    <a:pt x="150203" y="28962"/>
                  </a:cubicBezTo>
                  <a:close/>
                  <a:moveTo>
                    <a:pt x="4277792" y="22954"/>
                  </a:moveTo>
                  <a:cubicBezTo>
                    <a:pt x="4287747" y="22954"/>
                    <a:pt x="4295817" y="31024"/>
                    <a:pt x="4295817" y="40978"/>
                  </a:cubicBezTo>
                  <a:cubicBezTo>
                    <a:pt x="4295817" y="50933"/>
                    <a:pt x="4287747" y="59003"/>
                    <a:pt x="4277792" y="59003"/>
                  </a:cubicBezTo>
                  <a:cubicBezTo>
                    <a:pt x="4267837" y="59003"/>
                    <a:pt x="4259767" y="50933"/>
                    <a:pt x="4259767" y="40978"/>
                  </a:cubicBezTo>
                  <a:cubicBezTo>
                    <a:pt x="4259767" y="31024"/>
                    <a:pt x="4267837" y="22954"/>
                    <a:pt x="4277792" y="22954"/>
                  </a:cubicBezTo>
                  <a:close/>
                  <a:moveTo>
                    <a:pt x="4145613" y="22954"/>
                  </a:moveTo>
                  <a:cubicBezTo>
                    <a:pt x="4155568" y="22954"/>
                    <a:pt x="4163638" y="31024"/>
                    <a:pt x="4163638" y="40978"/>
                  </a:cubicBezTo>
                  <a:cubicBezTo>
                    <a:pt x="4163638" y="50933"/>
                    <a:pt x="4155568" y="59003"/>
                    <a:pt x="4145613" y="59003"/>
                  </a:cubicBezTo>
                  <a:cubicBezTo>
                    <a:pt x="4135658" y="59003"/>
                    <a:pt x="4127589" y="50933"/>
                    <a:pt x="4127589" y="40978"/>
                  </a:cubicBezTo>
                  <a:cubicBezTo>
                    <a:pt x="4127589" y="31024"/>
                    <a:pt x="4135658" y="22954"/>
                    <a:pt x="4145613" y="22954"/>
                  </a:cubicBezTo>
                  <a:close/>
                  <a:moveTo>
                    <a:pt x="817106" y="22954"/>
                  </a:moveTo>
                  <a:cubicBezTo>
                    <a:pt x="823743" y="22954"/>
                    <a:pt x="829123" y="28334"/>
                    <a:pt x="829123" y="34970"/>
                  </a:cubicBezTo>
                  <a:cubicBezTo>
                    <a:pt x="829123" y="41607"/>
                    <a:pt x="823743" y="46987"/>
                    <a:pt x="817106" y="46987"/>
                  </a:cubicBezTo>
                  <a:cubicBezTo>
                    <a:pt x="810470" y="46987"/>
                    <a:pt x="805090" y="41606"/>
                    <a:pt x="805090" y="34970"/>
                  </a:cubicBezTo>
                  <a:cubicBezTo>
                    <a:pt x="805090" y="28334"/>
                    <a:pt x="810470" y="22954"/>
                    <a:pt x="817106" y="22954"/>
                  </a:cubicBezTo>
                  <a:close/>
                  <a:moveTo>
                    <a:pt x="5491435" y="16946"/>
                  </a:moveTo>
                  <a:cubicBezTo>
                    <a:pt x="5501390" y="16946"/>
                    <a:pt x="5509460" y="25016"/>
                    <a:pt x="5509460" y="34971"/>
                  </a:cubicBezTo>
                  <a:cubicBezTo>
                    <a:pt x="5509460" y="44925"/>
                    <a:pt x="5501390" y="52995"/>
                    <a:pt x="5491435" y="52995"/>
                  </a:cubicBezTo>
                  <a:cubicBezTo>
                    <a:pt x="5481481" y="52995"/>
                    <a:pt x="5473411" y="44925"/>
                    <a:pt x="5473411" y="34971"/>
                  </a:cubicBezTo>
                  <a:cubicBezTo>
                    <a:pt x="5473411" y="25016"/>
                    <a:pt x="5481481" y="16946"/>
                    <a:pt x="5491435" y="16946"/>
                  </a:cubicBezTo>
                  <a:close/>
                  <a:moveTo>
                    <a:pt x="5323207" y="16946"/>
                  </a:moveTo>
                  <a:cubicBezTo>
                    <a:pt x="5333162" y="16946"/>
                    <a:pt x="5341232" y="25016"/>
                    <a:pt x="5341232" y="34971"/>
                  </a:cubicBezTo>
                  <a:cubicBezTo>
                    <a:pt x="5341232" y="44925"/>
                    <a:pt x="5333162" y="52995"/>
                    <a:pt x="5323207" y="52995"/>
                  </a:cubicBezTo>
                  <a:cubicBezTo>
                    <a:pt x="5313252" y="52995"/>
                    <a:pt x="5305183" y="44925"/>
                    <a:pt x="5305183" y="34971"/>
                  </a:cubicBezTo>
                  <a:cubicBezTo>
                    <a:pt x="5305183" y="25016"/>
                    <a:pt x="5313252" y="16946"/>
                    <a:pt x="5323207" y="16946"/>
                  </a:cubicBezTo>
                  <a:close/>
                  <a:moveTo>
                    <a:pt x="4632272" y="16946"/>
                  </a:moveTo>
                  <a:cubicBezTo>
                    <a:pt x="4642227" y="16946"/>
                    <a:pt x="4650297" y="25016"/>
                    <a:pt x="4650297" y="34971"/>
                  </a:cubicBezTo>
                  <a:cubicBezTo>
                    <a:pt x="4650297" y="44925"/>
                    <a:pt x="4642227" y="52995"/>
                    <a:pt x="4632272" y="52995"/>
                  </a:cubicBezTo>
                  <a:cubicBezTo>
                    <a:pt x="4622317" y="52995"/>
                    <a:pt x="4614248" y="44925"/>
                    <a:pt x="4614248" y="34971"/>
                  </a:cubicBezTo>
                  <a:cubicBezTo>
                    <a:pt x="4614248" y="25016"/>
                    <a:pt x="4622317" y="16946"/>
                    <a:pt x="4632272" y="16946"/>
                  </a:cubicBezTo>
                  <a:close/>
                  <a:moveTo>
                    <a:pt x="3226368" y="16946"/>
                  </a:moveTo>
                  <a:cubicBezTo>
                    <a:pt x="3236323" y="16946"/>
                    <a:pt x="3244393" y="25016"/>
                    <a:pt x="3244393" y="34971"/>
                  </a:cubicBezTo>
                  <a:cubicBezTo>
                    <a:pt x="3244393" y="44925"/>
                    <a:pt x="3236323" y="52995"/>
                    <a:pt x="3226368" y="52995"/>
                  </a:cubicBezTo>
                  <a:cubicBezTo>
                    <a:pt x="3216413" y="52995"/>
                    <a:pt x="3208343" y="44925"/>
                    <a:pt x="3208343" y="34971"/>
                  </a:cubicBezTo>
                  <a:cubicBezTo>
                    <a:pt x="3208343" y="25016"/>
                    <a:pt x="3216413" y="16946"/>
                    <a:pt x="3226368" y="16946"/>
                  </a:cubicBezTo>
                  <a:close/>
                  <a:moveTo>
                    <a:pt x="3983393" y="10938"/>
                  </a:moveTo>
                  <a:cubicBezTo>
                    <a:pt x="3993348" y="10938"/>
                    <a:pt x="4001418" y="19007"/>
                    <a:pt x="4001418" y="28962"/>
                  </a:cubicBezTo>
                  <a:cubicBezTo>
                    <a:pt x="4001418" y="38917"/>
                    <a:pt x="3993348" y="46987"/>
                    <a:pt x="3983393" y="46987"/>
                  </a:cubicBezTo>
                  <a:cubicBezTo>
                    <a:pt x="3973439" y="46987"/>
                    <a:pt x="3965369" y="38917"/>
                    <a:pt x="3965369" y="28962"/>
                  </a:cubicBezTo>
                  <a:cubicBezTo>
                    <a:pt x="3965369" y="19007"/>
                    <a:pt x="3973439" y="10938"/>
                    <a:pt x="3983393" y="10938"/>
                  </a:cubicBezTo>
                  <a:close/>
                  <a:moveTo>
                    <a:pt x="1039407" y="10938"/>
                  </a:moveTo>
                  <a:cubicBezTo>
                    <a:pt x="1049362" y="10938"/>
                    <a:pt x="1057432" y="19007"/>
                    <a:pt x="1057432" y="28962"/>
                  </a:cubicBezTo>
                  <a:cubicBezTo>
                    <a:pt x="1057432" y="38917"/>
                    <a:pt x="1049362" y="46987"/>
                    <a:pt x="1039407" y="46987"/>
                  </a:cubicBezTo>
                  <a:cubicBezTo>
                    <a:pt x="1029453" y="46987"/>
                    <a:pt x="1021383" y="38917"/>
                    <a:pt x="1021383" y="28962"/>
                  </a:cubicBezTo>
                  <a:cubicBezTo>
                    <a:pt x="1021383" y="19007"/>
                    <a:pt x="1029453" y="10938"/>
                    <a:pt x="1039407" y="10938"/>
                  </a:cubicBezTo>
                  <a:close/>
                  <a:moveTo>
                    <a:pt x="312422" y="10938"/>
                  </a:moveTo>
                  <a:cubicBezTo>
                    <a:pt x="322377" y="10938"/>
                    <a:pt x="330447" y="19007"/>
                    <a:pt x="330447" y="28962"/>
                  </a:cubicBezTo>
                  <a:cubicBezTo>
                    <a:pt x="330447" y="38917"/>
                    <a:pt x="322377" y="46987"/>
                    <a:pt x="312422" y="46987"/>
                  </a:cubicBezTo>
                  <a:cubicBezTo>
                    <a:pt x="302468" y="46987"/>
                    <a:pt x="294398" y="38917"/>
                    <a:pt x="294398" y="28962"/>
                  </a:cubicBezTo>
                  <a:cubicBezTo>
                    <a:pt x="294398" y="19007"/>
                    <a:pt x="302468" y="10938"/>
                    <a:pt x="312422" y="10938"/>
                  </a:cubicBezTo>
                  <a:close/>
                  <a:moveTo>
                    <a:pt x="3839198" y="4930"/>
                  </a:moveTo>
                  <a:cubicBezTo>
                    <a:pt x="3849153" y="4930"/>
                    <a:pt x="3857223" y="13000"/>
                    <a:pt x="3857223" y="22954"/>
                  </a:cubicBezTo>
                  <a:cubicBezTo>
                    <a:pt x="3857223" y="32909"/>
                    <a:pt x="3849153" y="40979"/>
                    <a:pt x="3839198" y="40979"/>
                  </a:cubicBezTo>
                  <a:cubicBezTo>
                    <a:pt x="3829244" y="40979"/>
                    <a:pt x="3821174" y="32909"/>
                    <a:pt x="3821174" y="22954"/>
                  </a:cubicBezTo>
                  <a:cubicBezTo>
                    <a:pt x="3821174" y="13000"/>
                    <a:pt x="3829244" y="4930"/>
                    <a:pt x="3839198" y="4930"/>
                  </a:cubicBezTo>
                  <a:close/>
                  <a:moveTo>
                    <a:pt x="3388588" y="4930"/>
                  </a:moveTo>
                  <a:cubicBezTo>
                    <a:pt x="3398543" y="4930"/>
                    <a:pt x="3406613" y="13000"/>
                    <a:pt x="3406613" y="22954"/>
                  </a:cubicBezTo>
                  <a:cubicBezTo>
                    <a:pt x="3406613" y="32909"/>
                    <a:pt x="3398543" y="40979"/>
                    <a:pt x="3388588" y="40979"/>
                  </a:cubicBezTo>
                  <a:cubicBezTo>
                    <a:pt x="3378634" y="40979"/>
                    <a:pt x="3370564" y="32909"/>
                    <a:pt x="3370564" y="22954"/>
                  </a:cubicBezTo>
                  <a:cubicBezTo>
                    <a:pt x="3370564" y="13000"/>
                    <a:pt x="3378634" y="4930"/>
                    <a:pt x="3388588" y="4930"/>
                  </a:cubicBezTo>
                  <a:close/>
                  <a:moveTo>
                    <a:pt x="5171526" y="0"/>
                  </a:moveTo>
                  <a:lnTo>
                    <a:pt x="5198514" y="0"/>
                  </a:lnTo>
                  <a:lnTo>
                    <a:pt x="5203045" y="10937"/>
                  </a:lnTo>
                  <a:cubicBezTo>
                    <a:pt x="5203045" y="20892"/>
                    <a:pt x="5194975" y="28962"/>
                    <a:pt x="5185020" y="28962"/>
                  </a:cubicBezTo>
                  <a:cubicBezTo>
                    <a:pt x="5175066" y="28962"/>
                    <a:pt x="5166996" y="20892"/>
                    <a:pt x="5166996" y="10937"/>
                  </a:cubicBezTo>
                  <a:close/>
                  <a:moveTo>
                    <a:pt x="4908761" y="0"/>
                  </a:moveTo>
                  <a:lnTo>
                    <a:pt x="4932564" y="0"/>
                  </a:lnTo>
                  <a:lnTo>
                    <a:pt x="4920662" y="4930"/>
                  </a:lnTo>
                  <a:close/>
                  <a:moveTo>
                    <a:pt x="3701458" y="0"/>
                  </a:moveTo>
                  <a:lnTo>
                    <a:pt x="3736613" y="0"/>
                  </a:lnTo>
                  <a:lnTo>
                    <a:pt x="3731781" y="11667"/>
                  </a:lnTo>
                  <a:cubicBezTo>
                    <a:pt x="3728519" y="14929"/>
                    <a:pt x="3724013" y="16946"/>
                    <a:pt x="3719035" y="16946"/>
                  </a:cubicBezTo>
                  <a:cubicBezTo>
                    <a:pt x="3714058" y="16946"/>
                    <a:pt x="3709552" y="14929"/>
                    <a:pt x="3706290" y="11667"/>
                  </a:cubicBezTo>
                  <a:close/>
                  <a:moveTo>
                    <a:pt x="3058255" y="0"/>
                  </a:moveTo>
                  <a:lnTo>
                    <a:pt x="3082058" y="0"/>
                  </a:lnTo>
                  <a:lnTo>
                    <a:pt x="3070156" y="4930"/>
                  </a:lnTo>
                  <a:close/>
                  <a:moveTo>
                    <a:pt x="2908383" y="0"/>
                  </a:moveTo>
                  <a:lnTo>
                    <a:pt x="2943539" y="0"/>
                  </a:lnTo>
                  <a:lnTo>
                    <a:pt x="2938707" y="11667"/>
                  </a:lnTo>
                  <a:cubicBezTo>
                    <a:pt x="2935445" y="14929"/>
                    <a:pt x="2930939" y="16946"/>
                    <a:pt x="2925961" y="16946"/>
                  </a:cubicBezTo>
                  <a:cubicBezTo>
                    <a:pt x="2920984" y="16946"/>
                    <a:pt x="2916477" y="14929"/>
                    <a:pt x="2913216" y="11667"/>
                  </a:cubicBezTo>
                  <a:close/>
                  <a:moveTo>
                    <a:pt x="2794230" y="0"/>
                  </a:moveTo>
                  <a:lnTo>
                    <a:pt x="2829385" y="0"/>
                  </a:lnTo>
                  <a:lnTo>
                    <a:pt x="2824553" y="11667"/>
                  </a:lnTo>
                  <a:cubicBezTo>
                    <a:pt x="2821291" y="14929"/>
                    <a:pt x="2816785" y="16946"/>
                    <a:pt x="2811807" y="16946"/>
                  </a:cubicBezTo>
                  <a:cubicBezTo>
                    <a:pt x="2806830" y="16946"/>
                    <a:pt x="2802324" y="14929"/>
                    <a:pt x="2799062" y="11667"/>
                  </a:cubicBezTo>
                  <a:close/>
                  <a:moveTo>
                    <a:pt x="2675662" y="0"/>
                  </a:moveTo>
                  <a:lnTo>
                    <a:pt x="2707627" y="0"/>
                  </a:lnTo>
                  <a:lnTo>
                    <a:pt x="2709669" y="4930"/>
                  </a:lnTo>
                  <a:cubicBezTo>
                    <a:pt x="2709669" y="14884"/>
                    <a:pt x="2701599" y="22954"/>
                    <a:pt x="2691644" y="22954"/>
                  </a:cubicBezTo>
                  <a:cubicBezTo>
                    <a:pt x="2681690" y="22954"/>
                    <a:pt x="2673620" y="14884"/>
                    <a:pt x="2673620" y="4930"/>
                  </a:cubicBezTo>
                  <a:close/>
                  <a:moveTo>
                    <a:pt x="2543483" y="0"/>
                  </a:moveTo>
                  <a:lnTo>
                    <a:pt x="2575448" y="0"/>
                  </a:lnTo>
                  <a:lnTo>
                    <a:pt x="2577490" y="4930"/>
                  </a:lnTo>
                  <a:cubicBezTo>
                    <a:pt x="2577490" y="14884"/>
                    <a:pt x="2569420" y="22954"/>
                    <a:pt x="2559465" y="22954"/>
                  </a:cubicBezTo>
                  <a:cubicBezTo>
                    <a:pt x="2549510" y="22954"/>
                    <a:pt x="2541441" y="14884"/>
                    <a:pt x="2541441" y="4930"/>
                  </a:cubicBezTo>
                  <a:close/>
                  <a:moveTo>
                    <a:pt x="2047297" y="0"/>
                  </a:moveTo>
                  <a:lnTo>
                    <a:pt x="2074285" y="0"/>
                  </a:lnTo>
                  <a:lnTo>
                    <a:pt x="2078815" y="10937"/>
                  </a:lnTo>
                  <a:cubicBezTo>
                    <a:pt x="2078815" y="20892"/>
                    <a:pt x="2070745" y="28962"/>
                    <a:pt x="2060790" y="28962"/>
                  </a:cubicBezTo>
                  <a:cubicBezTo>
                    <a:pt x="2050836" y="28962"/>
                    <a:pt x="2042766" y="20892"/>
                    <a:pt x="2042766" y="10937"/>
                  </a:cubicBezTo>
                  <a:close/>
                  <a:moveTo>
                    <a:pt x="1932017" y="0"/>
                  </a:moveTo>
                  <a:lnTo>
                    <a:pt x="1937222" y="0"/>
                  </a:lnTo>
                  <a:lnTo>
                    <a:pt x="1947365" y="4201"/>
                  </a:lnTo>
                  <a:cubicBezTo>
                    <a:pt x="1950627" y="7463"/>
                    <a:pt x="1952644" y="11969"/>
                    <a:pt x="1952644" y="16946"/>
                  </a:cubicBezTo>
                  <a:cubicBezTo>
                    <a:pt x="1952644" y="26901"/>
                    <a:pt x="1944574" y="34971"/>
                    <a:pt x="1934619" y="34971"/>
                  </a:cubicBezTo>
                  <a:cubicBezTo>
                    <a:pt x="1924665" y="34971"/>
                    <a:pt x="1916595" y="26901"/>
                    <a:pt x="1916595" y="16946"/>
                  </a:cubicBezTo>
                  <a:cubicBezTo>
                    <a:pt x="1916595" y="11969"/>
                    <a:pt x="1918613" y="7463"/>
                    <a:pt x="1921875" y="4201"/>
                  </a:cubicBezTo>
                  <a:close/>
                  <a:moveTo>
                    <a:pt x="1694741" y="0"/>
                  </a:moveTo>
                  <a:lnTo>
                    <a:pt x="1729896" y="0"/>
                  </a:lnTo>
                  <a:lnTo>
                    <a:pt x="1725064" y="11667"/>
                  </a:lnTo>
                  <a:cubicBezTo>
                    <a:pt x="1721802" y="14929"/>
                    <a:pt x="1717296" y="16946"/>
                    <a:pt x="1712318" y="16946"/>
                  </a:cubicBezTo>
                  <a:cubicBezTo>
                    <a:pt x="1707341" y="16946"/>
                    <a:pt x="1702835" y="14929"/>
                    <a:pt x="1699574" y="11667"/>
                  </a:cubicBezTo>
                  <a:close/>
                  <a:moveTo>
                    <a:pt x="1586594" y="0"/>
                  </a:moveTo>
                  <a:lnTo>
                    <a:pt x="1621749" y="0"/>
                  </a:lnTo>
                  <a:lnTo>
                    <a:pt x="1616917" y="11667"/>
                  </a:lnTo>
                  <a:cubicBezTo>
                    <a:pt x="1613655" y="14929"/>
                    <a:pt x="1609149" y="16946"/>
                    <a:pt x="1604171" y="16946"/>
                  </a:cubicBezTo>
                  <a:cubicBezTo>
                    <a:pt x="1599194" y="16946"/>
                    <a:pt x="1594688" y="14929"/>
                    <a:pt x="1591427" y="11667"/>
                  </a:cubicBezTo>
                  <a:close/>
                  <a:moveTo>
                    <a:pt x="1328245" y="0"/>
                  </a:moveTo>
                  <a:lnTo>
                    <a:pt x="1363400" y="0"/>
                  </a:lnTo>
                  <a:lnTo>
                    <a:pt x="1358568" y="11667"/>
                  </a:lnTo>
                  <a:cubicBezTo>
                    <a:pt x="1355306" y="14929"/>
                    <a:pt x="1350800" y="16946"/>
                    <a:pt x="1345823" y="16946"/>
                  </a:cubicBezTo>
                  <a:cubicBezTo>
                    <a:pt x="1340846" y="16946"/>
                    <a:pt x="1336340" y="14929"/>
                    <a:pt x="1333078" y="11667"/>
                  </a:cubicBezTo>
                  <a:close/>
                  <a:moveTo>
                    <a:pt x="636977" y="0"/>
                  </a:moveTo>
                  <a:lnTo>
                    <a:pt x="660780" y="0"/>
                  </a:lnTo>
                  <a:lnTo>
                    <a:pt x="648878" y="4930"/>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AADD9643-5489-42CB-9762-FBAC2AAE9FB9}"/>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0" y="2390523"/>
              <a:ext cx="611491" cy="1421482"/>
            </a:xfrm>
            <a:custGeom>
              <a:avLst/>
              <a:gdLst>
                <a:gd name="connsiteX0" fmla="*/ 0 w 611491"/>
                <a:gd name="connsiteY0" fmla="*/ 0 h 1429512"/>
                <a:gd name="connsiteX1" fmla="*/ 62526 w 611491"/>
                <a:gd name="connsiteY1" fmla="*/ 22473 h 1429512"/>
                <a:gd name="connsiteX2" fmla="*/ 241043 w 611491"/>
                <a:gd name="connsiteY2" fmla="*/ 176817 h 1429512"/>
                <a:gd name="connsiteX3" fmla="*/ 497720 w 611491"/>
                <a:gd name="connsiteY3" fmla="*/ 299929 h 1429512"/>
                <a:gd name="connsiteX4" fmla="*/ 610380 w 611491"/>
                <a:gd name="connsiteY4" fmla="*/ 577513 h 1429512"/>
                <a:gd name="connsiteX5" fmla="*/ 458232 w 611491"/>
                <a:gd name="connsiteY5" fmla="*/ 845805 h 1429512"/>
                <a:gd name="connsiteX6" fmla="*/ 455909 w 611491"/>
                <a:gd name="connsiteY6" fmla="*/ 848128 h 1429512"/>
                <a:gd name="connsiteX7" fmla="*/ 407128 w 611491"/>
                <a:gd name="connsiteY7" fmla="*/ 956142 h 1429512"/>
                <a:gd name="connsiteX8" fmla="*/ 396675 w 611491"/>
                <a:gd name="connsiteY8" fmla="*/ 993308 h 1429512"/>
                <a:gd name="connsiteX9" fmla="*/ 230590 w 611491"/>
                <a:gd name="connsiteY9" fmla="*/ 1283668 h 1429512"/>
                <a:gd name="connsiteX10" fmla="*/ 7730 w 611491"/>
                <a:gd name="connsiteY10" fmla="*/ 1427579 h 1429512"/>
                <a:gd name="connsiteX11" fmla="*/ 0 w 611491"/>
                <a:gd name="connsiteY11" fmla="*/ 1429512 h 1429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1491" h="1429512">
                  <a:moveTo>
                    <a:pt x="0" y="0"/>
                  </a:moveTo>
                  <a:lnTo>
                    <a:pt x="62526" y="22473"/>
                  </a:lnTo>
                  <a:cubicBezTo>
                    <a:pt x="133465" y="57262"/>
                    <a:pt x="193134" y="114099"/>
                    <a:pt x="241043" y="176817"/>
                  </a:cubicBezTo>
                  <a:cubicBezTo>
                    <a:pt x="333958" y="204691"/>
                    <a:pt x="425711" y="231405"/>
                    <a:pt x="497720" y="299929"/>
                  </a:cubicBezTo>
                  <a:cubicBezTo>
                    <a:pt x="569730" y="369616"/>
                    <a:pt x="619671" y="476468"/>
                    <a:pt x="610380" y="577513"/>
                  </a:cubicBezTo>
                  <a:cubicBezTo>
                    <a:pt x="601088" y="676235"/>
                    <a:pt x="515142" y="767989"/>
                    <a:pt x="458232" y="845805"/>
                  </a:cubicBezTo>
                  <a:cubicBezTo>
                    <a:pt x="457070" y="846967"/>
                    <a:pt x="457070" y="848128"/>
                    <a:pt x="455909" y="848128"/>
                  </a:cubicBezTo>
                  <a:cubicBezTo>
                    <a:pt x="432680" y="880648"/>
                    <a:pt x="416420" y="916653"/>
                    <a:pt x="407128" y="956142"/>
                  </a:cubicBezTo>
                  <a:cubicBezTo>
                    <a:pt x="403644" y="968918"/>
                    <a:pt x="401321" y="980532"/>
                    <a:pt x="396675" y="993308"/>
                  </a:cubicBezTo>
                  <a:cubicBezTo>
                    <a:pt x="362994" y="1101322"/>
                    <a:pt x="308406" y="1201205"/>
                    <a:pt x="230590" y="1283668"/>
                  </a:cubicBezTo>
                  <a:cubicBezTo>
                    <a:pt x="170921" y="1347256"/>
                    <a:pt x="92143" y="1398432"/>
                    <a:pt x="7730" y="1427579"/>
                  </a:cubicBezTo>
                  <a:lnTo>
                    <a:pt x="0" y="1429512"/>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Freeform: Shape 20">
              <a:extLst>
                <a:ext uri="{FF2B5EF4-FFF2-40B4-BE49-F238E27FC236}">
                  <a16:creationId xmlns:a16="http://schemas.microsoft.com/office/drawing/2014/main" id="{09A2C16E-2745-4E3D-BECC-D66755221E3B}"/>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3792772" y="0"/>
              <a:ext cx="2423863" cy="1343767"/>
            </a:xfrm>
            <a:custGeom>
              <a:avLst/>
              <a:gdLst>
                <a:gd name="connsiteX0" fmla="*/ 37089 w 3015964"/>
                <a:gd name="connsiteY0" fmla="*/ 0 h 1681468"/>
                <a:gd name="connsiteX1" fmla="*/ 3014022 w 3015964"/>
                <a:gd name="connsiteY1" fmla="*/ 0 h 1681468"/>
                <a:gd name="connsiteX2" fmla="*/ 3015964 w 3015964"/>
                <a:gd name="connsiteY2" fmla="*/ 52718 h 1681468"/>
                <a:gd name="connsiteX3" fmla="*/ 2982682 w 3015964"/>
                <a:gd name="connsiteY3" fmla="*/ 249186 h 1681468"/>
                <a:gd name="connsiteX4" fmla="*/ 1789950 w 3015964"/>
                <a:gd name="connsiteY4" fmla="*/ 1181800 h 1681468"/>
                <a:gd name="connsiteX5" fmla="*/ 1536391 w 3015964"/>
                <a:gd name="connsiteY5" fmla="*/ 1275909 h 1681468"/>
                <a:gd name="connsiteX6" fmla="*/ 1257206 w 3015964"/>
                <a:gd name="connsiteY6" fmla="*/ 1431287 h 1681468"/>
                <a:gd name="connsiteX7" fmla="*/ 990871 w 3015964"/>
                <a:gd name="connsiteY7" fmla="*/ 1669291 h 1681468"/>
                <a:gd name="connsiteX8" fmla="*/ 584900 w 3015964"/>
                <a:gd name="connsiteY8" fmla="*/ 1589975 h 1681468"/>
                <a:gd name="connsiteX9" fmla="*/ 32440 w 3015964"/>
                <a:gd name="connsiteY9" fmla="*/ 985257 h 1681468"/>
                <a:gd name="connsiteX10" fmla="*/ 98094 w 3015964"/>
                <a:gd name="connsiteY10" fmla="*/ 314136 h 1681468"/>
                <a:gd name="connsiteX11" fmla="*/ 37491 w 3015964"/>
                <a:gd name="connsiteY11" fmla="*/ 8555 h 168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15964" h="1681468">
                  <a:moveTo>
                    <a:pt x="37089" y="0"/>
                  </a:moveTo>
                  <a:lnTo>
                    <a:pt x="3014022" y="0"/>
                  </a:lnTo>
                  <a:lnTo>
                    <a:pt x="3015964" y="52718"/>
                  </a:lnTo>
                  <a:cubicBezTo>
                    <a:pt x="3014020" y="116767"/>
                    <a:pt x="3003328" y="182440"/>
                    <a:pt x="2982682" y="249186"/>
                  </a:cubicBezTo>
                  <a:cubicBezTo>
                    <a:pt x="2816250" y="780974"/>
                    <a:pt x="2269424" y="1021163"/>
                    <a:pt x="1789950" y="1181800"/>
                  </a:cubicBezTo>
                  <a:cubicBezTo>
                    <a:pt x="1704900" y="1210572"/>
                    <a:pt x="1618927" y="1242781"/>
                    <a:pt x="1536391" y="1275909"/>
                  </a:cubicBezTo>
                  <a:cubicBezTo>
                    <a:pt x="1442962" y="1315327"/>
                    <a:pt x="1325233" y="1362965"/>
                    <a:pt x="1257206" y="1431287"/>
                  </a:cubicBezTo>
                  <a:cubicBezTo>
                    <a:pt x="1165891" y="1524673"/>
                    <a:pt x="1138606" y="1633376"/>
                    <a:pt x="990871" y="1669291"/>
                  </a:cubicBezTo>
                  <a:cubicBezTo>
                    <a:pt x="855624" y="1706711"/>
                    <a:pt x="704676" y="1651532"/>
                    <a:pt x="584900" y="1589975"/>
                  </a:cubicBezTo>
                  <a:cubicBezTo>
                    <a:pt x="340993" y="1469377"/>
                    <a:pt x="110379" y="1251058"/>
                    <a:pt x="32440" y="985257"/>
                  </a:cubicBezTo>
                  <a:cubicBezTo>
                    <a:pt x="-35009" y="762780"/>
                    <a:pt x="10420" y="524511"/>
                    <a:pt x="98094" y="314136"/>
                  </a:cubicBezTo>
                  <a:cubicBezTo>
                    <a:pt x="73927" y="211903"/>
                    <a:pt x="49528" y="110530"/>
                    <a:pt x="37491" y="855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Freeform: Shape 21">
              <a:extLst>
                <a:ext uri="{FF2B5EF4-FFF2-40B4-BE49-F238E27FC236}">
                  <a16:creationId xmlns:a16="http://schemas.microsoft.com/office/drawing/2014/main" id="{52E5A063-571D-4461-9869-B3E93F6E69DD}"/>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10946850" y="0"/>
              <a:ext cx="1242102" cy="2620884"/>
            </a:xfrm>
            <a:custGeom>
              <a:avLst/>
              <a:gdLst>
                <a:gd name="connsiteX0" fmla="*/ 48089 w 1242102"/>
                <a:gd name="connsiteY0" fmla="*/ 0 h 2635689"/>
                <a:gd name="connsiteX1" fmla="*/ 1242102 w 1242102"/>
                <a:gd name="connsiteY1" fmla="*/ 0 h 2635689"/>
                <a:gd name="connsiteX2" fmla="*/ 1242102 w 1242102"/>
                <a:gd name="connsiteY2" fmla="*/ 2546285 h 2635689"/>
                <a:gd name="connsiteX3" fmla="*/ 1169982 w 1242102"/>
                <a:gd name="connsiteY3" fmla="*/ 2578052 h 2635689"/>
                <a:gd name="connsiteX4" fmla="*/ 289259 w 1242102"/>
                <a:gd name="connsiteY4" fmla="*/ 2399682 h 2635689"/>
                <a:gd name="connsiteX5" fmla="*/ 77957 w 1242102"/>
                <a:gd name="connsiteY5" fmla="*/ 900439 h 2635689"/>
                <a:gd name="connsiteX6" fmla="*/ 123236 w 1242102"/>
                <a:gd name="connsiteY6" fmla="*/ 633796 h 2635689"/>
                <a:gd name="connsiteX7" fmla="*/ 128267 w 1242102"/>
                <a:gd name="connsiteY7" fmla="*/ 314326 h 2635689"/>
                <a:gd name="connsiteX8" fmla="*/ 44729 w 1242102"/>
                <a:gd name="connsiteY8" fmla="*/ 16426 h 263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2102" h="2635689">
                  <a:moveTo>
                    <a:pt x="48089" y="0"/>
                  </a:moveTo>
                  <a:lnTo>
                    <a:pt x="1242102" y="0"/>
                  </a:lnTo>
                  <a:lnTo>
                    <a:pt x="1242102" y="2546285"/>
                  </a:lnTo>
                  <a:lnTo>
                    <a:pt x="1169982" y="2578052"/>
                  </a:lnTo>
                  <a:cubicBezTo>
                    <a:pt x="865271" y="2683266"/>
                    <a:pt x="526660" y="2655949"/>
                    <a:pt x="289259" y="2399682"/>
                  </a:cubicBezTo>
                  <a:cubicBezTo>
                    <a:pt x="-88067" y="1989654"/>
                    <a:pt x="-22664" y="1395994"/>
                    <a:pt x="77957" y="900439"/>
                  </a:cubicBezTo>
                  <a:cubicBezTo>
                    <a:pt x="95565" y="812397"/>
                    <a:pt x="110658" y="721838"/>
                    <a:pt x="123236" y="633796"/>
                  </a:cubicBezTo>
                  <a:cubicBezTo>
                    <a:pt x="135813" y="533175"/>
                    <a:pt x="153422" y="407400"/>
                    <a:pt x="128267" y="314326"/>
                  </a:cubicBezTo>
                  <a:cubicBezTo>
                    <a:pt x="97452" y="204273"/>
                    <a:pt x="31970" y="130812"/>
                    <a:pt x="44729" y="16426"/>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Freeform: Shape 22">
              <a:extLst>
                <a:ext uri="{FF2B5EF4-FFF2-40B4-BE49-F238E27FC236}">
                  <a16:creationId xmlns:a16="http://schemas.microsoft.com/office/drawing/2014/main" id="{366019AD-E33B-4DBF-BAD3-AE3611603168}"/>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0" y="0"/>
              <a:ext cx="1577788" cy="980141"/>
            </a:xfrm>
            <a:custGeom>
              <a:avLst/>
              <a:gdLst>
                <a:gd name="connsiteX0" fmla="*/ 117137 w 1471018"/>
                <a:gd name="connsiteY0" fmla="*/ 759920 h 795676"/>
                <a:gd name="connsiteX1" fmla="*/ 130429 w 1471018"/>
                <a:gd name="connsiteY1" fmla="*/ 768654 h 795676"/>
                <a:gd name="connsiteX2" fmla="*/ 124353 w 1471018"/>
                <a:gd name="connsiteY2" fmla="*/ 792959 h 795676"/>
                <a:gd name="connsiteX3" fmla="*/ 100048 w 1471018"/>
                <a:gd name="connsiteY3" fmla="*/ 786883 h 795676"/>
                <a:gd name="connsiteX4" fmla="*/ 106124 w 1471018"/>
                <a:gd name="connsiteY4" fmla="*/ 762578 h 795676"/>
                <a:gd name="connsiteX5" fmla="*/ 117137 w 1471018"/>
                <a:gd name="connsiteY5" fmla="*/ 759920 h 795676"/>
                <a:gd name="connsiteX6" fmla="*/ 220419 w 1471018"/>
                <a:gd name="connsiteY6" fmla="*/ 753844 h 795676"/>
                <a:gd name="connsiteX7" fmla="*/ 233710 w 1471018"/>
                <a:gd name="connsiteY7" fmla="*/ 762578 h 795676"/>
                <a:gd name="connsiteX8" fmla="*/ 227634 w 1471018"/>
                <a:gd name="connsiteY8" fmla="*/ 786883 h 795676"/>
                <a:gd name="connsiteX9" fmla="*/ 203329 w 1471018"/>
                <a:gd name="connsiteY9" fmla="*/ 780807 h 795676"/>
                <a:gd name="connsiteX10" fmla="*/ 209405 w 1471018"/>
                <a:gd name="connsiteY10" fmla="*/ 756502 h 795676"/>
                <a:gd name="connsiteX11" fmla="*/ 220419 w 1471018"/>
                <a:gd name="connsiteY11" fmla="*/ 753844 h 795676"/>
                <a:gd name="connsiteX12" fmla="*/ 25999 w 1471018"/>
                <a:gd name="connsiteY12" fmla="*/ 741691 h 795676"/>
                <a:gd name="connsiteX13" fmla="*/ 39290 w 1471018"/>
                <a:gd name="connsiteY13" fmla="*/ 750425 h 795676"/>
                <a:gd name="connsiteX14" fmla="*/ 33214 w 1471018"/>
                <a:gd name="connsiteY14" fmla="*/ 774730 h 795676"/>
                <a:gd name="connsiteX15" fmla="*/ 8909 w 1471018"/>
                <a:gd name="connsiteY15" fmla="*/ 768654 h 795676"/>
                <a:gd name="connsiteX16" fmla="*/ 14985 w 1471018"/>
                <a:gd name="connsiteY16" fmla="*/ 744349 h 795676"/>
                <a:gd name="connsiteX17" fmla="*/ 25999 w 1471018"/>
                <a:gd name="connsiteY17" fmla="*/ 741691 h 795676"/>
                <a:gd name="connsiteX18" fmla="*/ 329796 w 1471018"/>
                <a:gd name="connsiteY18" fmla="*/ 735615 h 795676"/>
                <a:gd name="connsiteX19" fmla="*/ 343088 w 1471018"/>
                <a:gd name="connsiteY19" fmla="*/ 744349 h 795676"/>
                <a:gd name="connsiteX20" fmla="*/ 337012 w 1471018"/>
                <a:gd name="connsiteY20" fmla="*/ 768654 h 795676"/>
                <a:gd name="connsiteX21" fmla="*/ 312707 w 1471018"/>
                <a:gd name="connsiteY21" fmla="*/ 762578 h 795676"/>
                <a:gd name="connsiteX22" fmla="*/ 318783 w 1471018"/>
                <a:gd name="connsiteY22" fmla="*/ 738273 h 795676"/>
                <a:gd name="connsiteX23" fmla="*/ 329796 w 1471018"/>
                <a:gd name="connsiteY23" fmla="*/ 735615 h 795676"/>
                <a:gd name="connsiteX24" fmla="*/ 442198 w 1471018"/>
                <a:gd name="connsiteY24" fmla="*/ 702197 h 795676"/>
                <a:gd name="connsiteX25" fmla="*/ 455488 w 1471018"/>
                <a:gd name="connsiteY25" fmla="*/ 710931 h 795676"/>
                <a:gd name="connsiteX26" fmla="*/ 449413 w 1471018"/>
                <a:gd name="connsiteY26" fmla="*/ 735236 h 795676"/>
                <a:gd name="connsiteX27" fmla="*/ 425110 w 1471018"/>
                <a:gd name="connsiteY27" fmla="*/ 729160 h 795676"/>
                <a:gd name="connsiteX28" fmla="*/ 431186 w 1471018"/>
                <a:gd name="connsiteY28" fmla="*/ 704855 h 795676"/>
                <a:gd name="connsiteX29" fmla="*/ 442198 w 1471018"/>
                <a:gd name="connsiteY29" fmla="*/ 702197 h 795676"/>
                <a:gd name="connsiteX30" fmla="*/ 542453 w 1471018"/>
                <a:gd name="connsiteY30" fmla="*/ 668778 h 795676"/>
                <a:gd name="connsiteX31" fmla="*/ 555745 w 1471018"/>
                <a:gd name="connsiteY31" fmla="*/ 677512 h 795676"/>
                <a:gd name="connsiteX32" fmla="*/ 549669 w 1471018"/>
                <a:gd name="connsiteY32" fmla="*/ 701817 h 795676"/>
                <a:gd name="connsiteX33" fmla="*/ 525364 w 1471018"/>
                <a:gd name="connsiteY33" fmla="*/ 695741 h 795676"/>
                <a:gd name="connsiteX34" fmla="*/ 531440 w 1471018"/>
                <a:gd name="connsiteY34" fmla="*/ 671436 h 795676"/>
                <a:gd name="connsiteX35" fmla="*/ 542453 w 1471018"/>
                <a:gd name="connsiteY35" fmla="*/ 668778 h 795676"/>
                <a:gd name="connsiteX36" fmla="*/ 132328 w 1471018"/>
                <a:gd name="connsiteY36" fmla="*/ 650549 h 795676"/>
                <a:gd name="connsiteX37" fmla="*/ 145620 w 1471018"/>
                <a:gd name="connsiteY37" fmla="*/ 659283 h 795676"/>
                <a:gd name="connsiteX38" fmla="*/ 139544 w 1471018"/>
                <a:gd name="connsiteY38" fmla="*/ 683588 h 795676"/>
                <a:gd name="connsiteX39" fmla="*/ 115239 w 1471018"/>
                <a:gd name="connsiteY39" fmla="*/ 677512 h 795676"/>
                <a:gd name="connsiteX40" fmla="*/ 121315 w 1471018"/>
                <a:gd name="connsiteY40" fmla="*/ 653207 h 795676"/>
                <a:gd name="connsiteX41" fmla="*/ 132328 w 1471018"/>
                <a:gd name="connsiteY41" fmla="*/ 650549 h 795676"/>
                <a:gd name="connsiteX42" fmla="*/ 642709 w 1471018"/>
                <a:gd name="connsiteY42" fmla="*/ 641435 h 795676"/>
                <a:gd name="connsiteX43" fmla="*/ 656001 w 1471018"/>
                <a:gd name="connsiteY43" fmla="*/ 650169 h 795676"/>
                <a:gd name="connsiteX44" fmla="*/ 649925 w 1471018"/>
                <a:gd name="connsiteY44" fmla="*/ 674474 h 795676"/>
                <a:gd name="connsiteX45" fmla="*/ 625620 w 1471018"/>
                <a:gd name="connsiteY45" fmla="*/ 668398 h 795676"/>
                <a:gd name="connsiteX46" fmla="*/ 631696 w 1471018"/>
                <a:gd name="connsiteY46" fmla="*/ 644093 h 795676"/>
                <a:gd name="connsiteX47" fmla="*/ 642709 w 1471018"/>
                <a:gd name="connsiteY47" fmla="*/ 641435 h 795676"/>
                <a:gd name="connsiteX48" fmla="*/ 235618 w 1471018"/>
                <a:gd name="connsiteY48" fmla="*/ 641435 h 795676"/>
                <a:gd name="connsiteX49" fmla="*/ 248910 w 1471018"/>
                <a:gd name="connsiteY49" fmla="*/ 650169 h 795676"/>
                <a:gd name="connsiteX50" fmla="*/ 242833 w 1471018"/>
                <a:gd name="connsiteY50" fmla="*/ 674474 h 795676"/>
                <a:gd name="connsiteX51" fmla="*/ 218529 w 1471018"/>
                <a:gd name="connsiteY51" fmla="*/ 668398 h 795676"/>
                <a:gd name="connsiteX52" fmla="*/ 224605 w 1471018"/>
                <a:gd name="connsiteY52" fmla="*/ 644093 h 795676"/>
                <a:gd name="connsiteX53" fmla="*/ 235618 w 1471018"/>
                <a:gd name="connsiteY53" fmla="*/ 641435 h 795676"/>
                <a:gd name="connsiteX54" fmla="*/ 338904 w 1471018"/>
                <a:gd name="connsiteY54" fmla="*/ 629283 h 795676"/>
                <a:gd name="connsiteX55" fmla="*/ 352196 w 1471018"/>
                <a:gd name="connsiteY55" fmla="*/ 638017 h 795676"/>
                <a:gd name="connsiteX56" fmla="*/ 346120 w 1471018"/>
                <a:gd name="connsiteY56" fmla="*/ 662322 h 795676"/>
                <a:gd name="connsiteX57" fmla="*/ 321815 w 1471018"/>
                <a:gd name="connsiteY57" fmla="*/ 656246 h 795676"/>
                <a:gd name="connsiteX58" fmla="*/ 327891 w 1471018"/>
                <a:gd name="connsiteY58" fmla="*/ 631941 h 795676"/>
                <a:gd name="connsiteX59" fmla="*/ 338904 w 1471018"/>
                <a:gd name="connsiteY59" fmla="*/ 629283 h 795676"/>
                <a:gd name="connsiteX60" fmla="*/ 32070 w 1471018"/>
                <a:gd name="connsiteY60" fmla="*/ 601940 h 795676"/>
                <a:gd name="connsiteX61" fmla="*/ 45361 w 1471018"/>
                <a:gd name="connsiteY61" fmla="*/ 610674 h 795676"/>
                <a:gd name="connsiteX62" fmla="*/ 39285 w 1471018"/>
                <a:gd name="connsiteY62" fmla="*/ 634979 h 795676"/>
                <a:gd name="connsiteX63" fmla="*/ 14981 w 1471018"/>
                <a:gd name="connsiteY63" fmla="*/ 628903 h 795676"/>
                <a:gd name="connsiteX64" fmla="*/ 21056 w 1471018"/>
                <a:gd name="connsiteY64" fmla="*/ 604598 h 795676"/>
                <a:gd name="connsiteX65" fmla="*/ 32070 w 1471018"/>
                <a:gd name="connsiteY65" fmla="*/ 601940 h 795676"/>
                <a:gd name="connsiteX66" fmla="*/ 752079 w 1471018"/>
                <a:gd name="connsiteY66" fmla="*/ 586750 h 795676"/>
                <a:gd name="connsiteX67" fmla="*/ 765371 w 1471018"/>
                <a:gd name="connsiteY67" fmla="*/ 595484 h 795676"/>
                <a:gd name="connsiteX68" fmla="*/ 759295 w 1471018"/>
                <a:gd name="connsiteY68" fmla="*/ 619789 h 795676"/>
                <a:gd name="connsiteX69" fmla="*/ 734990 w 1471018"/>
                <a:gd name="connsiteY69" fmla="*/ 613713 h 795676"/>
                <a:gd name="connsiteX70" fmla="*/ 741066 w 1471018"/>
                <a:gd name="connsiteY70" fmla="*/ 589408 h 795676"/>
                <a:gd name="connsiteX71" fmla="*/ 752079 w 1471018"/>
                <a:gd name="connsiteY71" fmla="*/ 586750 h 795676"/>
                <a:gd name="connsiteX72" fmla="*/ 436123 w 1471018"/>
                <a:gd name="connsiteY72" fmla="*/ 583712 h 795676"/>
                <a:gd name="connsiteX73" fmla="*/ 449413 w 1471018"/>
                <a:gd name="connsiteY73" fmla="*/ 592446 h 795676"/>
                <a:gd name="connsiteX74" fmla="*/ 443339 w 1471018"/>
                <a:gd name="connsiteY74" fmla="*/ 616751 h 795676"/>
                <a:gd name="connsiteX75" fmla="*/ 419039 w 1471018"/>
                <a:gd name="connsiteY75" fmla="*/ 610675 h 795676"/>
                <a:gd name="connsiteX76" fmla="*/ 425114 w 1471018"/>
                <a:gd name="connsiteY76" fmla="*/ 586370 h 795676"/>
                <a:gd name="connsiteX77" fmla="*/ 436123 w 1471018"/>
                <a:gd name="connsiteY77" fmla="*/ 583712 h 795676"/>
                <a:gd name="connsiteX78" fmla="*/ 548529 w 1471018"/>
                <a:gd name="connsiteY78" fmla="*/ 556370 h 795676"/>
                <a:gd name="connsiteX79" fmla="*/ 561821 w 1471018"/>
                <a:gd name="connsiteY79" fmla="*/ 565104 h 795676"/>
                <a:gd name="connsiteX80" fmla="*/ 555745 w 1471018"/>
                <a:gd name="connsiteY80" fmla="*/ 589409 h 795676"/>
                <a:gd name="connsiteX81" fmla="*/ 531440 w 1471018"/>
                <a:gd name="connsiteY81" fmla="*/ 583333 h 795676"/>
                <a:gd name="connsiteX82" fmla="*/ 537516 w 1471018"/>
                <a:gd name="connsiteY82" fmla="*/ 559028 h 795676"/>
                <a:gd name="connsiteX83" fmla="*/ 548529 w 1471018"/>
                <a:gd name="connsiteY83" fmla="*/ 556370 h 795676"/>
                <a:gd name="connsiteX84" fmla="*/ 852335 w 1471018"/>
                <a:gd name="connsiteY84" fmla="*/ 550293 h 795676"/>
                <a:gd name="connsiteX85" fmla="*/ 865627 w 1471018"/>
                <a:gd name="connsiteY85" fmla="*/ 559027 h 795676"/>
                <a:gd name="connsiteX86" fmla="*/ 859551 w 1471018"/>
                <a:gd name="connsiteY86" fmla="*/ 583332 h 795676"/>
                <a:gd name="connsiteX87" fmla="*/ 835246 w 1471018"/>
                <a:gd name="connsiteY87" fmla="*/ 577256 h 795676"/>
                <a:gd name="connsiteX88" fmla="*/ 841322 w 1471018"/>
                <a:gd name="connsiteY88" fmla="*/ 552951 h 795676"/>
                <a:gd name="connsiteX89" fmla="*/ 852335 w 1471018"/>
                <a:gd name="connsiteY89" fmla="*/ 550293 h 795676"/>
                <a:gd name="connsiteX90" fmla="*/ 667013 w 1471018"/>
                <a:gd name="connsiteY90" fmla="*/ 532065 h 795676"/>
                <a:gd name="connsiteX91" fmla="*/ 680305 w 1471018"/>
                <a:gd name="connsiteY91" fmla="*/ 540799 h 795676"/>
                <a:gd name="connsiteX92" fmla="*/ 674229 w 1471018"/>
                <a:gd name="connsiteY92" fmla="*/ 565104 h 795676"/>
                <a:gd name="connsiteX93" fmla="*/ 649924 w 1471018"/>
                <a:gd name="connsiteY93" fmla="*/ 559028 h 795676"/>
                <a:gd name="connsiteX94" fmla="*/ 656000 w 1471018"/>
                <a:gd name="connsiteY94" fmla="*/ 534723 h 795676"/>
                <a:gd name="connsiteX95" fmla="*/ 667013 w 1471018"/>
                <a:gd name="connsiteY95" fmla="*/ 532065 h 795676"/>
                <a:gd name="connsiteX96" fmla="*/ 126251 w 1471018"/>
                <a:gd name="connsiteY96" fmla="*/ 532065 h 795676"/>
                <a:gd name="connsiteX97" fmla="*/ 139543 w 1471018"/>
                <a:gd name="connsiteY97" fmla="*/ 540799 h 795676"/>
                <a:gd name="connsiteX98" fmla="*/ 133467 w 1471018"/>
                <a:gd name="connsiteY98" fmla="*/ 565104 h 795676"/>
                <a:gd name="connsiteX99" fmla="*/ 109162 w 1471018"/>
                <a:gd name="connsiteY99" fmla="*/ 559028 h 795676"/>
                <a:gd name="connsiteX100" fmla="*/ 115238 w 1471018"/>
                <a:gd name="connsiteY100" fmla="*/ 534723 h 795676"/>
                <a:gd name="connsiteX101" fmla="*/ 126251 w 1471018"/>
                <a:gd name="connsiteY101" fmla="*/ 532065 h 795676"/>
                <a:gd name="connsiteX102" fmla="*/ 226503 w 1471018"/>
                <a:gd name="connsiteY102" fmla="*/ 529027 h 795676"/>
                <a:gd name="connsiteX103" fmla="*/ 239794 w 1471018"/>
                <a:gd name="connsiteY103" fmla="*/ 537761 h 795676"/>
                <a:gd name="connsiteX104" fmla="*/ 233718 w 1471018"/>
                <a:gd name="connsiteY104" fmla="*/ 562066 h 795676"/>
                <a:gd name="connsiteX105" fmla="*/ 209414 w 1471018"/>
                <a:gd name="connsiteY105" fmla="*/ 555990 h 795676"/>
                <a:gd name="connsiteX106" fmla="*/ 215490 w 1471018"/>
                <a:gd name="connsiteY106" fmla="*/ 531685 h 795676"/>
                <a:gd name="connsiteX107" fmla="*/ 226503 w 1471018"/>
                <a:gd name="connsiteY107" fmla="*/ 529027 h 795676"/>
                <a:gd name="connsiteX108" fmla="*/ 332836 w 1471018"/>
                <a:gd name="connsiteY108" fmla="*/ 519913 h 795676"/>
                <a:gd name="connsiteX109" fmla="*/ 346128 w 1471018"/>
                <a:gd name="connsiteY109" fmla="*/ 528647 h 795676"/>
                <a:gd name="connsiteX110" fmla="*/ 340052 w 1471018"/>
                <a:gd name="connsiteY110" fmla="*/ 552952 h 795676"/>
                <a:gd name="connsiteX111" fmla="*/ 315748 w 1471018"/>
                <a:gd name="connsiteY111" fmla="*/ 546876 h 795676"/>
                <a:gd name="connsiteX112" fmla="*/ 321823 w 1471018"/>
                <a:gd name="connsiteY112" fmla="*/ 522571 h 795676"/>
                <a:gd name="connsiteX113" fmla="*/ 332836 w 1471018"/>
                <a:gd name="connsiteY113" fmla="*/ 519913 h 795676"/>
                <a:gd name="connsiteX114" fmla="*/ 7768 w 1471018"/>
                <a:gd name="connsiteY114" fmla="*/ 507761 h 795676"/>
                <a:gd name="connsiteX115" fmla="*/ 21060 w 1471018"/>
                <a:gd name="connsiteY115" fmla="*/ 516495 h 795676"/>
                <a:gd name="connsiteX116" fmla="*/ 14984 w 1471018"/>
                <a:gd name="connsiteY116" fmla="*/ 540800 h 795676"/>
                <a:gd name="connsiteX117" fmla="*/ 2831 w 1471018"/>
                <a:gd name="connsiteY117" fmla="*/ 543458 h 795676"/>
                <a:gd name="connsiteX118" fmla="*/ 0 w 1471018"/>
                <a:gd name="connsiteY118" fmla="*/ 541423 h 795676"/>
                <a:gd name="connsiteX119" fmla="*/ 0 w 1471018"/>
                <a:gd name="connsiteY119" fmla="*/ 509636 h 795676"/>
                <a:gd name="connsiteX120" fmla="*/ 946515 w 1471018"/>
                <a:gd name="connsiteY120" fmla="*/ 486494 h 795676"/>
                <a:gd name="connsiteX121" fmla="*/ 959807 w 1471018"/>
                <a:gd name="connsiteY121" fmla="*/ 495228 h 795676"/>
                <a:gd name="connsiteX122" fmla="*/ 953731 w 1471018"/>
                <a:gd name="connsiteY122" fmla="*/ 519533 h 795676"/>
                <a:gd name="connsiteX123" fmla="*/ 929426 w 1471018"/>
                <a:gd name="connsiteY123" fmla="*/ 513457 h 795676"/>
                <a:gd name="connsiteX124" fmla="*/ 935502 w 1471018"/>
                <a:gd name="connsiteY124" fmla="*/ 489152 h 795676"/>
                <a:gd name="connsiteX125" fmla="*/ 946515 w 1471018"/>
                <a:gd name="connsiteY125" fmla="*/ 486494 h 795676"/>
                <a:gd name="connsiteX126" fmla="*/ 457386 w 1471018"/>
                <a:gd name="connsiteY126" fmla="*/ 483456 h 795676"/>
                <a:gd name="connsiteX127" fmla="*/ 470679 w 1471018"/>
                <a:gd name="connsiteY127" fmla="*/ 492190 h 795676"/>
                <a:gd name="connsiteX128" fmla="*/ 464601 w 1471018"/>
                <a:gd name="connsiteY128" fmla="*/ 516495 h 795676"/>
                <a:gd name="connsiteX129" fmla="*/ 440300 w 1471018"/>
                <a:gd name="connsiteY129" fmla="*/ 510419 h 795676"/>
                <a:gd name="connsiteX130" fmla="*/ 446374 w 1471018"/>
                <a:gd name="connsiteY130" fmla="*/ 486114 h 795676"/>
                <a:gd name="connsiteX131" fmla="*/ 457386 w 1471018"/>
                <a:gd name="connsiteY131" fmla="*/ 483456 h 795676"/>
                <a:gd name="connsiteX132" fmla="*/ 821954 w 1471018"/>
                <a:gd name="connsiteY132" fmla="*/ 456114 h 795676"/>
                <a:gd name="connsiteX133" fmla="*/ 835246 w 1471018"/>
                <a:gd name="connsiteY133" fmla="*/ 464848 h 795676"/>
                <a:gd name="connsiteX134" fmla="*/ 829170 w 1471018"/>
                <a:gd name="connsiteY134" fmla="*/ 489153 h 795676"/>
                <a:gd name="connsiteX135" fmla="*/ 804865 w 1471018"/>
                <a:gd name="connsiteY135" fmla="*/ 483077 h 795676"/>
                <a:gd name="connsiteX136" fmla="*/ 810941 w 1471018"/>
                <a:gd name="connsiteY136" fmla="*/ 458772 h 795676"/>
                <a:gd name="connsiteX137" fmla="*/ 821954 w 1471018"/>
                <a:gd name="connsiteY137" fmla="*/ 456114 h 795676"/>
                <a:gd name="connsiteX138" fmla="*/ 584986 w 1471018"/>
                <a:gd name="connsiteY138" fmla="*/ 456114 h 795676"/>
                <a:gd name="connsiteX139" fmla="*/ 598278 w 1471018"/>
                <a:gd name="connsiteY139" fmla="*/ 464848 h 795676"/>
                <a:gd name="connsiteX140" fmla="*/ 592202 w 1471018"/>
                <a:gd name="connsiteY140" fmla="*/ 489153 h 795676"/>
                <a:gd name="connsiteX141" fmla="*/ 567897 w 1471018"/>
                <a:gd name="connsiteY141" fmla="*/ 483077 h 795676"/>
                <a:gd name="connsiteX142" fmla="*/ 573973 w 1471018"/>
                <a:gd name="connsiteY142" fmla="*/ 458772 h 795676"/>
                <a:gd name="connsiteX143" fmla="*/ 584986 w 1471018"/>
                <a:gd name="connsiteY143" fmla="*/ 456114 h 795676"/>
                <a:gd name="connsiteX144" fmla="*/ 718660 w 1471018"/>
                <a:gd name="connsiteY144" fmla="*/ 443961 h 795676"/>
                <a:gd name="connsiteX145" fmla="*/ 731952 w 1471018"/>
                <a:gd name="connsiteY145" fmla="*/ 452695 h 795676"/>
                <a:gd name="connsiteX146" fmla="*/ 725876 w 1471018"/>
                <a:gd name="connsiteY146" fmla="*/ 477000 h 795676"/>
                <a:gd name="connsiteX147" fmla="*/ 701571 w 1471018"/>
                <a:gd name="connsiteY147" fmla="*/ 470924 h 795676"/>
                <a:gd name="connsiteX148" fmla="*/ 707647 w 1471018"/>
                <a:gd name="connsiteY148" fmla="*/ 446619 h 795676"/>
                <a:gd name="connsiteX149" fmla="*/ 718660 w 1471018"/>
                <a:gd name="connsiteY149" fmla="*/ 443961 h 795676"/>
                <a:gd name="connsiteX150" fmla="*/ 1016390 w 1471018"/>
                <a:gd name="connsiteY150" fmla="*/ 425733 h 795676"/>
                <a:gd name="connsiteX151" fmla="*/ 1029681 w 1471018"/>
                <a:gd name="connsiteY151" fmla="*/ 434467 h 795676"/>
                <a:gd name="connsiteX152" fmla="*/ 1023605 w 1471018"/>
                <a:gd name="connsiteY152" fmla="*/ 458772 h 795676"/>
                <a:gd name="connsiteX153" fmla="*/ 999301 w 1471018"/>
                <a:gd name="connsiteY153" fmla="*/ 452696 h 795676"/>
                <a:gd name="connsiteX154" fmla="*/ 1005377 w 1471018"/>
                <a:gd name="connsiteY154" fmla="*/ 428391 h 795676"/>
                <a:gd name="connsiteX155" fmla="*/ 1016390 w 1471018"/>
                <a:gd name="connsiteY155" fmla="*/ 425733 h 795676"/>
                <a:gd name="connsiteX156" fmla="*/ 250806 w 1471018"/>
                <a:gd name="connsiteY156" fmla="*/ 416619 h 795676"/>
                <a:gd name="connsiteX157" fmla="*/ 264098 w 1471018"/>
                <a:gd name="connsiteY157" fmla="*/ 425353 h 795676"/>
                <a:gd name="connsiteX158" fmla="*/ 258022 w 1471018"/>
                <a:gd name="connsiteY158" fmla="*/ 449658 h 795676"/>
                <a:gd name="connsiteX159" fmla="*/ 233717 w 1471018"/>
                <a:gd name="connsiteY159" fmla="*/ 443582 h 795676"/>
                <a:gd name="connsiteX160" fmla="*/ 239793 w 1471018"/>
                <a:gd name="connsiteY160" fmla="*/ 419277 h 795676"/>
                <a:gd name="connsiteX161" fmla="*/ 250806 w 1471018"/>
                <a:gd name="connsiteY161" fmla="*/ 416619 h 795676"/>
                <a:gd name="connsiteX162" fmla="*/ 144467 w 1471018"/>
                <a:gd name="connsiteY162" fmla="*/ 416619 h 795676"/>
                <a:gd name="connsiteX163" fmla="*/ 157759 w 1471018"/>
                <a:gd name="connsiteY163" fmla="*/ 425353 h 795676"/>
                <a:gd name="connsiteX164" fmla="*/ 151683 w 1471018"/>
                <a:gd name="connsiteY164" fmla="*/ 449658 h 795676"/>
                <a:gd name="connsiteX165" fmla="*/ 127378 w 1471018"/>
                <a:gd name="connsiteY165" fmla="*/ 443582 h 795676"/>
                <a:gd name="connsiteX166" fmla="*/ 133454 w 1471018"/>
                <a:gd name="connsiteY166" fmla="*/ 419277 h 795676"/>
                <a:gd name="connsiteX167" fmla="*/ 144467 w 1471018"/>
                <a:gd name="connsiteY167" fmla="*/ 416619 h 795676"/>
                <a:gd name="connsiteX168" fmla="*/ 29033 w 1471018"/>
                <a:gd name="connsiteY168" fmla="*/ 416619 h 795676"/>
                <a:gd name="connsiteX169" fmla="*/ 42324 w 1471018"/>
                <a:gd name="connsiteY169" fmla="*/ 425353 h 795676"/>
                <a:gd name="connsiteX170" fmla="*/ 36248 w 1471018"/>
                <a:gd name="connsiteY170" fmla="*/ 449658 h 795676"/>
                <a:gd name="connsiteX171" fmla="*/ 11944 w 1471018"/>
                <a:gd name="connsiteY171" fmla="*/ 443582 h 795676"/>
                <a:gd name="connsiteX172" fmla="*/ 18020 w 1471018"/>
                <a:gd name="connsiteY172" fmla="*/ 419277 h 795676"/>
                <a:gd name="connsiteX173" fmla="*/ 29033 w 1471018"/>
                <a:gd name="connsiteY173" fmla="*/ 416619 h 795676"/>
                <a:gd name="connsiteX174" fmla="*/ 360172 w 1471018"/>
                <a:gd name="connsiteY174" fmla="*/ 410543 h 795676"/>
                <a:gd name="connsiteX175" fmla="*/ 373464 w 1471018"/>
                <a:gd name="connsiteY175" fmla="*/ 419277 h 795676"/>
                <a:gd name="connsiteX176" fmla="*/ 367388 w 1471018"/>
                <a:gd name="connsiteY176" fmla="*/ 443582 h 795676"/>
                <a:gd name="connsiteX177" fmla="*/ 343083 w 1471018"/>
                <a:gd name="connsiteY177" fmla="*/ 437506 h 795676"/>
                <a:gd name="connsiteX178" fmla="*/ 349159 w 1471018"/>
                <a:gd name="connsiteY178" fmla="*/ 413201 h 795676"/>
                <a:gd name="connsiteX179" fmla="*/ 360172 w 1471018"/>
                <a:gd name="connsiteY179" fmla="*/ 410543 h 795676"/>
                <a:gd name="connsiteX180" fmla="*/ 1110570 w 1471018"/>
                <a:gd name="connsiteY180" fmla="*/ 389276 h 795676"/>
                <a:gd name="connsiteX181" fmla="*/ 1123862 w 1471018"/>
                <a:gd name="connsiteY181" fmla="*/ 398010 h 795676"/>
                <a:gd name="connsiteX182" fmla="*/ 1117786 w 1471018"/>
                <a:gd name="connsiteY182" fmla="*/ 422315 h 795676"/>
                <a:gd name="connsiteX183" fmla="*/ 1093481 w 1471018"/>
                <a:gd name="connsiteY183" fmla="*/ 416239 h 795676"/>
                <a:gd name="connsiteX184" fmla="*/ 1099557 w 1471018"/>
                <a:gd name="connsiteY184" fmla="*/ 391934 h 795676"/>
                <a:gd name="connsiteX185" fmla="*/ 1110570 w 1471018"/>
                <a:gd name="connsiteY185" fmla="*/ 389276 h 795676"/>
                <a:gd name="connsiteX186" fmla="*/ 490806 w 1471018"/>
                <a:gd name="connsiteY186" fmla="*/ 383200 h 795676"/>
                <a:gd name="connsiteX187" fmla="*/ 504098 w 1471018"/>
                <a:gd name="connsiteY187" fmla="*/ 391934 h 795676"/>
                <a:gd name="connsiteX188" fmla="*/ 498022 w 1471018"/>
                <a:gd name="connsiteY188" fmla="*/ 416239 h 795676"/>
                <a:gd name="connsiteX189" fmla="*/ 473717 w 1471018"/>
                <a:gd name="connsiteY189" fmla="*/ 410163 h 795676"/>
                <a:gd name="connsiteX190" fmla="*/ 479793 w 1471018"/>
                <a:gd name="connsiteY190" fmla="*/ 385858 h 795676"/>
                <a:gd name="connsiteX191" fmla="*/ 490806 w 1471018"/>
                <a:gd name="connsiteY191" fmla="*/ 383200 h 795676"/>
                <a:gd name="connsiteX192" fmla="*/ 900944 w 1471018"/>
                <a:gd name="connsiteY192" fmla="*/ 380162 h 795676"/>
                <a:gd name="connsiteX193" fmla="*/ 914236 w 1471018"/>
                <a:gd name="connsiteY193" fmla="*/ 388896 h 795676"/>
                <a:gd name="connsiteX194" fmla="*/ 908160 w 1471018"/>
                <a:gd name="connsiteY194" fmla="*/ 413201 h 795676"/>
                <a:gd name="connsiteX195" fmla="*/ 883855 w 1471018"/>
                <a:gd name="connsiteY195" fmla="*/ 407125 h 795676"/>
                <a:gd name="connsiteX196" fmla="*/ 889931 w 1471018"/>
                <a:gd name="connsiteY196" fmla="*/ 382820 h 795676"/>
                <a:gd name="connsiteX197" fmla="*/ 900944 w 1471018"/>
                <a:gd name="connsiteY197" fmla="*/ 380162 h 795676"/>
                <a:gd name="connsiteX198" fmla="*/ 618404 w 1471018"/>
                <a:gd name="connsiteY198" fmla="*/ 361934 h 795676"/>
                <a:gd name="connsiteX199" fmla="*/ 631696 w 1471018"/>
                <a:gd name="connsiteY199" fmla="*/ 370668 h 795676"/>
                <a:gd name="connsiteX200" fmla="*/ 625620 w 1471018"/>
                <a:gd name="connsiteY200" fmla="*/ 394973 h 795676"/>
                <a:gd name="connsiteX201" fmla="*/ 601315 w 1471018"/>
                <a:gd name="connsiteY201" fmla="*/ 388897 h 795676"/>
                <a:gd name="connsiteX202" fmla="*/ 607391 w 1471018"/>
                <a:gd name="connsiteY202" fmla="*/ 364592 h 795676"/>
                <a:gd name="connsiteX203" fmla="*/ 618404 w 1471018"/>
                <a:gd name="connsiteY203" fmla="*/ 361934 h 795676"/>
                <a:gd name="connsiteX204" fmla="*/ 749041 w 1471018"/>
                <a:gd name="connsiteY204" fmla="*/ 355858 h 795676"/>
                <a:gd name="connsiteX205" fmla="*/ 762333 w 1471018"/>
                <a:gd name="connsiteY205" fmla="*/ 364592 h 795676"/>
                <a:gd name="connsiteX206" fmla="*/ 756257 w 1471018"/>
                <a:gd name="connsiteY206" fmla="*/ 388897 h 795676"/>
                <a:gd name="connsiteX207" fmla="*/ 731952 w 1471018"/>
                <a:gd name="connsiteY207" fmla="*/ 382821 h 795676"/>
                <a:gd name="connsiteX208" fmla="*/ 738028 w 1471018"/>
                <a:gd name="connsiteY208" fmla="*/ 358516 h 795676"/>
                <a:gd name="connsiteX209" fmla="*/ 749041 w 1471018"/>
                <a:gd name="connsiteY209" fmla="*/ 355858 h 795676"/>
                <a:gd name="connsiteX210" fmla="*/ 10801 w 1471018"/>
                <a:gd name="connsiteY210" fmla="*/ 334591 h 795676"/>
                <a:gd name="connsiteX211" fmla="*/ 24093 w 1471018"/>
                <a:gd name="connsiteY211" fmla="*/ 343325 h 795676"/>
                <a:gd name="connsiteX212" fmla="*/ 18017 w 1471018"/>
                <a:gd name="connsiteY212" fmla="*/ 367630 h 795676"/>
                <a:gd name="connsiteX213" fmla="*/ 5865 w 1471018"/>
                <a:gd name="connsiteY213" fmla="*/ 370288 h 795676"/>
                <a:gd name="connsiteX214" fmla="*/ 0 w 1471018"/>
                <a:gd name="connsiteY214" fmla="*/ 366073 h 795676"/>
                <a:gd name="connsiteX215" fmla="*/ 0 w 1471018"/>
                <a:gd name="connsiteY215" fmla="*/ 337198 h 795676"/>
                <a:gd name="connsiteX216" fmla="*/ 1213864 w 1471018"/>
                <a:gd name="connsiteY216" fmla="*/ 313325 h 795676"/>
                <a:gd name="connsiteX217" fmla="*/ 1227156 w 1471018"/>
                <a:gd name="connsiteY217" fmla="*/ 322059 h 795676"/>
                <a:gd name="connsiteX218" fmla="*/ 1221080 w 1471018"/>
                <a:gd name="connsiteY218" fmla="*/ 346364 h 795676"/>
                <a:gd name="connsiteX219" fmla="*/ 1196775 w 1471018"/>
                <a:gd name="connsiteY219" fmla="*/ 340288 h 795676"/>
                <a:gd name="connsiteX220" fmla="*/ 1202851 w 1471018"/>
                <a:gd name="connsiteY220" fmla="*/ 315983 h 795676"/>
                <a:gd name="connsiteX221" fmla="*/ 1213864 w 1471018"/>
                <a:gd name="connsiteY221" fmla="*/ 313325 h 795676"/>
                <a:gd name="connsiteX222" fmla="*/ 211313 w 1471018"/>
                <a:gd name="connsiteY222" fmla="*/ 313325 h 795676"/>
                <a:gd name="connsiteX223" fmla="*/ 224605 w 1471018"/>
                <a:gd name="connsiteY223" fmla="*/ 322059 h 795676"/>
                <a:gd name="connsiteX224" fmla="*/ 218529 w 1471018"/>
                <a:gd name="connsiteY224" fmla="*/ 346364 h 795676"/>
                <a:gd name="connsiteX225" fmla="*/ 194224 w 1471018"/>
                <a:gd name="connsiteY225" fmla="*/ 340288 h 795676"/>
                <a:gd name="connsiteX226" fmla="*/ 200300 w 1471018"/>
                <a:gd name="connsiteY226" fmla="*/ 315983 h 795676"/>
                <a:gd name="connsiteX227" fmla="*/ 211313 w 1471018"/>
                <a:gd name="connsiteY227" fmla="*/ 313325 h 795676"/>
                <a:gd name="connsiteX228" fmla="*/ 314600 w 1471018"/>
                <a:gd name="connsiteY228" fmla="*/ 301172 h 795676"/>
                <a:gd name="connsiteX229" fmla="*/ 327892 w 1471018"/>
                <a:gd name="connsiteY229" fmla="*/ 309906 h 795676"/>
                <a:gd name="connsiteX230" fmla="*/ 321816 w 1471018"/>
                <a:gd name="connsiteY230" fmla="*/ 334211 h 795676"/>
                <a:gd name="connsiteX231" fmla="*/ 297511 w 1471018"/>
                <a:gd name="connsiteY231" fmla="*/ 328135 h 795676"/>
                <a:gd name="connsiteX232" fmla="*/ 303587 w 1471018"/>
                <a:gd name="connsiteY232" fmla="*/ 303830 h 795676"/>
                <a:gd name="connsiteX233" fmla="*/ 314600 w 1471018"/>
                <a:gd name="connsiteY233" fmla="*/ 301172 h 795676"/>
                <a:gd name="connsiteX234" fmla="*/ 982972 w 1471018"/>
                <a:gd name="connsiteY234" fmla="*/ 298134 h 795676"/>
                <a:gd name="connsiteX235" fmla="*/ 996264 w 1471018"/>
                <a:gd name="connsiteY235" fmla="*/ 306868 h 795676"/>
                <a:gd name="connsiteX236" fmla="*/ 990188 w 1471018"/>
                <a:gd name="connsiteY236" fmla="*/ 331173 h 795676"/>
                <a:gd name="connsiteX237" fmla="*/ 965883 w 1471018"/>
                <a:gd name="connsiteY237" fmla="*/ 325097 h 795676"/>
                <a:gd name="connsiteX238" fmla="*/ 971959 w 1471018"/>
                <a:gd name="connsiteY238" fmla="*/ 300792 h 795676"/>
                <a:gd name="connsiteX239" fmla="*/ 982972 w 1471018"/>
                <a:gd name="connsiteY239" fmla="*/ 298134 h 795676"/>
                <a:gd name="connsiteX240" fmla="*/ 417898 w 1471018"/>
                <a:gd name="connsiteY240" fmla="*/ 298134 h 795676"/>
                <a:gd name="connsiteX241" fmla="*/ 431187 w 1471018"/>
                <a:gd name="connsiteY241" fmla="*/ 306868 h 795676"/>
                <a:gd name="connsiteX242" fmla="*/ 425112 w 1471018"/>
                <a:gd name="connsiteY242" fmla="*/ 331173 h 795676"/>
                <a:gd name="connsiteX243" fmla="*/ 400806 w 1471018"/>
                <a:gd name="connsiteY243" fmla="*/ 325097 h 795676"/>
                <a:gd name="connsiteX244" fmla="*/ 406884 w 1471018"/>
                <a:gd name="connsiteY244" fmla="*/ 300792 h 795676"/>
                <a:gd name="connsiteX245" fmla="*/ 417898 w 1471018"/>
                <a:gd name="connsiteY245" fmla="*/ 298134 h 795676"/>
                <a:gd name="connsiteX246" fmla="*/ 858411 w 1471018"/>
                <a:gd name="connsiteY246" fmla="*/ 295096 h 795676"/>
                <a:gd name="connsiteX247" fmla="*/ 871703 w 1471018"/>
                <a:gd name="connsiteY247" fmla="*/ 303830 h 795676"/>
                <a:gd name="connsiteX248" fmla="*/ 865627 w 1471018"/>
                <a:gd name="connsiteY248" fmla="*/ 328135 h 795676"/>
                <a:gd name="connsiteX249" fmla="*/ 841322 w 1471018"/>
                <a:gd name="connsiteY249" fmla="*/ 322059 h 795676"/>
                <a:gd name="connsiteX250" fmla="*/ 847398 w 1471018"/>
                <a:gd name="connsiteY250" fmla="*/ 297754 h 795676"/>
                <a:gd name="connsiteX251" fmla="*/ 858411 w 1471018"/>
                <a:gd name="connsiteY251" fmla="*/ 295096 h 795676"/>
                <a:gd name="connsiteX252" fmla="*/ 1095380 w 1471018"/>
                <a:gd name="connsiteY252" fmla="*/ 292058 h 795676"/>
                <a:gd name="connsiteX253" fmla="*/ 1108672 w 1471018"/>
                <a:gd name="connsiteY253" fmla="*/ 300792 h 795676"/>
                <a:gd name="connsiteX254" fmla="*/ 1102596 w 1471018"/>
                <a:gd name="connsiteY254" fmla="*/ 325097 h 795676"/>
                <a:gd name="connsiteX255" fmla="*/ 1078291 w 1471018"/>
                <a:gd name="connsiteY255" fmla="*/ 319021 h 795676"/>
                <a:gd name="connsiteX256" fmla="*/ 1084367 w 1471018"/>
                <a:gd name="connsiteY256" fmla="*/ 294716 h 795676"/>
                <a:gd name="connsiteX257" fmla="*/ 1095380 w 1471018"/>
                <a:gd name="connsiteY257" fmla="*/ 292058 h 795676"/>
                <a:gd name="connsiteX258" fmla="*/ 108024 w 1471018"/>
                <a:gd name="connsiteY258" fmla="*/ 289020 h 795676"/>
                <a:gd name="connsiteX259" fmla="*/ 121316 w 1471018"/>
                <a:gd name="connsiteY259" fmla="*/ 297754 h 795676"/>
                <a:gd name="connsiteX260" fmla="*/ 115240 w 1471018"/>
                <a:gd name="connsiteY260" fmla="*/ 322059 h 795676"/>
                <a:gd name="connsiteX261" fmla="*/ 90935 w 1471018"/>
                <a:gd name="connsiteY261" fmla="*/ 315983 h 795676"/>
                <a:gd name="connsiteX262" fmla="*/ 97011 w 1471018"/>
                <a:gd name="connsiteY262" fmla="*/ 291678 h 795676"/>
                <a:gd name="connsiteX263" fmla="*/ 108024 w 1471018"/>
                <a:gd name="connsiteY263" fmla="*/ 289020 h 795676"/>
                <a:gd name="connsiteX264" fmla="*/ 533338 w 1471018"/>
                <a:gd name="connsiteY264" fmla="*/ 270792 h 795676"/>
                <a:gd name="connsiteX265" fmla="*/ 546630 w 1471018"/>
                <a:gd name="connsiteY265" fmla="*/ 279526 h 795676"/>
                <a:gd name="connsiteX266" fmla="*/ 540554 w 1471018"/>
                <a:gd name="connsiteY266" fmla="*/ 303831 h 795676"/>
                <a:gd name="connsiteX267" fmla="*/ 516251 w 1471018"/>
                <a:gd name="connsiteY267" fmla="*/ 297755 h 795676"/>
                <a:gd name="connsiteX268" fmla="*/ 522328 w 1471018"/>
                <a:gd name="connsiteY268" fmla="*/ 273450 h 795676"/>
                <a:gd name="connsiteX269" fmla="*/ 533338 w 1471018"/>
                <a:gd name="connsiteY269" fmla="*/ 270792 h 795676"/>
                <a:gd name="connsiteX270" fmla="*/ 633594 w 1471018"/>
                <a:gd name="connsiteY270" fmla="*/ 261678 h 795676"/>
                <a:gd name="connsiteX271" fmla="*/ 646886 w 1471018"/>
                <a:gd name="connsiteY271" fmla="*/ 270412 h 795676"/>
                <a:gd name="connsiteX272" fmla="*/ 640810 w 1471018"/>
                <a:gd name="connsiteY272" fmla="*/ 294717 h 795676"/>
                <a:gd name="connsiteX273" fmla="*/ 616505 w 1471018"/>
                <a:gd name="connsiteY273" fmla="*/ 288641 h 795676"/>
                <a:gd name="connsiteX274" fmla="*/ 622581 w 1471018"/>
                <a:gd name="connsiteY274" fmla="*/ 264336 h 795676"/>
                <a:gd name="connsiteX275" fmla="*/ 633594 w 1471018"/>
                <a:gd name="connsiteY275" fmla="*/ 261678 h 795676"/>
                <a:gd name="connsiteX276" fmla="*/ 746003 w 1471018"/>
                <a:gd name="connsiteY276" fmla="*/ 258640 h 795676"/>
                <a:gd name="connsiteX277" fmla="*/ 759295 w 1471018"/>
                <a:gd name="connsiteY277" fmla="*/ 267374 h 795676"/>
                <a:gd name="connsiteX278" fmla="*/ 753219 w 1471018"/>
                <a:gd name="connsiteY278" fmla="*/ 291679 h 795676"/>
                <a:gd name="connsiteX279" fmla="*/ 728914 w 1471018"/>
                <a:gd name="connsiteY279" fmla="*/ 285603 h 795676"/>
                <a:gd name="connsiteX280" fmla="*/ 734990 w 1471018"/>
                <a:gd name="connsiteY280" fmla="*/ 261298 h 795676"/>
                <a:gd name="connsiteX281" fmla="*/ 746003 w 1471018"/>
                <a:gd name="connsiteY281" fmla="*/ 258640 h 795676"/>
                <a:gd name="connsiteX282" fmla="*/ 1301968 w 1471018"/>
                <a:gd name="connsiteY282" fmla="*/ 225221 h 795676"/>
                <a:gd name="connsiteX283" fmla="*/ 1315260 w 1471018"/>
                <a:gd name="connsiteY283" fmla="*/ 233955 h 795676"/>
                <a:gd name="connsiteX284" fmla="*/ 1309184 w 1471018"/>
                <a:gd name="connsiteY284" fmla="*/ 258260 h 795676"/>
                <a:gd name="connsiteX285" fmla="*/ 1284879 w 1471018"/>
                <a:gd name="connsiteY285" fmla="*/ 252184 h 795676"/>
                <a:gd name="connsiteX286" fmla="*/ 1290955 w 1471018"/>
                <a:gd name="connsiteY286" fmla="*/ 227879 h 795676"/>
                <a:gd name="connsiteX287" fmla="*/ 1301968 w 1471018"/>
                <a:gd name="connsiteY287" fmla="*/ 225221 h 795676"/>
                <a:gd name="connsiteX288" fmla="*/ 7756 w 1471018"/>
                <a:gd name="connsiteY288" fmla="*/ 225221 h 795676"/>
                <a:gd name="connsiteX289" fmla="*/ 21048 w 1471018"/>
                <a:gd name="connsiteY289" fmla="*/ 233955 h 795676"/>
                <a:gd name="connsiteX290" fmla="*/ 14972 w 1471018"/>
                <a:gd name="connsiteY290" fmla="*/ 258260 h 795676"/>
                <a:gd name="connsiteX291" fmla="*/ 2819 w 1471018"/>
                <a:gd name="connsiteY291" fmla="*/ 260918 h 795676"/>
                <a:gd name="connsiteX292" fmla="*/ 0 w 1471018"/>
                <a:gd name="connsiteY292" fmla="*/ 258892 h 795676"/>
                <a:gd name="connsiteX293" fmla="*/ 0 w 1471018"/>
                <a:gd name="connsiteY293" fmla="*/ 227093 h 795676"/>
                <a:gd name="connsiteX294" fmla="*/ 180938 w 1471018"/>
                <a:gd name="connsiteY294" fmla="*/ 210031 h 795676"/>
                <a:gd name="connsiteX295" fmla="*/ 194229 w 1471018"/>
                <a:gd name="connsiteY295" fmla="*/ 218765 h 795676"/>
                <a:gd name="connsiteX296" fmla="*/ 188153 w 1471018"/>
                <a:gd name="connsiteY296" fmla="*/ 243070 h 795676"/>
                <a:gd name="connsiteX297" fmla="*/ 163849 w 1471018"/>
                <a:gd name="connsiteY297" fmla="*/ 236994 h 795676"/>
                <a:gd name="connsiteX298" fmla="*/ 169925 w 1471018"/>
                <a:gd name="connsiteY298" fmla="*/ 212689 h 795676"/>
                <a:gd name="connsiteX299" fmla="*/ 180938 w 1471018"/>
                <a:gd name="connsiteY299" fmla="*/ 210031 h 795676"/>
                <a:gd name="connsiteX300" fmla="*/ 1183484 w 1471018"/>
                <a:gd name="connsiteY300" fmla="*/ 203954 h 795676"/>
                <a:gd name="connsiteX301" fmla="*/ 1196776 w 1471018"/>
                <a:gd name="connsiteY301" fmla="*/ 212688 h 795676"/>
                <a:gd name="connsiteX302" fmla="*/ 1190700 w 1471018"/>
                <a:gd name="connsiteY302" fmla="*/ 236993 h 795676"/>
                <a:gd name="connsiteX303" fmla="*/ 1166395 w 1471018"/>
                <a:gd name="connsiteY303" fmla="*/ 230917 h 795676"/>
                <a:gd name="connsiteX304" fmla="*/ 1172471 w 1471018"/>
                <a:gd name="connsiteY304" fmla="*/ 206612 h 795676"/>
                <a:gd name="connsiteX305" fmla="*/ 1183484 w 1471018"/>
                <a:gd name="connsiteY305" fmla="*/ 203954 h 795676"/>
                <a:gd name="connsiteX306" fmla="*/ 946515 w 1471018"/>
                <a:gd name="connsiteY306" fmla="*/ 197878 h 795676"/>
                <a:gd name="connsiteX307" fmla="*/ 959807 w 1471018"/>
                <a:gd name="connsiteY307" fmla="*/ 206612 h 795676"/>
                <a:gd name="connsiteX308" fmla="*/ 953731 w 1471018"/>
                <a:gd name="connsiteY308" fmla="*/ 230917 h 795676"/>
                <a:gd name="connsiteX309" fmla="*/ 929426 w 1471018"/>
                <a:gd name="connsiteY309" fmla="*/ 224841 h 795676"/>
                <a:gd name="connsiteX310" fmla="*/ 935502 w 1471018"/>
                <a:gd name="connsiteY310" fmla="*/ 200536 h 795676"/>
                <a:gd name="connsiteX311" fmla="*/ 946515 w 1471018"/>
                <a:gd name="connsiteY311" fmla="*/ 197878 h 795676"/>
                <a:gd name="connsiteX312" fmla="*/ 466501 w 1471018"/>
                <a:gd name="connsiteY312" fmla="*/ 197878 h 795676"/>
                <a:gd name="connsiteX313" fmla="*/ 479793 w 1471018"/>
                <a:gd name="connsiteY313" fmla="*/ 206612 h 795676"/>
                <a:gd name="connsiteX314" fmla="*/ 473717 w 1471018"/>
                <a:gd name="connsiteY314" fmla="*/ 230917 h 795676"/>
                <a:gd name="connsiteX315" fmla="*/ 449412 w 1471018"/>
                <a:gd name="connsiteY315" fmla="*/ 224841 h 795676"/>
                <a:gd name="connsiteX316" fmla="*/ 455486 w 1471018"/>
                <a:gd name="connsiteY316" fmla="*/ 200536 h 795676"/>
                <a:gd name="connsiteX317" fmla="*/ 466501 w 1471018"/>
                <a:gd name="connsiteY317" fmla="*/ 197878 h 795676"/>
                <a:gd name="connsiteX318" fmla="*/ 323717 w 1471018"/>
                <a:gd name="connsiteY318" fmla="*/ 197878 h 795676"/>
                <a:gd name="connsiteX319" fmla="*/ 337009 w 1471018"/>
                <a:gd name="connsiteY319" fmla="*/ 206612 h 795676"/>
                <a:gd name="connsiteX320" fmla="*/ 330933 w 1471018"/>
                <a:gd name="connsiteY320" fmla="*/ 230917 h 795676"/>
                <a:gd name="connsiteX321" fmla="*/ 306628 w 1471018"/>
                <a:gd name="connsiteY321" fmla="*/ 224841 h 795676"/>
                <a:gd name="connsiteX322" fmla="*/ 312704 w 1471018"/>
                <a:gd name="connsiteY322" fmla="*/ 200536 h 795676"/>
                <a:gd name="connsiteX323" fmla="*/ 323717 w 1471018"/>
                <a:gd name="connsiteY323" fmla="*/ 197878 h 795676"/>
                <a:gd name="connsiteX324" fmla="*/ 1074113 w 1471018"/>
                <a:gd name="connsiteY324" fmla="*/ 188764 h 795676"/>
                <a:gd name="connsiteX325" fmla="*/ 1087405 w 1471018"/>
                <a:gd name="connsiteY325" fmla="*/ 197498 h 795676"/>
                <a:gd name="connsiteX326" fmla="*/ 1081329 w 1471018"/>
                <a:gd name="connsiteY326" fmla="*/ 221803 h 795676"/>
                <a:gd name="connsiteX327" fmla="*/ 1057024 w 1471018"/>
                <a:gd name="connsiteY327" fmla="*/ 215727 h 795676"/>
                <a:gd name="connsiteX328" fmla="*/ 1063100 w 1471018"/>
                <a:gd name="connsiteY328" fmla="*/ 191422 h 795676"/>
                <a:gd name="connsiteX329" fmla="*/ 1074113 w 1471018"/>
                <a:gd name="connsiteY329" fmla="*/ 188764 h 795676"/>
                <a:gd name="connsiteX330" fmla="*/ 846259 w 1471018"/>
                <a:gd name="connsiteY330" fmla="*/ 188764 h 795676"/>
                <a:gd name="connsiteX331" fmla="*/ 859551 w 1471018"/>
                <a:gd name="connsiteY331" fmla="*/ 197498 h 795676"/>
                <a:gd name="connsiteX332" fmla="*/ 853475 w 1471018"/>
                <a:gd name="connsiteY332" fmla="*/ 221803 h 795676"/>
                <a:gd name="connsiteX333" fmla="*/ 829170 w 1471018"/>
                <a:gd name="connsiteY333" fmla="*/ 215727 h 795676"/>
                <a:gd name="connsiteX334" fmla="*/ 835246 w 1471018"/>
                <a:gd name="connsiteY334" fmla="*/ 191422 h 795676"/>
                <a:gd name="connsiteX335" fmla="*/ 846259 w 1471018"/>
                <a:gd name="connsiteY335" fmla="*/ 188764 h 795676"/>
                <a:gd name="connsiteX336" fmla="*/ 694356 w 1471018"/>
                <a:gd name="connsiteY336" fmla="*/ 164460 h 795676"/>
                <a:gd name="connsiteX337" fmla="*/ 707648 w 1471018"/>
                <a:gd name="connsiteY337" fmla="*/ 173194 h 795676"/>
                <a:gd name="connsiteX338" fmla="*/ 701572 w 1471018"/>
                <a:gd name="connsiteY338" fmla="*/ 197499 h 795676"/>
                <a:gd name="connsiteX339" fmla="*/ 677267 w 1471018"/>
                <a:gd name="connsiteY339" fmla="*/ 191423 h 795676"/>
                <a:gd name="connsiteX340" fmla="*/ 683343 w 1471018"/>
                <a:gd name="connsiteY340" fmla="*/ 167118 h 795676"/>
                <a:gd name="connsiteX341" fmla="*/ 694356 w 1471018"/>
                <a:gd name="connsiteY341" fmla="*/ 164460 h 795676"/>
                <a:gd name="connsiteX342" fmla="*/ 77635 w 1471018"/>
                <a:gd name="connsiteY342" fmla="*/ 152307 h 795676"/>
                <a:gd name="connsiteX343" fmla="*/ 90926 w 1471018"/>
                <a:gd name="connsiteY343" fmla="*/ 161041 h 795676"/>
                <a:gd name="connsiteX344" fmla="*/ 84851 w 1471018"/>
                <a:gd name="connsiteY344" fmla="*/ 185346 h 795676"/>
                <a:gd name="connsiteX345" fmla="*/ 60546 w 1471018"/>
                <a:gd name="connsiteY345" fmla="*/ 179270 h 795676"/>
                <a:gd name="connsiteX346" fmla="*/ 66622 w 1471018"/>
                <a:gd name="connsiteY346" fmla="*/ 154965 h 795676"/>
                <a:gd name="connsiteX347" fmla="*/ 77635 w 1471018"/>
                <a:gd name="connsiteY347" fmla="*/ 152307 h 795676"/>
                <a:gd name="connsiteX348" fmla="*/ 1377919 w 1471018"/>
                <a:gd name="connsiteY348" fmla="*/ 146231 h 795676"/>
                <a:gd name="connsiteX349" fmla="*/ 1391211 w 1471018"/>
                <a:gd name="connsiteY349" fmla="*/ 154965 h 795676"/>
                <a:gd name="connsiteX350" fmla="*/ 1385135 w 1471018"/>
                <a:gd name="connsiteY350" fmla="*/ 179270 h 795676"/>
                <a:gd name="connsiteX351" fmla="*/ 1360830 w 1471018"/>
                <a:gd name="connsiteY351" fmla="*/ 173194 h 795676"/>
                <a:gd name="connsiteX352" fmla="*/ 1366906 w 1471018"/>
                <a:gd name="connsiteY352" fmla="*/ 148889 h 795676"/>
                <a:gd name="connsiteX353" fmla="*/ 1377919 w 1471018"/>
                <a:gd name="connsiteY353" fmla="*/ 146231 h 795676"/>
                <a:gd name="connsiteX354" fmla="*/ 588024 w 1471018"/>
                <a:gd name="connsiteY354" fmla="*/ 143193 h 795676"/>
                <a:gd name="connsiteX355" fmla="*/ 601316 w 1471018"/>
                <a:gd name="connsiteY355" fmla="*/ 151927 h 795676"/>
                <a:gd name="connsiteX356" fmla="*/ 595240 w 1471018"/>
                <a:gd name="connsiteY356" fmla="*/ 176232 h 795676"/>
                <a:gd name="connsiteX357" fmla="*/ 570935 w 1471018"/>
                <a:gd name="connsiteY357" fmla="*/ 170156 h 795676"/>
                <a:gd name="connsiteX358" fmla="*/ 577011 w 1471018"/>
                <a:gd name="connsiteY358" fmla="*/ 145851 h 795676"/>
                <a:gd name="connsiteX359" fmla="*/ 588024 w 1471018"/>
                <a:gd name="connsiteY359" fmla="*/ 143193 h 795676"/>
                <a:gd name="connsiteX360" fmla="*/ 241687 w 1471018"/>
                <a:gd name="connsiteY360" fmla="*/ 128003 h 795676"/>
                <a:gd name="connsiteX361" fmla="*/ 254979 w 1471018"/>
                <a:gd name="connsiteY361" fmla="*/ 136737 h 795676"/>
                <a:gd name="connsiteX362" fmla="*/ 248903 w 1471018"/>
                <a:gd name="connsiteY362" fmla="*/ 161042 h 795676"/>
                <a:gd name="connsiteX363" fmla="*/ 224598 w 1471018"/>
                <a:gd name="connsiteY363" fmla="*/ 154966 h 795676"/>
                <a:gd name="connsiteX364" fmla="*/ 230674 w 1471018"/>
                <a:gd name="connsiteY364" fmla="*/ 130661 h 795676"/>
                <a:gd name="connsiteX365" fmla="*/ 241687 w 1471018"/>
                <a:gd name="connsiteY365" fmla="*/ 128003 h 795676"/>
                <a:gd name="connsiteX366" fmla="*/ 1259435 w 1471018"/>
                <a:gd name="connsiteY366" fmla="*/ 124965 h 795676"/>
                <a:gd name="connsiteX367" fmla="*/ 1272727 w 1471018"/>
                <a:gd name="connsiteY367" fmla="*/ 133699 h 795676"/>
                <a:gd name="connsiteX368" fmla="*/ 1266651 w 1471018"/>
                <a:gd name="connsiteY368" fmla="*/ 158004 h 795676"/>
                <a:gd name="connsiteX369" fmla="*/ 1242346 w 1471018"/>
                <a:gd name="connsiteY369" fmla="*/ 151928 h 795676"/>
                <a:gd name="connsiteX370" fmla="*/ 1248422 w 1471018"/>
                <a:gd name="connsiteY370" fmla="*/ 127623 h 795676"/>
                <a:gd name="connsiteX371" fmla="*/ 1259435 w 1471018"/>
                <a:gd name="connsiteY371" fmla="*/ 124965 h 795676"/>
                <a:gd name="connsiteX372" fmla="*/ 399672 w 1471018"/>
                <a:gd name="connsiteY372" fmla="*/ 118889 h 795676"/>
                <a:gd name="connsiteX373" fmla="*/ 412966 w 1471018"/>
                <a:gd name="connsiteY373" fmla="*/ 127623 h 795676"/>
                <a:gd name="connsiteX374" fmla="*/ 406890 w 1471018"/>
                <a:gd name="connsiteY374" fmla="*/ 151928 h 795676"/>
                <a:gd name="connsiteX375" fmla="*/ 382584 w 1471018"/>
                <a:gd name="connsiteY375" fmla="*/ 145852 h 795676"/>
                <a:gd name="connsiteX376" fmla="*/ 388658 w 1471018"/>
                <a:gd name="connsiteY376" fmla="*/ 121547 h 795676"/>
                <a:gd name="connsiteX377" fmla="*/ 399672 w 1471018"/>
                <a:gd name="connsiteY377" fmla="*/ 118889 h 795676"/>
                <a:gd name="connsiteX378" fmla="*/ 1004238 w 1471018"/>
                <a:gd name="connsiteY378" fmla="*/ 112813 h 795676"/>
                <a:gd name="connsiteX379" fmla="*/ 1017530 w 1471018"/>
                <a:gd name="connsiteY379" fmla="*/ 121547 h 795676"/>
                <a:gd name="connsiteX380" fmla="*/ 1011454 w 1471018"/>
                <a:gd name="connsiteY380" fmla="*/ 145852 h 795676"/>
                <a:gd name="connsiteX381" fmla="*/ 987149 w 1471018"/>
                <a:gd name="connsiteY381" fmla="*/ 139776 h 795676"/>
                <a:gd name="connsiteX382" fmla="*/ 993225 w 1471018"/>
                <a:gd name="connsiteY382" fmla="*/ 115471 h 795676"/>
                <a:gd name="connsiteX383" fmla="*/ 1004238 w 1471018"/>
                <a:gd name="connsiteY383" fmla="*/ 112813 h 795676"/>
                <a:gd name="connsiteX384" fmla="*/ 800688 w 1471018"/>
                <a:gd name="connsiteY384" fmla="*/ 97622 h 795676"/>
                <a:gd name="connsiteX385" fmla="*/ 813980 w 1471018"/>
                <a:gd name="connsiteY385" fmla="*/ 106356 h 795676"/>
                <a:gd name="connsiteX386" fmla="*/ 807904 w 1471018"/>
                <a:gd name="connsiteY386" fmla="*/ 130661 h 795676"/>
                <a:gd name="connsiteX387" fmla="*/ 783599 w 1471018"/>
                <a:gd name="connsiteY387" fmla="*/ 124585 h 795676"/>
                <a:gd name="connsiteX388" fmla="*/ 789675 w 1471018"/>
                <a:gd name="connsiteY388" fmla="*/ 100280 h 795676"/>
                <a:gd name="connsiteX389" fmla="*/ 800688 w 1471018"/>
                <a:gd name="connsiteY389" fmla="*/ 97622 h 795676"/>
                <a:gd name="connsiteX390" fmla="*/ 1128799 w 1471018"/>
                <a:gd name="connsiteY390" fmla="*/ 85470 h 795676"/>
                <a:gd name="connsiteX391" fmla="*/ 1142090 w 1471018"/>
                <a:gd name="connsiteY391" fmla="*/ 94204 h 795676"/>
                <a:gd name="connsiteX392" fmla="*/ 1136014 w 1471018"/>
                <a:gd name="connsiteY392" fmla="*/ 118509 h 795676"/>
                <a:gd name="connsiteX393" fmla="*/ 1111709 w 1471018"/>
                <a:gd name="connsiteY393" fmla="*/ 112433 h 795676"/>
                <a:gd name="connsiteX394" fmla="*/ 1117785 w 1471018"/>
                <a:gd name="connsiteY394" fmla="*/ 88128 h 795676"/>
                <a:gd name="connsiteX395" fmla="*/ 1128799 w 1471018"/>
                <a:gd name="connsiteY395" fmla="*/ 85470 h 795676"/>
                <a:gd name="connsiteX396" fmla="*/ 515112 w 1471018"/>
                <a:gd name="connsiteY396" fmla="*/ 85470 h 795676"/>
                <a:gd name="connsiteX397" fmla="*/ 528402 w 1471018"/>
                <a:gd name="connsiteY397" fmla="*/ 94204 h 795676"/>
                <a:gd name="connsiteX398" fmla="*/ 522328 w 1471018"/>
                <a:gd name="connsiteY398" fmla="*/ 118509 h 795676"/>
                <a:gd name="connsiteX399" fmla="*/ 498023 w 1471018"/>
                <a:gd name="connsiteY399" fmla="*/ 112433 h 795676"/>
                <a:gd name="connsiteX400" fmla="*/ 504099 w 1471018"/>
                <a:gd name="connsiteY400" fmla="*/ 88128 h 795676"/>
                <a:gd name="connsiteX401" fmla="*/ 515112 w 1471018"/>
                <a:gd name="connsiteY401" fmla="*/ 85470 h 795676"/>
                <a:gd name="connsiteX402" fmla="*/ 682203 w 1471018"/>
                <a:gd name="connsiteY402" fmla="*/ 73318 h 795676"/>
                <a:gd name="connsiteX403" fmla="*/ 695495 w 1471018"/>
                <a:gd name="connsiteY403" fmla="*/ 82052 h 795676"/>
                <a:gd name="connsiteX404" fmla="*/ 689419 w 1471018"/>
                <a:gd name="connsiteY404" fmla="*/ 106357 h 795676"/>
                <a:gd name="connsiteX405" fmla="*/ 665114 w 1471018"/>
                <a:gd name="connsiteY405" fmla="*/ 100281 h 795676"/>
                <a:gd name="connsiteX406" fmla="*/ 671190 w 1471018"/>
                <a:gd name="connsiteY406" fmla="*/ 75976 h 795676"/>
                <a:gd name="connsiteX407" fmla="*/ 682203 w 1471018"/>
                <a:gd name="connsiteY407" fmla="*/ 73318 h 795676"/>
                <a:gd name="connsiteX408" fmla="*/ 159669 w 1471018"/>
                <a:gd name="connsiteY408" fmla="*/ 67242 h 795676"/>
                <a:gd name="connsiteX409" fmla="*/ 172960 w 1471018"/>
                <a:gd name="connsiteY409" fmla="*/ 75976 h 795676"/>
                <a:gd name="connsiteX410" fmla="*/ 166884 w 1471018"/>
                <a:gd name="connsiteY410" fmla="*/ 100281 h 795676"/>
                <a:gd name="connsiteX411" fmla="*/ 142579 w 1471018"/>
                <a:gd name="connsiteY411" fmla="*/ 94205 h 795676"/>
                <a:gd name="connsiteX412" fmla="*/ 148655 w 1471018"/>
                <a:gd name="connsiteY412" fmla="*/ 69900 h 795676"/>
                <a:gd name="connsiteX413" fmla="*/ 159669 w 1471018"/>
                <a:gd name="connsiteY413" fmla="*/ 67242 h 795676"/>
                <a:gd name="connsiteX414" fmla="*/ 1453871 w 1471018"/>
                <a:gd name="connsiteY414" fmla="*/ 58127 h 795676"/>
                <a:gd name="connsiteX415" fmla="*/ 1467163 w 1471018"/>
                <a:gd name="connsiteY415" fmla="*/ 66861 h 795676"/>
                <a:gd name="connsiteX416" fmla="*/ 1461087 w 1471018"/>
                <a:gd name="connsiteY416" fmla="*/ 91166 h 795676"/>
                <a:gd name="connsiteX417" fmla="*/ 1436782 w 1471018"/>
                <a:gd name="connsiteY417" fmla="*/ 85090 h 795676"/>
                <a:gd name="connsiteX418" fmla="*/ 1442858 w 1471018"/>
                <a:gd name="connsiteY418" fmla="*/ 60785 h 795676"/>
                <a:gd name="connsiteX419" fmla="*/ 1453871 w 1471018"/>
                <a:gd name="connsiteY419" fmla="*/ 58127 h 795676"/>
                <a:gd name="connsiteX420" fmla="*/ 47254 w 1471018"/>
                <a:gd name="connsiteY420" fmla="*/ 58127 h 795676"/>
                <a:gd name="connsiteX421" fmla="*/ 60546 w 1471018"/>
                <a:gd name="connsiteY421" fmla="*/ 66861 h 795676"/>
                <a:gd name="connsiteX422" fmla="*/ 54470 w 1471018"/>
                <a:gd name="connsiteY422" fmla="*/ 91166 h 795676"/>
                <a:gd name="connsiteX423" fmla="*/ 30165 w 1471018"/>
                <a:gd name="connsiteY423" fmla="*/ 85090 h 795676"/>
                <a:gd name="connsiteX424" fmla="*/ 36241 w 1471018"/>
                <a:gd name="connsiteY424" fmla="*/ 60785 h 795676"/>
                <a:gd name="connsiteX425" fmla="*/ 47254 w 1471018"/>
                <a:gd name="connsiteY425" fmla="*/ 58127 h 795676"/>
                <a:gd name="connsiteX426" fmla="*/ 314611 w 1471018"/>
                <a:gd name="connsiteY426" fmla="*/ 55089 h 795676"/>
                <a:gd name="connsiteX427" fmla="*/ 327903 w 1471018"/>
                <a:gd name="connsiteY427" fmla="*/ 63823 h 795676"/>
                <a:gd name="connsiteX428" fmla="*/ 321827 w 1471018"/>
                <a:gd name="connsiteY428" fmla="*/ 88128 h 795676"/>
                <a:gd name="connsiteX429" fmla="*/ 297522 w 1471018"/>
                <a:gd name="connsiteY429" fmla="*/ 82052 h 795676"/>
                <a:gd name="connsiteX430" fmla="*/ 303598 w 1471018"/>
                <a:gd name="connsiteY430" fmla="*/ 57747 h 795676"/>
                <a:gd name="connsiteX431" fmla="*/ 314611 w 1471018"/>
                <a:gd name="connsiteY431" fmla="*/ 55089 h 795676"/>
                <a:gd name="connsiteX432" fmla="*/ 885754 w 1471018"/>
                <a:gd name="connsiteY432" fmla="*/ 52051 h 795676"/>
                <a:gd name="connsiteX433" fmla="*/ 899046 w 1471018"/>
                <a:gd name="connsiteY433" fmla="*/ 60785 h 795676"/>
                <a:gd name="connsiteX434" fmla="*/ 892970 w 1471018"/>
                <a:gd name="connsiteY434" fmla="*/ 85090 h 795676"/>
                <a:gd name="connsiteX435" fmla="*/ 868665 w 1471018"/>
                <a:gd name="connsiteY435" fmla="*/ 79014 h 795676"/>
                <a:gd name="connsiteX436" fmla="*/ 874741 w 1471018"/>
                <a:gd name="connsiteY436" fmla="*/ 54709 h 795676"/>
                <a:gd name="connsiteX437" fmla="*/ 885754 w 1471018"/>
                <a:gd name="connsiteY437" fmla="*/ 52051 h 795676"/>
                <a:gd name="connsiteX438" fmla="*/ 1341464 w 1471018"/>
                <a:gd name="connsiteY438" fmla="*/ 39899 h 795676"/>
                <a:gd name="connsiteX439" fmla="*/ 1354755 w 1471018"/>
                <a:gd name="connsiteY439" fmla="*/ 48633 h 795676"/>
                <a:gd name="connsiteX440" fmla="*/ 1348679 w 1471018"/>
                <a:gd name="connsiteY440" fmla="*/ 72938 h 795676"/>
                <a:gd name="connsiteX441" fmla="*/ 1324374 w 1471018"/>
                <a:gd name="connsiteY441" fmla="*/ 66862 h 795676"/>
                <a:gd name="connsiteX442" fmla="*/ 1330450 w 1471018"/>
                <a:gd name="connsiteY442" fmla="*/ 42557 h 795676"/>
                <a:gd name="connsiteX443" fmla="*/ 1341464 w 1471018"/>
                <a:gd name="connsiteY443" fmla="*/ 39899 h 795676"/>
                <a:gd name="connsiteX444" fmla="*/ 1204751 w 1471018"/>
                <a:gd name="connsiteY444" fmla="*/ 27747 h 795676"/>
                <a:gd name="connsiteX445" fmla="*/ 1218042 w 1471018"/>
                <a:gd name="connsiteY445" fmla="*/ 36481 h 795676"/>
                <a:gd name="connsiteX446" fmla="*/ 1211966 w 1471018"/>
                <a:gd name="connsiteY446" fmla="*/ 60786 h 795676"/>
                <a:gd name="connsiteX447" fmla="*/ 1187661 w 1471018"/>
                <a:gd name="connsiteY447" fmla="*/ 54710 h 795676"/>
                <a:gd name="connsiteX448" fmla="*/ 1193737 w 1471018"/>
                <a:gd name="connsiteY448" fmla="*/ 30405 h 795676"/>
                <a:gd name="connsiteX449" fmla="*/ 1204751 w 1471018"/>
                <a:gd name="connsiteY449" fmla="*/ 27747 h 795676"/>
                <a:gd name="connsiteX450" fmla="*/ 979933 w 1471018"/>
                <a:gd name="connsiteY450" fmla="*/ 21671 h 795676"/>
                <a:gd name="connsiteX451" fmla="*/ 993225 w 1471018"/>
                <a:gd name="connsiteY451" fmla="*/ 30405 h 795676"/>
                <a:gd name="connsiteX452" fmla="*/ 987149 w 1471018"/>
                <a:gd name="connsiteY452" fmla="*/ 54710 h 795676"/>
                <a:gd name="connsiteX453" fmla="*/ 962844 w 1471018"/>
                <a:gd name="connsiteY453" fmla="*/ 48634 h 795676"/>
                <a:gd name="connsiteX454" fmla="*/ 968920 w 1471018"/>
                <a:gd name="connsiteY454" fmla="*/ 24329 h 795676"/>
                <a:gd name="connsiteX455" fmla="*/ 979933 w 1471018"/>
                <a:gd name="connsiteY455" fmla="*/ 21671 h 795676"/>
                <a:gd name="connsiteX456" fmla="*/ 451312 w 1471018"/>
                <a:gd name="connsiteY456" fmla="*/ 8759 h 795676"/>
                <a:gd name="connsiteX457" fmla="*/ 464603 w 1471018"/>
                <a:gd name="connsiteY457" fmla="*/ 21291 h 795676"/>
                <a:gd name="connsiteX458" fmla="*/ 458526 w 1471018"/>
                <a:gd name="connsiteY458" fmla="*/ 45596 h 795676"/>
                <a:gd name="connsiteX459" fmla="*/ 434225 w 1471018"/>
                <a:gd name="connsiteY459" fmla="*/ 39520 h 795676"/>
                <a:gd name="connsiteX460" fmla="*/ 440301 w 1471018"/>
                <a:gd name="connsiteY460" fmla="*/ 12177 h 795676"/>
                <a:gd name="connsiteX461" fmla="*/ 451312 w 1471018"/>
                <a:gd name="connsiteY461" fmla="*/ 8759 h 795676"/>
                <a:gd name="connsiteX462" fmla="*/ 1049824 w 1471018"/>
                <a:gd name="connsiteY462" fmla="*/ 0 h 795676"/>
                <a:gd name="connsiteX463" fmla="*/ 1083563 w 1471018"/>
                <a:gd name="connsiteY463" fmla="*/ 0 h 795676"/>
                <a:gd name="connsiteX464" fmla="*/ 1083987 w 1471018"/>
                <a:gd name="connsiteY464" fmla="*/ 2304 h 795676"/>
                <a:gd name="connsiteX465" fmla="*/ 1075253 w 1471018"/>
                <a:gd name="connsiteY465" fmla="*/ 12178 h 795676"/>
                <a:gd name="connsiteX466" fmla="*/ 1050948 w 1471018"/>
                <a:gd name="connsiteY466" fmla="*/ 6102 h 795676"/>
                <a:gd name="connsiteX467" fmla="*/ 773962 w 1471018"/>
                <a:gd name="connsiteY467" fmla="*/ 0 h 795676"/>
                <a:gd name="connsiteX468" fmla="*/ 806875 w 1471018"/>
                <a:gd name="connsiteY468" fmla="*/ 0 h 795676"/>
                <a:gd name="connsiteX469" fmla="*/ 798790 w 1471018"/>
                <a:gd name="connsiteY469" fmla="*/ 9140 h 795676"/>
                <a:gd name="connsiteX470" fmla="*/ 774485 w 1471018"/>
                <a:gd name="connsiteY470" fmla="*/ 3064 h 795676"/>
                <a:gd name="connsiteX471" fmla="*/ 659033 w 1471018"/>
                <a:gd name="connsiteY471" fmla="*/ 0 h 795676"/>
                <a:gd name="connsiteX472" fmla="*/ 688741 w 1471018"/>
                <a:gd name="connsiteY472" fmla="*/ 0 h 795676"/>
                <a:gd name="connsiteX473" fmla="*/ 683343 w 1471018"/>
                <a:gd name="connsiteY473" fmla="*/ 6102 h 795676"/>
                <a:gd name="connsiteX474" fmla="*/ 659038 w 1471018"/>
                <a:gd name="connsiteY474" fmla="*/ 26 h 795676"/>
                <a:gd name="connsiteX475" fmla="*/ 558807 w 1471018"/>
                <a:gd name="connsiteY475" fmla="*/ 0 h 795676"/>
                <a:gd name="connsiteX476" fmla="*/ 589125 w 1471018"/>
                <a:gd name="connsiteY476" fmla="*/ 0 h 795676"/>
                <a:gd name="connsiteX477" fmla="*/ 589163 w 1471018"/>
                <a:gd name="connsiteY477" fmla="*/ 25 h 795676"/>
                <a:gd name="connsiteX478" fmla="*/ 583087 w 1471018"/>
                <a:gd name="connsiteY478" fmla="*/ 24330 h 795676"/>
                <a:gd name="connsiteX479" fmla="*/ 558782 w 1471018"/>
                <a:gd name="connsiteY479" fmla="*/ 18254 h 795676"/>
                <a:gd name="connsiteX480" fmla="*/ 556124 w 1471018"/>
                <a:gd name="connsiteY480" fmla="*/ 2683 h 795676"/>
                <a:gd name="connsiteX481" fmla="*/ 189731 w 1471018"/>
                <a:gd name="connsiteY481" fmla="*/ 0 h 795676"/>
                <a:gd name="connsiteX482" fmla="*/ 223240 w 1471018"/>
                <a:gd name="connsiteY482" fmla="*/ 0 h 795676"/>
                <a:gd name="connsiteX483" fmla="*/ 224224 w 1471018"/>
                <a:gd name="connsiteY483" fmla="*/ 5342 h 795676"/>
                <a:gd name="connsiteX484" fmla="*/ 215490 w 1471018"/>
                <a:gd name="connsiteY484" fmla="*/ 15216 h 795676"/>
                <a:gd name="connsiteX485" fmla="*/ 191185 w 1471018"/>
                <a:gd name="connsiteY485" fmla="*/ 9140 h 795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Lst>
              <a:rect l="l" t="t" r="r" b="b"/>
              <a:pathLst>
                <a:path w="1471018" h="795676">
                  <a:moveTo>
                    <a:pt x="117137" y="759920"/>
                  </a:moveTo>
                  <a:cubicBezTo>
                    <a:pt x="121315" y="761059"/>
                    <a:pt x="125872" y="764097"/>
                    <a:pt x="130429" y="768654"/>
                  </a:cubicBezTo>
                  <a:cubicBezTo>
                    <a:pt x="139543" y="777769"/>
                    <a:pt x="133467" y="786883"/>
                    <a:pt x="124353" y="792959"/>
                  </a:cubicBezTo>
                  <a:cubicBezTo>
                    <a:pt x="118277" y="795997"/>
                    <a:pt x="106124" y="799035"/>
                    <a:pt x="100048" y="786883"/>
                  </a:cubicBezTo>
                  <a:cubicBezTo>
                    <a:pt x="93972" y="771692"/>
                    <a:pt x="97010" y="765616"/>
                    <a:pt x="106124" y="762578"/>
                  </a:cubicBezTo>
                  <a:cubicBezTo>
                    <a:pt x="109162" y="759540"/>
                    <a:pt x="112960" y="758781"/>
                    <a:pt x="117137" y="759920"/>
                  </a:cubicBezTo>
                  <a:close/>
                  <a:moveTo>
                    <a:pt x="220419" y="753844"/>
                  </a:moveTo>
                  <a:cubicBezTo>
                    <a:pt x="224596" y="754983"/>
                    <a:pt x="229153" y="758021"/>
                    <a:pt x="233710" y="762578"/>
                  </a:cubicBezTo>
                  <a:cubicBezTo>
                    <a:pt x="242824" y="771692"/>
                    <a:pt x="236748" y="780807"/>
                    <a:pt x="227634" y="786883"/>
                  </a:cubicBezTo>
                  <a:cubicBezTo>
                    <a:pt x="221557" y="789921"/>
                    <a:pt x="209405" y="792959"/>
                    <a:pt x="203329" y="780807"/>
                  </a:cubicBezTo>
                  <a:cubicBezTo>
                    <a:pt x="197253" y="768654"/>
                    <a:pt x="197253" y="762578"/>
                    <a:pt x="209405" y="756502"/>
                  </a:cubicBezTo>
                  <a:cubicBezTo>
                    <a:pt x="212443" y="753464"/>
                    <a:pt x="216241" y="752705"/>
                    <a:pt x="220419" y="753844"/>
                  </a:cubicBezTo>
                  <a:close/>
                  <a:moveTo>
                    <a:pt x="25999" y="741691"/>
                  </a:moveTo>
                  <a:cubicBezTo>
                    <a:pt x="30176" y="742830"/>
                    <a:pt x="34733" y="745868"/>
                    <a:pt x="39290" y="750425"/>
                  </a:cubicBezTo>
                  <a:cubicBezTo>
                    <a:pt x="48404" y="759540"/>
                    <a:pt x="42328" y="768654"/>
                    <a:pt x="33214" y="774730"/>
                  </a:cubicBezTo>
                  <a:cubicBezTo>
                    <a:pt x="27138" y="777768"/>
                    <a:pt x="14985" y="780806"/>
                    <a:pt x="8909" y="768654"/>
                  </a:cubicBezTo>
                  <a:cubicBezTo>
                    <a:pt x="2834" y="756501"/>
                    <a:pt x="5872" y="750425"/>
                    <a:pt x="14985" y="744349"/>
                  </a:cubicBezTo>
                  <a:cubicBezTo>
                    <a:pt x="18023" y="741311"/>
                    <a:pt x="21821" y="740552"/>
                    <a:pt x="25999" y="741691"/>
                  </a:cubicBezTo>
                  <a:close/>
                  <a:moveTo>
                    <a:pt x="329796" y="735615"/>
                  </a:moveTo>
                  <a:cubicBezTo>
                    <a:pt x="333974" y="736754"/>
                    <a:pt x="338531" y="739792"/>
                    <a:pt x="343088" y="744349"/>
                  </a:cubicBezTo>
                  <a:cubicBezTo>
                    <a:pt x="352202" y="753463"/>
                    <a:pt x="346126" y="762578"/>
                    <a:pt x="337012" y="768654"/>
                  </a:cubicBezTo>
                  <a:cubicBezTo>
                    <a:pt x="330935" y="771692"/>
                    <a:pt x="318783" y="774730"/>
                    <a:pt x="312707" y="762578"/>
                  </a:cubicBezTo>
                  <a:cubicBezTo>
                    <a:pt x="306631" y="747387"/>
                    <a:pt x="306631" y="741311"/>
                    <a:pt x="318783" y="738273"/>
                  </a:cubicBezTo>
                  <a:cubicBezTo>
                    <a:pt x="321821" y="735235"/>
                    <a:pt x="325619" y="734476"/>
                    <a:pt x="329796" y="735615"/>
                  </a:cubicBezTo>
                  <a:close/>
                  <a:moveTo>
                    <a:pt x="442198" y="702197"/>
                  </a:moveTo>
                  <a:cubicBezTo>
                    <a:pt x="446375" y="703336"/>
                    <a:pt x="450932" y="706374"/>
                    <a:pt x="455488" y="710931"/>
                  </a:cubicBezTo>
                  <a:cubicBezTo>
                    <a:pt x="464602" y="720045"/>
                    <a:pt x="458526" y="729160"/>
                    <a:pt x="449413" y="735236"/>
                  </a:cubicBezTo>
                  <a:cubicBezTo>
                    <a:pt x="443338" y="738274"/>
                    <a:pt x="431186" y="741312"/>
                    <a:pt x="425110" y="729160"/>
                  </a:cubicBezTo>
                  <a:cubicBezTo>
                    <a:pt x="419035" y="717007"/>
                    <a:pt x="422073" y="710931"/>
                    <a:pt x="431186" y="704855"/>
                  </a:cubicBezTo>
                  <a:cubicBezTo>
                    <a:pt x="434224" y="701817"/>
                    <a:pt x="438021" y="701058"/>
                    <a:pt x="442198" y="702197"/>
                  </a:cubicBezTo>
                  <a:close/>
                  <a:moveTo>
                    <a:pt x="542453" y="668778"/>
                  </a:moveTo>
                  <a:cubicBezTo>
                    <a:pt x="546631" y="669917"/>
                    <a:pt x="551188" y="672955"/>
                    <a:pt x="555745" y="677512"/>
                  </a:cubicBezTo>
                  <a:cubicBezTo>
                    <a:pt x="564859" y="686627"/>
                    <a:pt x="558783" y="695741"/>
                    <a:pt x="549669" y="701817"/>
                  </a:cubicBezTo>
                  <a:cubicBezTo>
                    <a:pt x="543593" y="704855"/>
                    <a:pt x="531440" y="707893"/>
                    <a:pt x="525364" y="695741"/>
                  </a:cubicBezTo>
                  <a:cubicBezTo>
                    <a:pt x="519291" y="683589"/>
                    <a:pt x="522328" y="677512"/>
                    <a:pt x="531440" y="671436"/>
                  </a:cubicBezTo>
                  <a:cubicBezTo>
                    <a:pt x="534478" y="668398"/>
                    <a:pt x="538276" y="667639"/>
                    <a:pt x="542453" y="668778"/>
                  </a:cubicBezTo>
                  <a:close/>
                  <a:moveTo>
                    <a:pt x="132328" y="650549"/>
                  </a:moveTo>
                  <a:cubicBezTo>
                    <a:pt x="136506" y="651688"/>
                    <a:pt x="141063" y="654726"/>
                    <a:pt x="145620" y="659283"/>
                  </a:cubicBezTo>
                  <a:cubicBezTo>
                    <a:pt x="154734" y="668398"/>
                    <a:pt x="148658" y="677512"/>
                    <a:pt x="139544" y="683588"/>
                  </a:cubicBezTo>
                  <a:cubicBezTo>
                    <a:pt x="133468" y="686626"/>
                    <a:pt x="121315" y="689664"/>
                    <a:pt x="115239" y="677512"/>
                  </a:cubicBezTo>
                  <a:cubicBezTo>
                    <a:pt x="109163" y="662321"/>
                    <a:pt x="112201" y="656245"/>
                    <a:pt x="121315" y="653207"/>
                  </a:cubicBezTo>
                  <a:cubicBezTo>
                    <a:pt x="124353" y="650169"/>
                    <a:pt x="128151" y="649410"/>
                    <a:pt x="132328" y="650549"/>
                  </a:cubicBezTo>
                  <a:close/>
                  <a:moveTo>
                    <a:pt x="642709" y="641435"/>
                  </a:moveTo>
                  <a:cubicBezTo>
                    <a:pt x="646887" y="642574"/>
                    <a:pt x="651444" y="645612"/>
                    <a:pt x="656001" y="650169"/>
                  </a:cubicBezTo>
                  <a:cubicBezTo>
                    <a:pt x="665115" y="659283"/>
                    <a:pt x="659039" y="668398"/>
                    <a:pt x="649925" y="674474"/>
                  </a:cubicBezTo>
                  <a:cubicBezTo>
                    <a:pt x="643849" y="677512"/>
                    <a:pt x="631696" y="680550"/>
                    <a:pt x="625620" y="668398"/>
                  </a:cubicBezTo>
                  <a:cubicBezTo>
                    <a:pt x="619544" y="653207"/>
                    <a:pt x="622582" y="647131"/>
                    <a:pt x="631696" y="644093"/>
                  </a:cubicBezTo>
                  <a:cubicBezTo>
                    <a:pt x="634734" y="641055"/>
                    <a:pt x="638532" y="640296"/>
                    <a:pt x="642709" y="641435"/>
                  </a:cubicBezTo>
                  <a:close/>
                  <a:moveTo>
                    <a:pt x="235618" y="641435"/>
                  </a:moveTo>
                  <a:cubicBezTo>
                    <a:pt x="239795" y="642574"/>
                    <a:pt x="244352" y="645612"/>
                    <a:pt x="248910" y="650169"/>
                  </a:cubicBezTo>
                  <a:cubicBezTo>
                    <a:pt x="258024" y="659283"/>
                    <a:pt x="251948" y="668398"/>
                    <a:pt x="242833" y="674474"/>
                  </a:cubicBezTo>
                  <a:cubicBezTo>
                    <a:pt x="236757" y="677512"/>
                    <a:pt x="224605" y="680550"/>
                    <a:pt x="218529" y="668398"/>
                  </a:cubicBezTo>
                  <a:cubicBezTo>
                    <a:pt x="215491" y="656245"/>
                    <a:pt x="215491" y="647131"/>
                    <a:pt x="224605" y="644093"/>
                  </a:cubicBezTo>
                  <a:cubicBezTo>
                    <a:pt x="227643" y="641055"/>
                    <a:pt x="231440" y="640296"/>
                    <a:pt x="235618" y="641435"/>
                  </a:cubicBezTo>
                  <a:close/>
                  <a:moveTo>
                    <a:pt x="338904" y="629283"/>
                  </a:moveTo>
                  <a:cubicBezTo>
                    <a:pt x="343081" y="630422"/>
                    <a:pt x="347639" y="633460"/>
                    <a:pt x="352196" y="638017"/>
                  </a:cubicBezTo>
                  <a:cubicBezTo>
                    <a:pt x="361310" y="647131"/>
                    <a:pt x="355234" y="656246"/>
                    <a:pt x="346120" y="662322"/>
                  </a:cubicBezTo>
                  <a:cubicBezTo>
                    <a:pt x="340044" y="665360"/>
                    <a:pt x="327891" y="668398"/>
                    <a:pt x="321815" y="656246"/>
                  </a:cubicBezTo>
                  <a:cubicBezTo>
                    <a:pt x="315739" y="641055"/>
                    <a:pt x="318777" y="634979"/>
                    <a:pt x="327891" y="631941"/>
                  </a:cubicBezTo>
                  <a:cubicBezTo>
                    <a:pt x="330929" y="628903"/>
                    <a:pt x="334726" y="628144"/>
                    <a:pt x="338904" y="629283"/>
                  </a:cubicBezTo>
                  <a:close/>
                  <a:moveTo>
                    <a:pt x="32070" y="601940"/>
                  </a:moveTo>
                  <a:cubicBezTo>
                    <a:pt x="36247" y="603079"/>
                    <a:pt x="40804" y="606117"/>
                    <a:pt x="45361" y="610674"/>
                  </a:cubicBezTo>
                  <a:cubicBezTo>
                    <a:pt x="54475" y="619788"/>
                    <a:pt x="48399" y="628903"/>
                    <a:pt x="39285" y="634979"/>
                  </a:cubicBezTo>
                  <a:cubicBezTo>
                    <a:pt x="33209" y="638017"/>
                    <a:pt x="21056" y="641055"/>
                    <a:pt x="14981" y="628903"/>
                  </a:cubicBezTo>
                  <a:cubicBezTo>
                    <a:pt x="8905" y="616750"/>
                    <a:pt x="11943" y="607636"/>
                    <a:pt x="21056" y="604598"/>
                  </a:cubicBezTo>
                  <a:cubicBezTo>
                    <a:pt x="24094" y="601560"/>
                    <a:pt x="27892" y="600801"/>
                    <a:pt x="32070" y="601940"/>
                  </a:cubicBezTo>
                  <a:close/>
                  <a:moveTo>
                    <a:pt x="752079" y="586750"/>
                  </a:moveTo>
                  <a:cubicBezTo>
                    <a:pt x="756257" y="587889"/>
                    <a:pt x="760814" y="590927"/>
                    <a:pt x="765371" y="595484"/>
                  </a:cubicBezTo>
                  <a:cubicBezTo>
                    <a:pt x="774485" y="604598"/>
                    <a:pt x="768409" y="613713"/>
                    <a:pt x="759295" y="619789"/>
                  </a:cubicBezTo>
                  <a:cubicBezTo>
                    <a:pt x="753218" y="622827"/>
                    <a:pt x="741066" y="625865"/>
                    <a:pt x="734990" y="613713"/>
                  </a:cubicBezTo>
                  <a:cubicBezTo>
                    <a:pt x="728914" y="601560"/>
                    <a:pt x="731952" y="595484"/>
                    <a:pt x="741066" y="589408"/>
                  </a:cubicBezTo>
                  <a:cubicBezTo>
                    <a:pt x="744104" y="586370"/>
                    <a:pt x="747902" y="585611"/>
                    <a:pt x="752079" y="586750"/>
                  </a:cubicBezTo>
                  <a:close/>
                  <a:moveTo>
                    <a:pt x="436123" y="583712"/>
                  </a:moveTo>
                  <a:cubicBezTo>
                    <a:pt x="440300" y="584851"/>
                    <a:pt x="444857" y="587889"/>
                    <a:pt x="449413" y="592446"/>
                  </a:cubicBezTo>
                  <a:cubicBezTo>
                    <a:pt x="458525" y="601560"/>
                    <a:pt x="452450" y="610675"/>
                    <a:pt x="443339" y="616751"/>
                  </a:cubicBezTo>
                  <a:cubicBezTo>
                    <a:pt x="437263" y="619789"/>
                    <a:pt x="425114" y="622827"/>
                    <a:pt x="419039" y="610675"/>
                  </a:cubicBezTo>
                  <a:cubicBezTo>
                    <a:pt x="416003" y="598522"/>
                    <a:pt x="416003" y="592446"/>
                    <a:pt x="425114" y="586370"/>
                  </a:cubicBezTo>
                  <a:cubicBezTo>
                    <a:pt x="428151" y="583332"/>
                    <a:pt x="431946" y="582573"/>
                    <a:pt x="436123" y="583712"/>
                  </a:cubicBezTo>
                  <a:close/>
                  <a:moveTo>
                    <a:pt x="548529" y="556370"/>
                  </a:moveTo>
                  <a:cubicBezTo>
                    <a:pt x="552707" y="557509"/>
                    <a:pt x="557264" y="560547"/>
                    <a:pt x="561821" y="565104"/>
                  </a:cubicBezTo>
                  <a:cubicBezTo>
                    <a:pt x="570935" y="574218"/>
                    <a:pt x="564859" y="583333"/>
                    <a:pt x="555745" y="589409"/>
                  </a:cubicBezTo>
                  <a:cubicBezTo>
                    <a:pt x="549669" y="592447"/>
                    <a:pt x="537516" y="595485"/>
                    <a:pt x="531440" y="583333"/>
                  </a:cubicBezTo>
                  <a:cubicBezTo>
                    <a:pt x="525364" y="571180"/>
                    <a:pt x="528402" y="565104"/>
                    <a:pt x="537516" y="559028"/>
                  </a:cubicBezTo>
                  <a:cubicBezTo>
                    <a:pt x="540554" y="555990"/>
                    <a:pt x="544352" y="555231"/>
                    <a:pt x="548529" y="556370"/>
                  </a:cubicBezTo>
                  <a:close/>
                  <a:moveTo>
                    <a:pt x="852335" y="550293"/>
                  </a:moveTo>
                  <a:cubicBezTo>
                    <a:pt x="856513" y="551432"/>
                    <a:pt x="861070" y="554470"/>
                    <a:pt x="865627" y="559027"/>
                  </a:cubicBezTo>
                  <a:cubicBezTo>
                    <a:pt x="874741" y="568141"/>
                    <a:pt x="868665" y="577256"/>
                    <a:pt x="859551" y="583332"/>
                  </a:cubicBezTo>
                  <a:cubicBezTo>
                    <a:pt x="853475" y="586370"/>
                    <a:pt x="841322" y="589408"/>
                    <a:pt x="835246" y="577256"/>
                  </a:cubicBezTo>
                  <a:cubicBezTo>
                    <a:pt x="829170" y="565103"/>
                    <a:pt x="832208" y="559027"/>
                    <a:pt x="841322" y="552951"/>
                  </a:cubicBezTo>
                  <a:cubicBezTo>
                    <a:pt x="844360" y="549913"/>
                    <a:pt x="848158" y="549154"/>
                    <a:pt x="852335" y="550293"/>
                  </a:cubicBezTo>
                  <a:close/>
                  <a:moveTo>
                    <a:pt x="667013" y="532065"/>
                  </a:moveTo>
                  <a:cubicBezTo>
                    <a:pt x="671191" y="533204"/>
                    <a:pt x="675748" y="536242"/>
                    <a:pt x="680305" y="540799"/>
                  </a:cubicBezTo>
                  <a:cubicBezTo>
                    <a:pt x="689419" y="549914"/>
                    <a:pt x="683343" y="559028"/>
                    <a:pt x="674229" y="565104"/>
                  </a:cubicBezTo>
                  <a:cubicBezTo>
                    <a:pt x="668153" y="568142"/>
                    <a:pt x="656000" y="571180"/>
                    <a:pt x="649924" y="559028"/>
                  </a:cubicBezTo>
                  <a:cubicBezTo>
                    <a:pt x="643848" y="546876"/>
                    <a:pt x="646886" y="540799"/>
                    <a:pt x="656000" y="534723"/>
                  </a:cubicBezTo>
                  <a:cubicBezTo>
                    <a:pt x="659038" y="531685"/>
                    <a:pt x="662836" y="530926"/>
                    <a:pt x="667013" y="532065"/>
                  </a:cubicBezTo>
                  <a:close/>
                  <a:moveTo>
                    <a:pt x="126251" y="532065"/>
                  </a:moveTo>
                  <a:cubicBezTo>
                    <a:pt x="130428" y="533204"/>
                    <a:pt x="134985" y="536242"/>
                    <a:pt x="139543" y="540799"/>
                  </a:cubicBezTo>
                  <a:cubicBezTo>
                    <a:pt x="148657" y="549914"/>
                    <a:pt x="142581" y="559028"/>
                    <a:pt x="133467" y="565104"/>
                  </a:cubicBezTo>
                  <a:cubicBezTo>
                    <a:pt x="127390" y="568142"/>
                    <a:pt x="115238" y="571180"/>
                    <a:pt x="109162" y="559028"/>
                  </a:cubicBezTo>
                  <a:cubicBezTo>
                    <a:pt x="103086" y="546876"/>
                    <a:pt x="103086" y="540799"/>
                    <a:pt x="115238" y="534723"/>
                  </a:cubicBezTo>
                  <a:cubicBezTo>
                    <a:pt x="118276" y="531685"/>
                    <a:pt x="122073" y="530926"/>
                    <a:pt x="126251" y="532065"/>
                  </a:cubicBezTo>
                  <a:close/>
                  <a:moveTo>
                    <a:pt x="226503" y="529027"/>
                  </a:moveTo>
                  <a:cubicBezTo>
                    <a:pt x="230680" y="530166"/>
                    <a:pt x="235237" y="533204"/>
                    <a:pt x="239794" y="537761"/>
                  </a:cubicBezTo>
                  <a:cubicBezTo>
                    <a:pt x="248908" y="546876"/>
                    <a:pt x="242832" y="555990"/>
                    <a:pt x="233718" y="562066"/>
                  </a:cubicBezTo>
                  <a:cubicBezTo>
                    <a:pt x="227641" y="565104"/>
                    <a:pt x="215490" y="568142"/>
                    <a:pt x="209414" y="555990"/>
                  </a:cubicBezTo>
                  <a:cubicBezTo>
                    <a:pt x="203338" y="540799"/>
                    <a:pt x="203338" y="534723"/>
                    <a:pt x="215490" y="531685"/>
                  </a:cubicBezTo>
                  <a:cubicBezTo>
                    <a:pt x="218528" y="528647"/>
                    <a:pt x="222325" y="527888"/>
                    <a:pt x="226503" y="529027"/>
                  </a:cubicBezTo>
                  <a:close/>
                  <a:moveTo>
                    <a:pt x="332836" y="519913"/>
                  </a:moveTo>
                  <a:cubicBezTo>
                    <a:pt x="337014" y="521052"/>
                    <a:pt x="341571" y="524090"/>
                    <a:pt x="346128" y="528647"/>
                  </a:cubicBezTo>
                  <a:cubicBezTo>
                    <a:pt x="355242" y="537761"/>
                    <a:pt x="349166" y="546876"/>
                    <a:pt x="340052" y="552952"/>
                  </a:cubicBezTo>
                  <a:cubicBezTo>
                    <a:pt x="333976" y="555990"/>
                    <a:pt x="321823" y="559028"/>
                    <a:pt x="315748" y="546876"/>
                  </a:cubicBezTo>
                  <a:cubicBezTo>
                    <a:pt x="309671" y="531685"/>
                    <a:pt x="312709" y="525609"/>
                    <a:pt x="321823" y="522571"/>
                  </a:cubicBezTo>
                  <a:cubicBezTo>
                    <a:pt x="324861" y="519533"/>
                    <a:pt x="328659" y="518774"/>
                    <a:pt x="332836" y="519913"/>
                  </a:cubicBezTo>
                  <a:close/>
                  <a:moveTo>
                    <a:pt x="7768" y="507761"/>
                  </a:moveTo>
                  <a:cubicBezTo>
                    <a:pt x="11946" y="508900"/>
                    <a:pt x="16503" y="511938"/>
                    <a:pt x="21060" y="516495"/>
                  </a:cubicBezTo>
                  <a:cubicBezTo>
                    <a:pt x="30174" y="525609"/>
                    <a:pt x="24098" y="534724"/>
                    <a:pt x="14984" y="540800"/>
                  </a:cubicBezTo>
                  <a:cubicBezTo>
                    <a:pt x="11946" y="542319"/>
                    <a:pt x="7388" y="543838"/>
                    <a:pt x="2831" y="543458"/>
                  </a:cubicBezTo>
                  <a:lnTo>
                    <a:pt x="0" y="541423"/>
                  </a:lnTo>
                  <a:lnTo>
                    <a:pt x="0" y="509636"/>
                  </a:lnTo>
                  <a:close/>
                  <a:moveTo>
                    <a:pt x="946515" y="486494"/>
                  </a:moveTo>
                  <a:cubicBezTo>
                    <a:pt x="950693" y="487633"/>
                    <a:pt x="955250" y="490671"/>
                    <a:pt x="959807" y="495228"/>
                  </a:cubicBezTo>
                  <a:cubicBezTo>
                    <a:pt x="968921" y="504343"/>
                    <a:pt x="962845" y="513457"/>
                    <a:pt x="953731" y="519533"/>
                  </a:cubicBezTo>
                  <a:cubicBezTo>
                    <a:pt x="947655" y="522571"/>
                    <a:pt x="935502" y="525609"/>
                    <a:pt x="929426" y="513457"/>
                  </a:cubicBezTo>
                  <a:cubicBezTo>
                    <a:pt x="923350" y="501305"/>
                    <a:pt x="926388" y="492190"/>
                    <a:pt x="935502" y="489152"/>
                  </a:cubicBezTo>
                  <a:cubicBezTo>
                    <a:pt x="938540" y="486114"/>
                    <a:pt x="942338" y="485355"/>
                    <a:pt x="946515" y="486494"/>
                  </a:cubicBezTo>
                  <a:close/>
                  <a:moveTo>
                    <a:pt x="457386" y="483456"/>
                  </a:moveTo>
                  <a:cubicBezTo>
                    <a:pt x="461563" y="484595"/>
                    <a:pt x="466121" y="487633"/>
                    <a:pt x="470679" y="492190"/>
                  </a:cubicBezTo>
                  <a:cubicBezTo>
                    <a:pt x="479793" y="501305"/>
                    <a:pt x="473717" y="510419"/>
                    <a:pt x="464601" y="516495"/>
                  </a:cubicBezTo>
                  <a:cubicBezTo>
                    <a:pt x="458525" y="519533"/>
                    <a:pt x="446374" y="522571"/>
                    <a:pt x="440300" y="510419"/>
                  </a:cubicBezTo>
                  <a:cubicBezTo>
                    <a:pt x="437261" y="495228"/>
                    <a:pt x="437261" y="489152"/>
                    <a:pt x="446374" y="486114"/>
                  </a:cubicBezTo>
                  <a:cubicBezTo>
                    <a:pt x="449412" y="483076"/>
                    <a:pt x="453209" y="482317"/>
                    <a:pt x="457386" y="483456"/>
                  </a:cubicBezTo>
                  <a:close/>
                  <a:moveTo>
                    <a:pt x="821954" y="456114"/>
                  </a:moveTo>
                  <a:cubicBezTo>
                    <a:pt x="826132" y="457253"/>
                    <a:pt x="830689" y="460291"/>
                    <a:pt x="835246" y="464848"/>
                  </a:cubicBezTo>
                  <a:cubicBezTo>
                    <a:pt x="844360" y="473963"/>
                    <a:pt x="838284" y="483077"/>
                    <a:pt x="829170" y="489153"/>
                  </a:cubicBezTo>
                  <a:cubicBezTo>
                    <a:pt x="823094" y="492191"/>
                    <a:pt x="810941" y="495229"/>
                    <a:pt x="804865" y="483077"/>
                  </a:cubicBezTo>
                  <a:cubicBezTo>
                    <a:pt x="798789" y="470925"/>
                    <a:pt x="801827" y="464848"/>
                    <a:pt x="810941" y="458772"/>
                  </a:cubicBezTo>
                  <a:cubicBezTo>
                    <a:pt x="813979" y="455734"/>
                    <a:pt x="817777" y="454975"/>
                    <a:pt x="821954" y="456114"/>
                  </a:cubicBezTo>
                  <a:close/>
                  <a:moveTo>
                    <a:pt x="584986" y="456114"/>
                  </a:moveTo>
                  <a:cubicBezTo>
                    <a:pt x="589164" y="457253"/>
                    <a:pt x="593721" y="460291"/>
                    <a:pt x="598278" y="464848"/>
                  </a:cubicBezTo>
                  <a:cubicBezTo>
                    <a:pt x="607392" y="473963"/>
                    <a:pt x="601316" y="483077"/>
                    <a:pt x="592202" y="489153"/>
                  </a:cubicBezTo>
                  <a:cubicBezTo>
                    <a:pt x="586125" y="492191"/>
                    <a:pt x="573973" y="495229"/>
                    <a:pt x="567897" y="483077"/>
                  </a:cubicBezTo>
                  <a:cubicBezTo>
                    <a:pt x="561821" y="467886"/>
                    <a:pt x="564859" y="461810"/>
                    <a:pt x="573973" y="458772"/>
                  </a:cubicBezTo>
                  <a:cubicBezTo>
                    <a:pt x="577011" y="455734"/>
                    <a:pt x="580809" y="454975"/>
                    <a:pt x="584986" y="456114"/>
                  </a:cubicBezTo>
                  <a:close/>
                  <a:moveTo>
                    <a:pt x="718660" y="443961"/>
                  </a:moveTo>
                  <a:cubicBezTo>
                    <a:pt x="722838" y="445100"/>
                    <a:pt x="727395" y="448138"/>
                    <a:pt x="731952" y="452695"/>
                  </a:cubicBezTo>
                  <a:cubicBezTo>
                    <a:pt x="741066" y="461809"/>
                    <a:pt x="734990" y="470924"/>
                    <a:pt x="725876" y="477000"/>
                  </a:cubicBezTo>
                  <a:cubicBezTo>
                    <a:pt x="719800" y="480038"/>
                    <a:pt x="707647" y="483076"/>
                    <a:pt x="701571" y="470924"/>
                  </a:cubicBezTo>
                  <a:cubicBezTo>
                    <a:pt x="695495" y="458771"/>
                    <a:pt x="698533" y="449657"/>
                    <a:pt x="707647" y="446619"/>
                  </a:cubicBezTo>
                  <a:cubicBezTo>
                    <a:pt x="710685" y="443581"/>
                    <a:pt x="714483" y="442822"/>
                    <a:pt x="718660" y="443961"/>
                  </a:cubicBezTo>
                  <a:close/>
                  <a:moveTo>
                    <a:pt x="1016390" y="425733"/>
                  </a:moveTo>
                  <a:cubicBezTo>
                    <a:pt x="1020567" y="426872"/>
                    <a:pt x="1025124" y="429910"/>
                    <a:pt x="1029681" y="434467"/>
                  </a:cubicBezTo>
                  <a:cubicBezTo>
                    <a:pt x="1038796" y="443582"/>
                    <a:pt x="1032720" y="452696"/>
                    <a:pt x="1023605" y="458772"/>
                  </a:cubicBezTo>
                  <a:cubicBezTo>
                    <a:pt x="1017529" y="461810"/>
                    <a:pt x="1005377" y="464848"/>
                    <a:pt x="999301" y="452696"/>
                  </a:cubicBezTo>
                  <a:cubicBezTo>
                    <a:pt x="993225" y="437505"/>
                    <a:pt x="999301" y="434467"/>
                    <a:pt x="1005377" y="428391"/>
                  </a:cubicBezTo>
                  <a:cubicBezTo>
                    <a:pt x="1008415" y="425353"/>
                    <a:pt x="1012213" y="424594"/>
                    <a:pt x="1016390" y="425733"/>
                  </a:cubicBezTo>
                  <a:close/>
                  <a:moveTo>
                    <a:pt x="250806" y="416619"/>
                  </a:moveTo>
                  <a:cubicBezTo>
                    <a:pt x="254983" y="417758"/>
                    <a:pt x="259540" y="420796"/>
                    <a:pt x="264098" y="425353"/>
                  </a:cubicBezTo>
                  <a:cubicBezTo>
                    <a:pt x="273212" y="434467"/>
                    <a:pt x="267136" y="443582"/>
                    <a:pt x="258022" y="449658"/>
                  </a:cubicBezTo>
                  <a:cubicBezTo>
                    <a:pt x="251944" y="452696"/>
                    <a:pt x="239793" y="455734"/>
                    <a:pt x="233717" y="443582"/>
                  </a:cubicBezTo>
                  <a:cubicBezTo>
                    <a:pt x="227641" y="431429"/>
                    <a:pt x="230679" y="425353"/>
                    <a:pt x="239793" y="419277"/>
                  </a:cubicBezTo>
                  <a:cubicBezTo>
                    <a:pt x="242831" y="416239"/>
                    <a:pt x="246628" y="415480"/>
                    <a:pt x="250806" y="416619"/>
                  </a:cubicBezTo>
                  <a:close/>
                  <a:moveTo>
                    <a:pt x="144467" y="416619"/>
                  </a:moveTo>
                  <a:cubicBezTo>
                    <a:pt x="148645" y="417758"/>
                    <a:pt x="153202" y="420796"/>
                    <a:pt x="157759" y="425353"/>
                  </a:cubicBezTo>
                  <a:cubicBezTo>
                    <a:pt x="166873" y="434467"/>
                    <a:pt x="160797" y="443582"/>
                    <a:pt x="151683" y="449658"/>
                  </a:cubicBezTo>
                  <a:cubicBezTo>
                    <a:pt x="145606" y="452696"/>
                    <a:pt x="133454" y="455734"/>
                    <a:pt x="127378" y="443582"/>
                  </a:cubicBezTo>
                  <a:cubicBezTo>
                    <a:pt x="121302" y="431429"/>
                    <a:pt x="124340" y="425353"/>
                    <a:pt x="133454" y="419277"/>
                  </a:cubicBezTo>
                  <a:cubicBezTo>
                    <a:pt x="136492" y="416239"/>
                    <a:pt x="140290" y="415480"/>
                    <a:pt x="144467" y="416619"/>
                  </a:cubicBezTo>
                  <a:close/>
                  <a:moveTo>
                    <a:pt x="29033" y="416619"/>
                  </a:moveTo>
                  <a:cubicBezTo>
                    <a:pt x="33210" y="417758"/>
                    <a:pt x="37767" y="420796"/>
                    <a:pt x="42324" y="425353"/>
                  </a:cubicBezTo>
                  <a:cubicBezTo>
                    <a:pt x="51438" y="434467"/>
                    <a:pt x="45362" y="443582"/>
                    <a:pt x="36248" y="449658"/>
                  </a:cubicBezTo>
                  <a:cubicBezTo>
                    <a:pt x="30173" y="452696"/>
                    <a:pt x="18020" y="455734"/>
                    <a:pt x="11944" y="443582"/>
                  </a:cubicBezTo>
                  <a:cubicBezTo>
                    <a:pt x="5868" y="431429"/>
                    <a:pt x="8906" y="425353"/>
                    <a:pt x="18020" y="419277"/>
                  </a:cubicBezTo>
                  <a:cubicBezTo>
                    <a:pt x="21058" y="416239"/>
                    <a:pt x="24855" y="415480"/>
                    <a:pt x="29033" y="416619"/>
                  </a:cubicBezTo>
                  <a:close/>
                  <a:moveTo>
                    <a:pt x="360172" y="410543"/>
                  </a:moveTo>
                  <a:cubicBezTo>
                    <a:pt x="364349" y="411682"/>
                    <a:pt x="368907" y="414720"/>
                    <a:pt x="373464" y="419277"/>
                  </a:cubicBezTo>
                  <a:cubicBezTo>
                    <a:pt x="382577" y="428392"/>
                    <a:pt x="376502" y="437506"/>
                    <a:pt x="367388" y="443582"/>
                  </a:cubicBezTo>
                  <a:cubicBezTo>
                    <a:pt x="361312" y="446620"/>
                    <a:pt x="349159" y="449658"/>
                    <a:pt x="343083" y="437506"/>
                  </a:cubicBezTo>
                  <a:cubicBezTo>
                    <a:pt x="337007" y="425354"/>
                    <a:pt x="340045" y="419277"/>
                    <a:pt x="349159" y="413201"/>
                  </a:cubicBezTo>
                  <a:cubicBezTo>
                    <a:pt x="352197" y="410163"/>
                    <a:pt x="355995" y="409404"/>
                    <a:pt x="360172" y="410543"/>
                  </a:cubicBezTo>
                  <a:close/>
                  <a:moveTo>
                    <a:pt x="1110570" y="389276"/>
                  </a:moveTo>
                  <a:cubicBezTo>
                    <a:pt x="1114748" y="390415"/>
                    <a:pt x="1119305" y="393453"/>
                    <a:pt x="1123862" y="398010"/>
                  </a:cubicBezTo>
                  <a:cubicBezTo>
                    <a:pt x="1132976" y="407124"/>
                    <a:pt x="1126900" y="416239"/>
                    <a:pt x="1117786" y="422315"/>
                  </a:cubicBezTo>
                  <a:cubicBezTo>
                    <a:pt x="1111710" y="425353"/>
                    <a:pt x="1099557" y="428391"/>
                    <a:pt x="1093481" y="416239"/>
                  </a:cubicBezTo>
                  <a:cubicBezTo>
                    <a:pt x="1087405" y="401048"/>
                    <a:pt x="1090443" y="394972"/>
                    <a:pt x="1099557" y="391934"/>
                  </a:cubicBezTo>
                  <a:cubicBezTo>
                    <a:pt x="1102595" y="388896"/>
                    <a:pt x="1106393" y="388137"/>
                    <a:pt x="1110570" y="389276"/>
                  </a:cubicBezTo>
                  <a:close/>
                  <a:moveTo>
                    <a:pt x="490806" y="383200"/>
                  </a:moveTo>
                  <a:cubicBezTo>
                    <a:pt x="494984" y="384339"/>
                    <a:pt x="499541" y="387377"/>
                    <a:pt x="504098" y="391934"/>
                  </a:cubicBezTo>
                  <a:cubicBezTo>
                    <a:pt x="513212" y="401048"/>
                    <a:pt x="507136" y="410163"/>
                    <a:pt x="498022" y="416239"/>
                  </a:cubicBezTo>
                  <a:cubicBezTo>
                    <a:pt x="491946" y="419277"/>
                    <a:pt x="479793" y="422315"/>
                    <a:pt x="473717" y="410163"/>
                  </a:cubicBezTo>
                  <a:cubicBezTo>
                    <a:pt x="467641" y="394972"/>
                    <a:pt x="470679" y="388896"/>
                    <a:pt x="479793" y="385858"/>
                  </a:cubicBezTo>
                  <a:cubicBezTo>
                    <a:pt x="482831" y="382820"/>
                    <a:pt x="486629" y="382061"/>
                    <a:pt x="490806" y="383200"/>
                  </a:cubicBezTo>
                  <a:close/>
                  <a:moveTo>
                    <a:pt x="900944" y="380162"/>
                  </a:moveTo>
                  <a:cubicBezTo>
                    <a:pt x="905122" y="381301"/>
                    <a:pt x="909679" y="384339"/>
                    <a:pt x="914236" y="388896"/>
                  </a:cubicBezTo>
                  <a:cubicBezTo>
                    <a:pt x="923350" y="398011"/>
                    <a:pt x="917274" y="407125"/>
                    <a:pt x="908160" y="413201"/>
                  </a:cubicBezTo>
                  <a:cubicBezTo>
                    <a:pt x="902084" y="416239"/>
                    <a:pt x="889931" y="419277"/>
                    <a:pt x="883855" y="407125"/>
                  </a:cubicBezTo>
                  <a:cubicBezTo>
                    <a:pt x="877779" y="394973"/>
                    <a:pt x="880817" y="388896"/>
                    <a:pt x="889931" y="382820"/>
                  </a:cubicBezTo>
                  <a:cubicBezTo>
                    <a:pt x="892969" y="379782"/>
                    <a:pt x="896767" y="379023"/>
                    <a:pt x="900944" y="380162"/>
                  </a:cubicBezTo>
                  <a:close/>
                  <a:moveTo>
                    <a:pt x="618404" y="361934"/>
                  </a:moveTo>
                  <a:cubicBezTo>
                    <a:pt x="622582" y="363073"/>
                    <a:pt x="627139" y="366111"/>
                    <a:pt x="631696" y="370668"/>
                  </a:cubicBezTo>
                  <a:cubicBezTo>
                    <a:pt x="640810" y="379783"/>
                    <a:pt x="634734" y="388897"/>
                    <a:pt x="625620" y="394973"/>
                  </a:cubicBezTo>
                  <a:cubicBezTo>
                    <a:pt x="619544" y="398011"/>
                    <a:pt x="607391" y="401049"/>
                    <a:pt x="601315" y="388897"/>
                  </a:cubicBezTo>
                  <a:cubicBezTo>
                    <a:pt x="595239" y="376744"/>
                    <a:pt x="598277" y="370668"/>
                    <a:pt x="607391" y="364592"/>
                  </a:cubicBezTo>
                  <a:cubicBezTo>
                    <a:pt x="610429" y="361554"/>
                    <a:pt x="614227" y="360795"/>
                    <a:pt x="618404" y="361934"/>
                  </a:cubicBezTo>
                  <a:close/>
                  <a:moveTo>
                    <a:pt x="749041" y="355858"/>
                  </a:moveTo>
                  <a:cubicBezTo>
                    <a:pt x="753219" y="356997"/>
                    <a:pt x="757776" y="360035"/>
                    <a:pt x="762333" y="364592"/>
                  </a:cubicBezTo>
                  <a:cubicBezTo>
                    <a:pt x="771447" y="373706"/>
                    <a:pt x="765371" y="382821"/>
                    <a:pt x="756257" y="388897"/>
                  </a:cubicBezTo>
                  <a:cubicBezTo>
                    <a:pt x="750181" y="391935"/>
                    <a:pt x="738028" y="394973"/>
                    <a:pt x="731952" y="382821"/>
                  </a:cubicBezTo>
                  <a:cubicBezTo>
                    <a:pt x="725876" y="367630"/>
                    <a:pt x="728914" y="361554"/>
                    <a:pt x="738028" y="358516"/>
                  </a:cubicBezTo>
                  <a:cubicBezTo>
                    <a:pt x="741066" y="355478"/>
                    <a:pt x="744864" y="354719"/>
                    <a:pt x="749041" y="355858"/>
                  </a:cubicBezTo>
                  <a:close/>
                  <a:moveTo>
                    <a:pt x="10801" y="334591"/>
                  </a:moveTo>
                  <a:cubicBezTo>
                    <a:pt x="14978" y="335730"/>
                    <a:pt x="19536" y="338768"/>
                    <a:pt x="24093" y="343325"/>
                  </a:cubicBezTo>
                  <a:cubicBezTo>
                    <a:pt x="33207" y="352440"/>
                    <a:pt x="24093" y="364592"/>
                    <a:pt x="18017" y="367630"/>
                  </a:cubicBezTo>
                  <a:cubicBezTo>
                    <a:pt x="14979" y="369149"/>
                    <a:pt x="10422" y="370668"/>
                    <a:pt x="5865" y="370288"/>
                  </a:cubicBezTo>
                  <a:lnTo>
                    <a:pt x="0" y="366073"/>
                  </a:lnTo>
                  <a:lnTo>
                    <a:pt x="0" y="337198"/>
                  </a:lnTo>
                  <a:close/>
                  <a:moveTo>
                    <a:pt x="1213864" y="313325"/>
                  </a:moveTo>
                  <a:cubicBezTo>
                    <a:pt x="1218042" y="314464"/>
                    <a:pt x="1222599" y="317502"/>
                    <a:pt x="1227156" y="322059"/>
                  </a:cubicBezTo>
                  <a:cubicBezTo>
                    <a:pt x="1236270" y="331173"/>
                    <a:pt x="1230194" y="340288"/>
                    <a:pt x="1221080" y="346364"/>
                  </a:cubicBezTo>
                  <a:cubicBezTo>
                    <a:pt x="1215004" y="349402"/>
                    <a:pt x="1202851" y="352440"/>
                    <a:pt x="1196775" y="340288"/>
                  </a:cubicBezTo>
                  <a:cubicBezTo>
                    <a:pt x="1190699" y="325097"/>
                    <a:pt x="1193737" y="319021"/>
                    <a:pt x="1202851" y="315983"/>
                  </a:cubicBezTo>
                  <a:cubicBezTo>
                    <a:pt x="1205889" y="312945"/>
                    <a:pt x="1209687" y="312186"/>
                    <a:pt x="1213864" y="313325"/>
                  </a:cubicBezTo>
                  <a:close/>
                  <a:moveTo>
                    <a:pt x="211313" y="313325"/>
                  </a:moveTo>
                  <a:cubicBezTo>
                    <a:pt x="215491" y="314464"/>
                    <a:pt x="220048" y="317502"/>
                    <a:pt x="224605" y="322059"/>
                  </a:cubicBezTo>
                  <a:cubicBezTo>
                    <a:pt x="233719" y="331173"/>
                    <a:pt x="227643" y="340288"/>
                    <a:pt x="218529" y="346364"/>
                  </a:cubicBezTo>
                  <a:cubicBezTo>
                    <a:pt x="212453" y="349402"/>
                    <a:pt x="200300" y="352440"/>
                    <a:pt x="194224" y="340288"/>
                  </a:cubicBezTo>
                  <a:cubicBezTo>
                    <a:pt x="188148" y="328135"/>
                    <a:pt x="191186" y="322059"/>
                    <a:pt x="200300" y="315983"/>
                  </a:cubicBezTo>
                  <a:cubicBezTo>
                    <a:pt x="203338" y="312945"/>
                    <a:pt x="207136" y="312186"/>
                    <a:pt x="211313" y="313325"/>
                  </a:cubicBezTo>
                  <a:close/>
                  <a:moveTo>
                    <a:pt x="314600" y="301172"/>
                  </a:moveTo>
                  <a:cubicBezTo>
                    <a:pt x="318778" y="302311"/>
                    <a:pt x="323335" y="305349"/>
                    <a:pt x="327892" y="309906"/>
                  </a:cubicBezTo>
                  <a:cubicBezTo>
                    <a:pt x="337006" y="319021"/>
                    <a:pt x="330930" y="328135"/>
                    <a:pt x="321816" y="334211"/>
                  </a:cubicBezTo>
                  <a:cubicBezTo>
                    <a:pt x="315740" y="337249"/>
                    <a:pt x="303587" y="340287"/>
                    <a:pt x="297511" y="328135"/>
                  </a:cubicBezTo>
                  <a:cubicBezTo>
                    <a:pt x="291435" y="315982"/>
                    <a:pt x="294473" y="309906"/>
                    <a:pt x="303587" y="303830"/>
                  </a:cubicBezTo>
                  <a:cubicBezTo>
                    <a:pt x="306625" y="300792"/>
                    <a:pt x="310423" y="300033"/>
                    <a:pt x="314600" y="301172"/>
                  </a:cubicBezTo>
                  <a:close/>
                  <a:moveTo>
                    <a:pt x="982972" y="298134"/>
                  </a:moveTo>
                  <a:cubicBezTo>
                    <a:pt x="987150" y="299273"/>
                    <a:pt x="991707" y="302311"/>
                    <a:pt x="996264" y="306868"/>
                  </a:cubicBezTo>
                  <a:cubicBezTo>
                    <a:pt x="1005378" y="315982"/>
                    <a:pt x="999302" y="325097"/>
                    <a:pt x="990188" y="331173"/>
                  </a:cubicBezTo>
                  <a:cubicBezTo>
                    <a:pt x="984111" y="334211"/>
                    <a:pt x="971959" y="337249"/>
                    <a:pt x="965883" y="325097"/>
                  </a:cubicBezTo>
                  <a:cubicBezTo>
                    <a:pt x="959807" y="312944"/>
                    <a:pt x="962845" y="306868"/>
                    <a:pt x="971959" y="300792"/>
                  </a:cubicBezTo>
                  <a:cubicBezTo>
                    <a:pt x="974997" y="297754"/>
                    <a:pt x="978795" y="296995"/>
                    <a:pt x="982972" y="298134"/>
                  </a:cubicBezTo>
                  <a:close/>
                  <a:moveTo>
                    <a:pt x="417898" y="298134"/>
                  </a:moveTo>
                  <a:cubicBezTo>
                    <a:pt x="422075" y="299273"/>
                    <a:pt x="426630" y="302311"/>
                    <a:pt x="431187" y="306868"/>
                  </a:cubicBezTo>
                  <a:cubicBezTo>
                    <a:pt x="440300" y="315982"/>
                    <a:pt x="434224" y="325097"/>
                    <a:pt x="425112" y="331173"/>
                  </a:cubicBezTo>
                  <a:cubicBezTo>
                    <a:pt x="419036" y="334211"/>
                    <a:pt x="406884" y="337249"/>
                    <a:pt x="400806" y="325097"/>
                  </a:cubicBezTo>
                  <a:cubicBezTo>
                    <a:pt x="394729" y="312944"/>
                    <a:pt x="394729" y="306868"/>
                    <a:pt x="406884" y="300792"/>
                  </a:cubicBezTo>
                  <a:cubicBezTo>
                    <a:pt x="409923" y="297754"/>
                    <a:pt x="413721" y="296995"/>
                    <a:pt x="417898" y="298134"/>
                  </a:cubicBezTo>
                  <a:close/>
                  <a:moveTo>
                    <a:pt x="858411" y="295096"/>
                  </a:moveTo>
                  <a:cubicBezTo>
                    <a:pt x="862589" y="296235"/>
                    <a:pt x="867146" y="299273"/>
                    <a:pt x="871703" y="303830"/>
                  </a:cubicBezTo>
                  <a:cubicBezTo>
                    <a:pt x="880817" y="312944"/>
                    <a:pt x="874741" y="322059"/>
                    <a:pt x="865627" y="328135"/>
                  </a:cubicBezTo>
                  <a:cubicBezTo>
                    <a:pt x="859550" y="331173"/>
                    <a:pt x="847398" y="334211"/>
                    <a:pt x="841322" y="322059"/>
                  </a:cubicBezTo>
                  <a:cubicBezTo>
                    <a:pt x="835246" y="309906"/>
                    <a:pt x="838284" y="303830"/>
                    <a:pt x="847398" y="297754"/>
                  </a:cubicBezTo>
                  <a:cubicBezTo>
                    <a:pt x="850436" y="294716"/>
                    <a:pt x="854234" y="293957"/>
                    <a:pt x="858411" y="295096"/>
                  </a:cubicBezTo>
                  <a:close/>
                  <a:moveTo>
                    <a:pt x="1095380" y="292058"/>
                  </a:moveTo>
                  <a:cubicBezTo>
                    <a:pt x="1099558" y="293197"/>
                    <a:pt x="1104115" y="296235"/>
                    <a:pt x="1108672" y="300792"/>
                  </a:cubicBezTo>
                  <a:cubicBezTo>
                    <a:pt x="1117786" y="309906"/>
                    <a:pt x="1111710" y="319021"/>
                    <a:pt x="1102596" y="325097"/>
                  </a:cubicBezTo>
                  <a:cubicBezTo>
                    <a:pt x="1096520" y="328135"/>
                    <a:pt x="1084367" y="331173"/>
                    <a:pt x="1078291" y="319021"/>
                  </a:cubicBezTo>
                  <a:cubicBezTo>
                    <a:pt x="1072215" y="303830"/>
                    <a:pt x="1075253" y="297754"/>
                    <a:pt x="1084367" y="294716"/>
                  </a:cubicBezTo>
                  <a:cubicBezTo>
                    <a:pt x="1087405" y="291678"/>
                    <a:pt x="1091203" y="290919"/>
                    <a:pt x="1095380" y="292058"/>
                  </a:cubicBezTo>
                  <a:close/>
                  <a:moveTo>
                    <a:pt x="108024" y="289020"/>
                  </a:moveTo>
                  <a:cubicBezTo>
                    <a:pt x="112201" y="290159"/>
                    <a:pt x="116759" y="293197"/>
                    <a:pt x="121316" y="297754"/>
                  </a:cubicBezTo>
                  <a:cubicBezTo>
                    <a:pt x="130429" y="306868"/>
                    <a:pt x="124354" y="315983"/>
                    <a:pt x="115240" y="322059"/>
                  </a:cubicBezTo>
                  <a:cubicBezTo>
                    <a:pt x="109164" y="325097"/>
                    <a:pt x="97011" y="328135"/>
                    <a:pt x="90935" y="315983"/>
                  </a:cubicBezTo>
                  <a:cubicBezTo>
                    <a:pt x="84859" y="300792"/>
                    <a:pt x="87897" y="294716"/>
                    <a:pt x="97011" y="291678"/>
                  </a:cubicBezTo>
                  <a:cubicBezTo>
                    <a:pt x="100049" y="288640"/>
                    <a:pt x="103846" y="287881"/>
                    <a:pt x="108024" y="289020"/>
                  </a:cubicBezTo>
                  <a:close/>
                  <a:moveTo>
                    <a:pt x="533338" y="270792"/>
                  </a:moveTo>
                  <a:cubicBezTo>
                    <a:pt x="537516" y="271931"/>
                    <a:pt x="542073" y="274969"/>
                    <a:pt x="546630" y="279526"/>
                  </a:cubicBezTo>
                  <a:cubicBezTo>
                    <a:pt x="555744" y="288640"/>
                    <a:pt x="549668" y="297755"/>
                    <a:pt x="540554" y="303831"/>
                  </a:cubicBezTo>
                  <a:cubicBezTo>
                    <a:pt x="534478" y="306869"/>
                    <a:pt x="522328" y="309907"/>
                    <a:pt x="516251" y="297755"/>
                  </a:cubicBezTo>
                  <a:cubicBezTo>
                    <a:pt x="510175" y="285602"/>
                    <a:pt x="513213" y="276488"/>
                    <a:pt x="522328" y="273450"/>
                  </a:cubicBezTo>
                  <a:cubicBezTo>
                    <a:pt x="525363" y="270412"/>
                    <a:pt x="529161" y="269653"/>
                    <a:pt x="533338" y="270792"/>
                  </a:cubicBezTo>
                  <a:close/>
                  <a:moveTo>
                    <a:pt x="633594" y="261678"/>
                  </a:moveTo>
                  <a:cubicBezTo>
                    <a:pt x="637772" y="262817"/>
                    <a:pt x="642329" y="265855"/>
                    <a:pt x="646886" y="270412"/>
                  </a:cubicBezTo>
                  <a:cubicBezTo>
                    <a:pt x="656000" y="279526"/>
                    <a:pt x="646886" y="291679"/>
                    <a:pt x="640810" y="294717"/>
                  </a:cubicBezTo>
                  <a:cubicBezTo>
                    <a:pt x="634734" y="297755"/>
                    <a:pt x="622581" y="300793"/>
                    <a:pt x="616505" y="288641"/>
                  </a:cubicBezTo>
                  <a:cubicBezTo>
                    <a:pt x="610429" y="276488"/>
                    <a:pt x="613467" y="267374"/>
                    <a:pt x="622581" y="264336"/>
                  </a:cubicBezTo>
                  <a:cubicBezTo>
                    <a:pt x="625619" y="261298"/>
                    <a:pt x="629417" y="260539"/>
                    <a:pt x="633594" y="261678"/>
                  </a:cubicBezTo>
                  <a:close/>
                  <a:moveTo>
                    <a:pt x="746003" y="258640"/>
                  </a:moveTo>
                  <a:cubicBezTo>
                    <a:pt x="750181" y="259779"/>
                    <a:pt x="754738" y="262817"/>
                    <a:pt x="759295" y="267374"/>
                  </a:cubicBezTo>
                  <a:cubicBezTo>
                    <a:pt x="768409" y="276488"/>
                    <a:pt x="759295" y="288641"/>
                    <a:pt x="753219" y="291679"/>
                  </a:cubicBezTo>
                  <a:cubicBezTo>
                    <a:pt x="747143" y="294717"/>
                    <a:pt x="734990" y="297755"/>
                    <a:pt x="728914" y="285603"/>
                  </a:cubicBezTo>
                  <a:cubicBezTo>
                    <a:pt x="722838" y="270412"/>
                    <a:pt x="725876" y="264336"/>
                    <a:pt x="734990" y="261298"/>
                  </a:cubicBezTo>
                  <a:cubicBezTo>
                    <a:pt x="738028" y="258260"/>
                    <a:pt x="741826" y="257500"/>
                    <a:pt x="746003" y="258640"/>
                  </a:cubicBezTo>
                  <a:close/>
                  <a:moveTo>
                    <a:pt x="1301968" y="225221"/>
                  </a:moveTo>
                  <a:cubicBezTo>
                    <a:pt x="1306146" y="226360"/>
                    <a:pt x="1310703" y="229398"/>
                    <a:pt x="1315260" y="233955"/>
                  </a:cubicBezTo>
                  <a:cubicBezTo>
                    <a:pt x="1324374" y="243069"/>
                    <a:pt x="1315260" y="255222"/>
                    <a:pt x="1309184" y="258260"/>
                  </a:cubicBezTo>
                  <a:cubicBezTo>
                    <a:pt x="1303107" y="261298"/>
                    <a:pt x="1290955" y="264336"/>
                    <a:pt x="1284879" y="252184"/>
                  </a:cubicBezTo>
                  <a:cubicBezTo>
                    <a:pt x="1278803" y="240031"/>
                    <a:pt x="1281841" y="233955"/>
                    <a:pt x="1290955" y="227879"/>
                  </a:cubicBezTo>
                  <a:cubicBezTo>
                    <a:pt x="1293993" y="224841"/>
                    <a:pt x="1297791" y="224081"/>
                    <a:pt x="1301968" y="225221"/>
                  </a:cubicBezTo>
                  <a:close/>
                  <a:moveTo>
                    <a:pt x="7756" y="225221"/>
                  </a:moveTo>
                  <a:cubicBezTo>
                    <a:pt x="11933" y="226360"/>
                    <a:pt x="16491" y="229398"/>
                    <a:pt x="21048" y="233955"/>
                  </a:cubicBezTo>
                  <a:cubicBezTo>
                    <a:pt x="30162" y="243069"/>
                    <a:pt x="21048" y="255222"/>
                    <a:pt x="14972" y="258260"/>
                  </a:cubicBezTo>
                  <a:cubicBezTo>
                    <a:pt x="11934" y="259779"/>
                    <a:pt x="7376" y="261298"/>
                    <a:pt x="2819" y="260918"/>
                  </a:cubicBezTo>
                  <a:lnTo>
                    <a:pt x="0" y="258892"/>
                  </a:lnTo>
                  <a:lnTo>
                    <a:pt x="0" y="227093"/>
                  </a:lnTo>
                  <a:close/>
                  <a:moveTo>
                    <a:pt x="180938" y="210031"/>
                  </a:moveTo>
                  <a:cubicBezTo>
                    <a:pt x="185115" y="211170"/>
                    <a:pt x="189672" y="214208"/>
                    <a:pt x="194229" y="218765"/>
                  </a:cubicBezTo>
                  <a:cubicBezTo>
                    <a:pt x="203343" y="227879"/>
                    <a:pt x="194229" y="240032"/>
                    <a:pt x="188153" y="243070"/>
                  </a:cubicBezTo>
                  <a:cubicBezTo>
                    <a:pt x="182077" y="246108"/>
                    <a:pt x="169925" y="249146"/>
                    <a:pt x="163849" y="236994"/>
                  </a:cubicBezTo>
                  <a:cubicBezTo>
                    <a:pt x="157773" y="224841"/>
                    <a:pt x="160811" y="215727"/>
                    <a:pt x="169925" y="212689"/>
                  </a:cubicBezTo>
                  <a:cubicBezTo>
                    <a:pt x="172962" y="209651"/>
                    <a:pt x="176760" y="208891"/>
                    <a:pt x="180938" y="210031"/>
                  </a:cubicBezTo>
                  <a:close/>
                  <a:moveTo>
                    <a:pt x="1183484" y="203954"/>
                  </a:moveTo>
                  <a:cubicBezTo>
                    <a:pt x="1187662" y="205093"/>
                    <a:pt x="1192219" y="208131"/>
                    <a:pt x="1196776" y="212688"/>
                  </a:cubicBezTo>
                  <a:cubicBezTo>
                    <a:pt x="1205890" y="221802"/>
                    <a:pt x="1199814" y="230917"/>
                    <a:pt x="1190700" y="236993"/>
                  </a:cubicBezTo>
                  <a:cubicBezTo>
                    <a:pt x="1184624" y="240031"/>
                    <a:pt x="1172471" y="243069"/>
                    <a:pt x="1166395" y="230917"/>
                  </a:cubicBezTo>
                  <a:cubicBezTo>
                    <a:pt x="1160319" y="218764"/>
                    <a:pt x="1160319" y="212688"/>
                    <a:pt x="1172471" y="206612"/>
                  </a:cubicBezTo>
                  <a:cubicBezTo>
                    <a:pt x="1175509" y="203574"/>
                    <a:pt x="1179307" y="202814"/>
                    <a:pt x="1183484" y="203954"/>
                  </a:cubicBezTo>
                  <a:close/>
                  <a:moveTo>
                    <a:pt x="946515" y="197878"/>
                  </a:moveTo>
                  <a:cubicBezTo>
                    <a:pt x="950693" y="199017"/>
                    <a:pt x="955250" y="202055"/>
                    <a:pt x="959807" y="206612"/>
                  </a:cubicBezTo>
                  <a:cubicBezTo>
                    <a:pt x="968921" y="215726"/>
                    <a:pt x="962845" y="224841"/>
                    <a:pt x="953731" y="230917"/>
                  </a:cubicBezTo>
                  <a:cubicBezTo>
                    <a:pt x="947655" y="233955"/>
                    <a:pt x="935502" y="236993"/>
                    <a:pt x="929426" y="224841"/>
                  </a:cubicBezTo>
                  <a:cubicBezTo>
                    <a:pt x="923350" y="209650"/>
                    <a:pt x="926388" y="203574"/>
                    <a:pt x="935502" y="200536"/>
                  </a:cubicBezTo>
                  <a:cubicBezTo>
                    <a:pt x="938540" y="197498"/>
                    <a:pt x="942338" y="196739"/>
                    <a:pt x="946515" y="197878"/>
                  </a:cubicBezTo>
                  <a:close/>
                  <a:moveTo>
                    <a:pt x="466501" y="197878"/>
                  </a:moveTo>
                  <a:cubicBezTo>
                    <a:pt x="470678" y="199017"/>
                    <a:pt x="475236" y="202055"/>
                    <a:pt x="479793" y="206612"/>
                  </a:cubicBezTo>
                  <a:cubicBezTo>
                    <a:pt x="488908" y="215726"/>
                    <a:pt x="479793" y="227879"/>
                    <a:pt x="473717" y="230917"/>
                  </a:cubicBezTo>
                  <a:cubicBezTo>
                    <a:pt x="467641" y="233955"/>
                    <a:pt x="455486" y="236993"/>
                    <a:pt x="449412" y="224841"/>
                  </a:cubicBezTo>
                  <a:cubicBezTo>
                    <a:pt x="443337" y="212688"/>
                    <a:pt x="446374" y="206612"/>
                    <a:pt x="455486" y="200536"/>
                  </a:cubicBezTo>
                  <a:cubicBezTo>
                    <a:pt x="458524" y="197498"/>
                    <a:pt x="462322" y="196739"/>
                    <a:pt x="466501" y="197878"/>
                  </a:cubicBezTo>
                  <a:close/>
                  <a:moveTo>
                    <a:pt x="323717" y="197878"/>
                  </a:moveTo>
                  <a:cubicBezTo>
                    <a:pt x="327895" y="199017"/>
                    <a:pt x="332452" y="202055"/>
                    <a:pt x="337009" y="206612"/>
                  </a:cubicBezTo>
                  <a:cubicBezTo>
                    <a:pt x="346123" y="215726"/>
                    <a:pt x="337009" y="227879"/>
                    <a:pt x="330933" y="230917"/>
                  </a:cubicBezTo>
                  <a:cubicBezTo>
                    <a:pt x="324857" y="233955"/>
                    <a:pt x="312704" y="236993"/>
                    <a:pt x="306628" y="224841"/>
                  </a:cubicBezTo>
                  <a:cubicBezTo>
                    <a:pt x="300552" y="209650"/>
                    <a:pt x="303590" y="203574"/>
                    <a:pt x="312704" y="200536"/>
                  </a:cubicBezTo>
                  <a:cubicBezTo>
                    <a:pt x="315742" y="197498"/>
                    <a:pt x="319540" y="196739"/>
                    <a:pt x="323717" y="197878"/>
                  </a:cubicBezTo>
                  <a:close/>
                  <a:moveTo>
                    <a:pt x="1074113" y="188764"/>
                  </a:moveTo>
                  <a:cubicBezTo>
                    <a:pt x="1078291" y="189903"/>
                    <a:pt x="1082848" y="192941"/>
                    <a:pt x="1087405" y="197498"/>
                  </a:cubicBezTo>
                  <a:cubicBezTo>
                    <a:pt x="1096519" y="206612"/>
                    <a:pt x="1087405" y="218765"/>
                    <a:pt x="1081329" y="221803"/>
                  </a:cubicBezTo>
                  <a:cubicBezTo>
                    <a:pt x="1075252" y="224841"/>
                    <a:pt x="1063100" y="227879"/>
                    <a:pt x="1057024" y="215727"/>
                  </a:cubicBezTo>
                  <a:cubicBezTo>
                    <a:pt x="1050948" y="200536"/>
                    <a:pt x="1053986" y="194460"/>
                    <a:pt x="1063100" y="191422"/>
                  </a:cubicBezTo>
                  <a:cubicBezTo>
                    <a:pt x="1066138" y="188384"/>
                    <a:pt x="1069936" y="187625"/>
                    <a:pt x="1074113" y="188764"/>
                  </a:cubicBezTo>
                  <a:close/>
                  <a:moveTo>
                    <a:pt x="846259" y="188764"/>
                  </a:moveTo>
                  <a:cubicBezTo>
                    <a:pt x="850437" y="189903"/>
                    <a:pt x="854994" y="192941"/>
                    <a:pt x="859551" y="197498"/>
                  </a:cubicBezTo>
                  <a:cubicBezTo>
                    <a:pt x="868665" y="206612"/>
                    <a:pt x="862589" y="215727"/>
                    <a:pt x="853475" y="221803"/>
                  </a:cubicBezTo>
                  <a:cubicBezTo>
                    <a:pt x="847399" y="224841"/>
                    <a:pt x="835246" y="227879"/>
                    <a:pt x="829170" y="215727"/>
                  </a:cubicBezTo>
                  <a:cubicBezTo>
                    <a:pt x="823094" y="203574"/>
                    <a:pt x="826132" y="194460"/>
                    <a:pt x="835246" y="191422"/>
                  </a:cubicBezTo>
                  <a:cubicBezTo>
                    <a:pt x="838284" y="188384"/>
                    <a:pt x="842082" y="187624"/>
                    <a:pt x="846259" y="188764"/>
                  </a:cubicBezTo>
                  <a:close/>
                  <a:moveTo>
                    <a:pt x="694356" y="164460"/>
                  </a:moveTo>
                  <a:cubicBezTo>
                    <a:pt x="698534" y="165599"/>
                    <a:pt x="703091" y="168637"/>
                    <a:pt x="707648" y="173194"/>
                  </a:cubicBezTo>
                  <a:cubicBezTo>
                    <a:pt x="716762" y="182308"/>
                    <a:pt x="710686" y="191423"/>
                    <a:pt x="701572" y="197499"/>
                  </a:cubicBezTo>
                  <a:cubicBezTo>
                    <a:pt x="695496" y="200537"/>
                    <a:pt x="683343" y="203575"/>
                    <a:pt x="677267" y="191423"/>
                  </a:cubicBezTo>
                  <a:cubicBezTo>
                    <a:pt x="671191" y="179270"/>
                    <a:pt x="674229" y="173194"/>
                    <a:pt x="683343" y="167118"/>
                  </a:cubicBezTo>
                  <a:cubicBezTo>
                    <a:pt x="686381" y="164080"/>
                    <a:pt x="690179" y="163321"/>
                    <a:pt x="694356" y="164460"/>
                  </a:cubicBezTo>
                  <a:close/>
                  <a:moveTo>
                    <a:pt x="77635" y="152307"/>
                  </a:moveTo>
                  <a:cubicBezTo>
                    <a:pt x="81812" y="153446"/>
                    <a:pt x="86370" y="156484"/>
                    <a:pt x="90926" y="161041"/>
                  </a:cubicBezTo>
                  <a:cubicBezTo>
                    <a:pt x="100040" y="170155"/>
                    <a:pt x="93964" y="179270"/>
                    <a:pt x="84851" y="185346"/>
                  </a:cubicBezTo>
                  <a:cubicBezTo>
                    <a:pt x="78775" y="188384"/>
                    <a:pt x="66622" y="191422"/>
                    <a:pt x="60546" y="179270"/>
                  </a:cubicBezTo>
                  <a:cubicBezTo>
                    <a:pt x="54470" y="167117"/>
                    <a:pt x="57508" y="158003"/>
                    <a:pt x="66622" y="154965"/>
                  </a:cubicBezTo>
                  <a:cubicBezTo>
                    <a:pt x="69660" y="151927"/>
                    <a:pt x="73457" y="151167"/>
                    <a:pt x="77635" y="152307"/>
                  </a:cubicBezTo>
                  <a:close/>
                  <a:moveTo>
                    <a:pt x="1377919" y="146231"/>
                  </a:moveTo>
                  <a:cubicBezTo>
                    <a:pt x="1382097" y="147370"/>
                    <a:pt x="1386654" y="150408"/>
                    <a:pt x="1391211" y="154965"/>
                  </a:cubicBezTo>
                  <a:cubicBezTo>
                    <a:pt x="1400325" y="164079"/>
                    <a:pt x="1394249" y="173194"/>
                    <a:pt x="1385135" y="179270"/>
                  </a:cubicBezTo>
                  <a:cubicBezTo>
                    <a:pt x="1379058" y="182308"/>
                    <a:pt x="1366906" y="185346"/>
                    <a:pt x="1360830" y="173194"/>
                  </a:cubicBezTo>
                  <a:cubicBezTo>
                    <a:pt x="1354754" y="161041"/>
                    <a:pt x="1357792" y="154965"/>
                    <a:pt x="1366906" y="148889"/>
                  </a:cubicBezTo>
                  <a:cubicBezTo>
                    <a:pt x="1369944" y="145851"/>
                    <a:pt x="1373742" y="145092"/>
                    <a:pt x="1377919" y="146231"/>
                  </a:cubicBezTo>
                  <a:close/>
                  <a:moveTo>
                    <a:pt x="588024" y="143193"/>
                  </a:moveTo>
                  <a:cubicBezTo>
                    <a:pt x="592202" y="144332"/>
                    <a:pt x="596759" y="147370"/>
                    <a:pt x="601316" y="151927"/>
                  </a:cubicBezTo>
                  <a:cubicBezTo>
                    <a:pt x="610430" y="161041"/>
                    <a:pt x="604354" y="170156"/>
                    <a:pt x="595240" y="176232"/>
                  </a:cubicBezTo>
                  <a:cubicBezTo>
                    <a:pt x="589164" y="179270"/>
                    <a:pt x="577011" y="182308"/>
                    <a:pt x="570935" y="170156"/>
                  </a:cubicBezTo>
                  <a:cubicBezTo>
                    <a:pt x="564859" y="154965"/>
                    <a:pt x="567897" y="148889"/>
                    <a:pt x="577011" y="145851"/>
                  </a:cubicBezTo>
                  <a:cubicBezTo>
                    <a:pt x="580049" y="142813"/>
                    <a:pt x="583847" y="142053"/>
                    <a:pt x="588024" y="143193"/>
                  </a:cubicBezTo>
                  <a:close/>
                  <a:moveTo>
                    <a:pt x="241687" y="128003"/>
                  </a:moveTo>
                  <a:cubicBezTo>
                    <a:pt x="245865" y="129142"/>
                    <a:pt x="250422" y="132180"/>
                    <a:pt x="254979" y="136737"/>
                  </a:cubicBezTo>
                  <a:cubicBezTo>
                    <a:pt x="264093" y="145851"/>
                    <a:pt x="258017" y="154966"/>
                    <a:pt x="248903" y="161042"/>
                  </a:cubicBezTo>
                  <a:cubicBezTo>
                    <a:pt x="242827" y="164080"/>
                    <a:pt x="230674" y="167118"/>
                    <a:pt x="224598" y="154966"/>
                  </a:cubicBezTo>
                  <a:cubicBezTo>
                    <a:pt x="218522" y="139775"/>
                    <a:pt x="221560" y="133699"/>
                    <a:pt x="230674" y="130661"/>
                  </a:cubicBezTo>
                  <a:cubicBezTo>
                    <a:pt x="233712" y="127623"/>
                    <a:pt x="237510" y="126864"/>
                    <a:pt x="241687" y="128003"/>
                  </a:cubicBezTo>
                  <a:close/>
                  <a:moveTo>
                    <a:pt x="1259435" y="124965"/>
                  </a:moveTo>
                  <a:cubicBezTo>
                    <a:pt x="1263613" y="126104"/>
                    <a:pt x="1268170" y="129142"/>
                    <a:pt x="1272727" y="133699"/>
                  </a:cubicBezTo>
                  <a:cubicBezTo>
                    <a:pt x="1281841" y="142813"/>
                    <a:pt x="1272727" y="154966"/>
                    <a:pt x="1266651" y="158004"/>
                  </a:cubicBezTo>
                  <a:cubicBezTo>
                    <a:pt x="1260575" y="161042"/>
                    <a:pt x="1248422" y="164080"/>
                    <a:pt x="1242346" y="151928"/>
                  </a:cubicBezTo>
                  <a:cubicBezTo>
                    <a:pt x="1236270" y="136737"/>
                    <a:pt x="1239308" y="130661"/>
                    <a:pt x="1248422" y="127623"/>
                  </a:cubicBezTo>
                  <a:cubicBezTo>
                    <a:pt x="1251460" y="124585"/>
                    <a:pt x="1255258" y="123825"/>
                    <a:pt x="1259435" y="124965"/>
                  </a:cubicBezTo>
                  <a:close/>
                  <a:moveTo>
                    <a:pt x="399672" y="118889"/>
                  </a:moveTo>
                  <a:cubicBezTo>
                    <a:pt x="403852" y="120028"/>
                    <a:pt x="408409" y="123066"/>
                    <a:pt x="412966" y="127623"/>
                  </a:cubicBezTo>
                  <a:cubicBezTo>
                    <a:pt x="422078" y="136737"/>
                    <a:pt x="416004" y="145852"/>
                    <a:pt x="406890" y="151928"/>
                  </a:cubicBezTo>
                  <a:cubicBezTo>
                    <a:pt x="400812" y="154966"/>
                    <a:pt x="388658" y="158004"/>
                    <a:pt x="382584" y="145852"/>
                  </a:cubicBezTo>
                  <a:cubicBezTo>
                    <a:pt x="376513" y="133699"/>
                    <a:pt x="379551" y="127623"/>
                    <a:pt x="388658" y="121547"/>
                  </a:cubicBezTo>
                  <a:cubicBezTo>
                    <a:pt x="391694" y="118509"/>
                    <a:pt x="395492" y="117750"/>
                    <a:pt x="399672" y="118889"/>
                  </a:cubicBezTo>
                  <a:close/>
                  <a:moveTo>
                    <a:pt x="1004238" y="112813"/>
                  </a:moveTo>
                  <a:cubicBezTo>
                    <a:pt x="1008416" y="113952"/>
                    <a:pt x="1012973" y="116990"/>
                    <a:pt x="1017530" y="121547"/>
                  </a:cubicBezTo>
                  <a:cubicBezTo>
                    <a:pt x="1026644" y="130661"/>
                    <a:pt x="1020568" y="139776"/>
                    <a:pt x="1011454" y="145852"/>
                  </a:cubicBezTo>
                  <a:cubicBezTo>
                    <a:pt x="1005378" y="148890"/>
                    <a:pt x="993225" y="151928"/>
                    <a:pt x="987149" y="139776"/>
                  </a:cubicBezTo>
                  <a:cubicBezTo>
                    <a:pt x="981073" y="127623"/>
                    <a:pt x="984111" y="121547"/>
                    <a:pt x="993225" y="115471"/>
                  </a:cubicBezTo>
                  <a:cubicBezTo>
                    <a:pt x="996263" y="112433"/>
                    <a:pt x="1000061" y="111674"/>
                    <a:pt x="1004238" y="112813"/>
                  </a:cubicBezTo>
                  <a:close/>
                  <a:moveTo>
                    <a:pt x="800688" y="97622"/>
                  </a:moveTo>
                  <a:cubicBezTo>
                    <a:pt x="804866" y="98761"/>
                    <a:pt x="809423" y="101799"/>
                    <a:pt x="813980" y="106356"/>
                  </a:cubicBezTo>
                  <a:cubicBezTo>
                    <a:pt x="823094" y="115470"/>
                    <a:pt x="817018" y="124585"/>
                    <a:pt x="807904" y="130661"/>
                  </a:cubicBezTo>
                  <a:cubicBezTo>
                    <a:pt x="801828" y="133699"/>
                    <a:pt x="789675" y="136737"/>
                    <a:pt x="783599" y="124585"/>
                  </a:cubicBezTo>
                  <a:cubicBezTo>
                    <a:pt x="777523" y="112432"/>
                    <a:pt x="780561" y="106356"/>
                    <a:pt x="789675" y="100280"/>
                  </a:cubicBezTo>
                  <a:cubicBezTo>
                    <a:pt x="792713" y="97242"/>
                    <a:pt x="796511" y="96482"/>
                    <a:pt x="800688" y="97622"/>
                  </a:cubicBezTo>
                  <a:close/>
                  <a:moveTo>
                    <a:pt x="1128799" y="85470"/>
                  </a:moveTo>
                  <a:cubicBezTo>
                    <a:pt x="1132976" y="86609"/>
                    <a:pt x="1137533" y="89647"/>
                    <a:pt x="1142090" y="94204"/>
                  </a:cubicBezTo>
                  <a:cubicBezTo>
                    <a:pt x="1151204" y="103318"/>
                    <a:pt x="1142090" y="115471"/>
                    <a:pt x="1136014" y="118509"/>
                  </a:cubicBezTo>
                  <a:cubicBezTo>
                    <a:pt x="1129938" y="121547"/>
                    <a:pt x="1117785" y="124585"/>
                    <a:pt x="1111709" y="112433"/>
                  </a:cubicBezTo>
                  <a:cubicBezTo>
                    <a:pt x="1105633" y="97242"/>
                    <a:pt x="1108671" y="91166"/>
                    <a:pt x="1117785" y="88128"/>
                  </a:cubicBezTo>
                  <a:cubicBezTo>
                    <a:pt x="1120824" y="85090"/>
                    <a:pt x="1124621" y="84331"/>
                    <a:pt x="1128799" y="85470"/>
                  </a:cubicBezTo>
                  <a:close/>
                  <a:moveTo>
                    <a:pt x="515112" y="85470"/>
                  </a:moveTo>
                  <a:cubicBezTo>
                    <a:pt x="519291" y="86609"/>
                    <a:pt x="523848" y="89647"/>
                    <a:pt x="528402" y="94204"/>
                  </a:cubicBezTo>
                  <a:cubicBezTo>
                    <a:pt x="537516" y="103318"/>
                    <a:pt x="531440" y="112433"/>
                    <a:pt x="522328" y="118509"/>
                  </a:cubicBezTo>
                  <a:cubicBezTo>
                    <a:pt x="516251" y="121547"/>
                    <a:pt x="504099" y="124585"/>
                    <a:pt x="498023" y="112433"/>
                  </a:cubicBezTo>
                  <a:cubicBezTo>
                    <a:pt x="491947" y="100280"/>
                    <a:pt x="491947" y="94204"/>
                    <a:pt x="504099" y="88128"/>
                  </a:cubicBezTo>
                  <a:cubicBezTo>
                    <a:pt x="507138" y="85090"/>
                    <a:pt x="510935" y="84331"/>
                    <a:pt x="515112" y="85470"/>
                  </a:cubicBezTo>
                  <a:close/>
                  <a:moveTo>
                    <a:pt x="682203" y="73318"/>
                  </a:moveTo>
                  <a:cubicBezTo>
                    <a:pt x="686381" y="74457"/>
                    <a:pt x="690938" y="77495"/>
                    <a:pt x="695495" y="82052"/>
                  </a:cubicBezTo>
                  <a:cubicBezTo>
                    <a:pt x="704609" y="91166"/>
                    <a:pt x="698533" y="100281"/>
                    <a:pt x="689419" y="106357"/>
                  </a:cubicBezTo>
                  <a:cubicBezTo>
                    <a:pt x="683343" y="109395"/>
                    <a:pt x="671190" y="112433"/>
                    <a:pt x="665114" y="100281"/>
                  </a:cubicBezTo>
                  <a:cubicBezTo>
                    <a:pt x="659038" y="88128"/>
                    <a:pt x="662076" y="79014"/>
                    <a:pt x="671190" y="75976"/>
                  </a:cubicBezTo>
                  <a:cubicBezTo>
                    <a:pt x="674228" y="72938"/>
                    <a:pt x="678026" y="72178"/>
                    <a:pt x="682203" y="73318"/>
                  </a:cubicBezTo>
                  <a:close/>
                  <a:moveTo>
                    <a:pt x="159669" y="67242"/>
                  </a:moveTo>
                  <a:cubicBezTo>
                    <a:pt x="163846" y="68381"/>
                    <a:pt x="168403" y="71419"/>
                    <a:pt x="172960" y="75976"/>
                  </a:cubicBezTo>
                  <a:cubicBezTo>
                    <a:pt x="182074" y="85090"/>
                    <a:pt x="175998" y="94205"/>
                    <a:pt x="166884" y="100281"/>
                  </a:cubicBezTo>
                  <a:cubicBezTo>
                    <a:pt x="160807" y="103319"/>
                    <a:pt x="148655" y="106357"/>
                    <a:pt x="142579" y="94205"/>
                  </a:cubicBezTo>
                  <a:cubicBezTo>
                    <a:pt x="136504" y="82052"/>
                    <a:pt x="139542" y="75976"/>
                    <a:pt x="148655" y="69900"/>
                  </a:cubicBezTo>
                  <a:cubicBezTo>
                    <a:pt x="151694" y="66862"/>
                    <a:pt x="155491" y="66102"/>
                    <a:pt x="159669" y="67242"/>
                  </a:cubicBezTo>
                  <a:close/>
                  <a:moveTo>
                    <a:pt x="1453871" y="58127"/>
                  </a:moveTo>
                  <a:cubicBezTo>
                    <a:pt x="1458049" y="59266"/>
                    <a:pt x="1462606" y="62304"/>
                    <a:pt x="1467163" y="66861"/>
                  </a:cubicBezTo>
                  <a:cubicBezTo>
                    <a:pt x="1476277" y="75975"/>
                    <a:pt x="1467163" y="88128"/>
                    <a:pt x="1461087" y="91166"/>
                  </a:cubicBezTo>
                  <a:cubicBezTo>
                    <a:pt x="1455010" y="94204"/>
                    <a:pt x="1442858" y="97242"/>
                    <a:pt x="1436782" y="85090"/>
                  </a:cubicBezTo>
                  <a:cubicBezTo>
                    <a:pt x="1430706" y="72937"/>
                    <a:pt x="1430706" y="66861"/>
                    <a:pt x="1442858" y="60785"/>
                  </a:cubicBezTo>
                  <a:cubicBezTo>
                    <a:pt x="1445896" y="57747"/>
                    <a:pt x="1449694" y="56987"/>
                    <a:pt x="1453871" y="58127"/>
                  </a:cubicBezTo>
                  <a:close/>
                  <a:moveTo>
                    <a:pt x="47254" y="58127"/>
                  </a:moveTo>
                  <a:cubicBezTo>
                    <a:pt x="51432" y="59266"/>
                    <a:pt x="55989" y="62304"/>
                    <a:pt x="60546" y="66861"/>
                  </a:cubicBezTo>
                  <a:cubicBezTo>
                    <a:pt x="69660" y="75975"/>
                    <a:pt x="63584" y="85090"/>
                    <a:pt x="54470" y="91166"/>
                  </a:cubicBezTo>
                  <a:cubicBezTo>
                    <a:pt x="48394" y="94204"/>
                    <a:pt x="36241" y="97242"/>
                    <a:pt x="30165" y="85090"/>
                  </a:cubicBezTo>
                  <a:cubicBezTo>
                    <a:pt x="24089" y="72937"/>
                    <a:pt x="24089" y="66861"/>
                    <a:pt x="36241" y="60785"/>
                  </a:cubicBezTo>
                  <a:cubicBezTo>
                    <a:pt x="39279" y="57747"/>
                    <a:pt x="43077" y="56987"/>
                    <a:pt x="47254" y="58127"/>
                  </a:cubicBezTo>
                  <a:close/>
                  <a:moveTo>
                    <a:pt x="314611" y="55089"/>
                  </a:moveTo>
                  <a:cubicBezTo>
                    <a:pt x="318789" y="56228"/>
                    <a:pt x="323346" y="59266"/>
                    <a:pt x="327903" y="63823"/>
                  </a:cubicBezTo>
                  <a:cubicBezTo>
                    <a:pt x="337017" y="72937"/>
                    <a:pt x="327903" y="85090"/>
                    <a:pt x="321827" y="88128"/>
                  </a:cubicBezTo>
                  <a:cubicBezTo>
                    <a:pt x="315751" y="91166"/>
                    <a:pt x="303598" y="94204"/>
                    <a:pt x="297522" y="82052"/>
                  </a:cubicBezTo>
                  <a:cubicBezTo>
                    <a:pt x="291446" y="69899"/>
                    <a:pt x="294484" y="60785"/>
                    <a:pt x="303598" y="57747"/>
                  </a:cubicBezTo>
                  <a:cubicBezTo>
                    <a:pt x="306636" y="54709"/>
                    <a:pt x="310434" y="53949"/>
                    <a:pt x="314611" y="55089"/>
                  </a:cubicBezTo>
                  <a:close/>
                  <a:moveTo>
                    <a:pt x="885754" y="52051"/>
                  </a:moveTo>
                  <a:cubicBezTo>
                    <a:pt x="889932" y="53190"/>
                    <a:pt x="894489" y="56228"/>
                    <a:pt x="899046" y="60785"/>
                  </a:cubicBezTo>
                  <a:cubicBezTo>
                    <a:pt x="908160" y="69899"/>
                    <a:pt x="902084" y="79014"/>
                    <a:pt x="892970" y="85090"/>
                  </a:cubicBezTo>
                  <a:cubicBezTo>
                    <a:pt x="886894" y="88128"/>
                    <a:pt x="874741" y="91166"/>
                    <a:pt x="868665" y="79014"/>
                  </a:cubicBezTo>
                  <a:cubicBezTo>
                    <a:pt x="862589" y="63823"/>
                    <a:pt x="865627" y="57747"/>
                    <a:pt x="874741" y="54709"/>
                  </a:cubicBezTo>
                  <a:cubicBezTo>
                    <a:pt x="877779" y="51671"/>
                    <a:pt x="881577" y="50912"/>
                    <a:pt x="885754" y="52051"/>
                  </a:cubicBezTo>
                  <a:close/>
                  <a:moveTo>
                    <a:pt x="1341464" y="39899"/>
                  </a:moveTo>
                  <a:cubicBezTo>
                    <a:pt x="1345641" y="41038"/>
                    <a:pt x="1350198" y="44076"/>
                    <a:pt x="1354755" y="48633"/>
                  </a:cubicBezTo>
                  <a:cubicBezTo>
                    <a:pt x="1363869" y="57747"/>
                    <a:pt x="1357793" y="66862"/>
                    <a:pt x="1348679" y="72938"/>
                  </a:cubicBezTo>
                  <a:cubicBezTo>
                    <a:pt x="1342603" y="75976"/>
                    <a:pt x="1330450" y="79014"/>
                    <a:pt x="1324374" y="66862"/>
                  </a:cubicBezTo>
                  <a:cubicBezTo>
                    <a:pt x="1318298" y="51671"/>
                    <a:pt x="1321336" y="45595"/>
                    <a:pt x="1330450" y="42557"/>
                  </a:cubicBezTo>
                  <a:cubicBezTo>
                    <a:pt x="1333489" y="39519"/>
                    <a:pt x="1337286" y="38760"/>
                    <a:pt x="1341464" y="39899"/>
                  </a:cubicBezTo>
                  <a:close/>
                  <a:moveTo>
                    <a:pt x="1204751" y="27747"/>
                  </a:moveTo>
                  <a:cubicBezTo>
                    <a:pt x="1208928" y="28886"/>
                    <a:pt x="1213485" y="31924"/>
                    <a:pt x="1218042" y="36481"/>
                  </a:cubicBezTo>
                  <a:cubicBezTo>
                    <a:pt x="1227156" y="45595"/>
                    <a:pt x="1218042" y="57748"/>
                    <a:pt x="1211966" y="60786"/>
                  </a:cubicBezTo>
                  <a:cubicBezTo>
                    <a:pt x="1205890" y="63824"/>
                    <a:pt x="1193737" y="66862"/>
                    <a:pt x="1187661" y="54710"/>
                  </a:cubicBezTo>
                  <a:cubicBezTo>
                    <a:pt x="1181585" y="42557"/>
                    <a:pt x="1184623" y="33443"/>
                    <a:pt x="1193737" y="30405"/>
                  </a:cubicBezTo>
                  <a:cubicBezTo>
                    <a:pt x="1196776" y="27367"/>
                    <a:pt x="1200573" y="26608"/>
                    <a:pt x="1204751" y="27747"/>
                  </a:cubicBezTo>
                  <a:close/>
                  <a:moveTo>
                    <a:pt x="979933" y="21671"/>
                  </a:moveTo>
                  <a:cubicBezTo>
                    <a:pt x="984110" y="22810"/>
                    <a:pt x="988668" y="25848"/>
                    <a:pt x="993225" y="30405"/>
                  </a:cubicBezTo>
                  <a:cubicBezTo>
                    <a:pt x="1002339" y="39519"/>
                    <a:pt x="993225" y="51672"/>
                    <a:pt x="987149" y="54710"/>
                  </a:cubicBezTo>
                  <a:cubicBezTo>
                    <a:pt x="981072" y="57748"/>
                    <a:pt x="968920" y="60786"/>
                    <a:pt x="962844" y="48634"/>
                  </a:cubicBezTo>
                  <a:cubicBezTo>
                    <a:pt x="956768" y="36481"/>
                    <a:pt x="956768" y="27367"/>
                    <a:pt x="968920" y="24329"/>
                  </a:cubicBezTo>
                  <a:cubicBezTo>
                    <a:pt x="971958" y="21291"/>
                    <a:pt x="975756" y="20531"/>
                    <a:pt x="979933" y="21671"/>
                  </a:cubicBezTo>
                  <a:close/>
                  <a:moveTo>
                    <a:pt x="451312" y="8759"/>
                  </a:moveTo>
                  <a:cubicBezTo>
                    <a:pt x="455488" y="9899"/>
                    <a:pt x="460045" y="13696"/>
                    <a:pt x="464603" y="21291"/>
                  </a:cubicBezTo>
                  <a:cubicBezTo>
                    <a:pt x="473718" y="30405"/>
                    <a:pt x="464603" y="42558"/>
                    <a:pt x="458526" y="45596"/>
                  </a:cubicBezTo>
                  <a:cubicBezTo>
                    <a:pt x="452451" y="48634"/>
                    <a:pt x="440301" y="51672"/>
                    <a:pt x="434225" y="39520"/>
                  </a:cubicBezTo>
                  <a:cubicBezTo>
                    <a:pt x="428151" y="24329"/>
                    <a:pt x="431188" y="18253"/>
                    <a:pt x="440301" y="12177"/>
                  </a:cubicBezTo>
                  <a:cubicBezTo>
                    <a:pt x="443339" y="9139"/>
                    <a:pt x="447135" y="7620"/>
                    <a:pt x="451312" y="8759"/>
                  </a:cubicBezTo>
                  <a:close/>
                  <a:moveTo>
                    <a:pt x="1049824" y="0"/>
                  </a:moveTo>
                  <a:lnTo>
                    <a:pt x="1083563" y="0"/>
                  </a:lnTo>
                  <a:lnTo>
                    <a:pt x="1083987" y="2304"/>
                  </a:lnTo>
                  <a:cubicBezTo>
                    <a:pt x="1082089" y="6861"/>
                    <a:pt x="1078291" y="10659"/>
                    <a:pt x="1075253" y="12178"/>
                  </a:cubicBezTo>
                  <a:cubicBezTo>
                    <a:pt x="1069177" y="15216"/>
                    <a:pt x="1057024" y="18254"/>
                    <a:pt x="1050948" y="6102"/>
                  </a:cubicBezTo>
                  <a:close/>
                  <a:moveTo>
                    <a:pt x="773962" y="0"/>
                  </a:moveTo>
                  <a:lnTo>
                    <a:pt x="806875" y="0"/>
                  </a:lnTo>
                  <a:lnTo>
                    <a:pt x="798790" y="9140"/>
                  </a:lnTo>
                  <a:cubicBezTo>
                    <a:pt x="792714" y="12178"/>
                    <a:pt x="780561" y="15216"/>
                    <a:pt x="774485" y="3064"/>
                  </a:cubicBezTo>
                  <a:close/>
                  <a:moveTo>
                    <a:pt x="659033" y="0"/>
                  </a:moveTo>
                  <a:lnTo>
                    <a:pt x="688741" y="0"/>
                  </a:lnTo>
                  <a:lnTo>
                    <a:pt x="683343" y="6102"/>
                  </a:lnTo>
                  <a:cubicBezTo>
                    <a:pt x="677266" y="9140"/>
                    <a:pt x="665114" y="12178"/>
                    <a:pt x="659038" y="26"/>
                  </a:cubicBezTo>
                  <a:close/>
                  <a:moveTo>
                    <a:pt x="558807" y="0"/>
                  </a:moveTo>
                  <a:lnTo>
                    <a:pt x="589125" y="0"/>
                  </a:lnTo>
                  <a:lnTo>
                    <a:pt x="589163" y="25"/>
                  </a:lnTo>
                  <a:cubicBezTo>
                    <a:pt x="598277" y="9139"/>
                    <a:pt x="592201" y="18254"/>
                    <a:pt x="583087" y="24330"/>
                  </a:cubicBezTo>
                  <a:cubicBezTo>
                    <a:pt x="577011" y="27368"/>
                    <a:pt x="564858" y="30406"/>
                    <a:pt x="558782" y="18254"/>
                  </a:cubicBezTo>
                  <a:cubicBezTo>
                    <a:pt x="555744" y="12177"/>
                    <a:pt x="554985" y="6861"/>
                    <a:pt x="556124" y="2683"/>
                  </a:cubicBezTo>
                  <a:close/>
                  <a:moveTo>
                    <a:pt x="189731" y="0"/>
                  </a:moveTo>
                  <a:lnTo>
                    <a:pt x="223240" y="0"/>
                  </a:lnTo>
                  <a:lnTo>
                    <a:pt x="224224" y="5342"/>
                  </a:lnTo>
                  <a:cubicBezTo>
                    <a:pt x="222326" y="9899"/>
                    <a:pt x="218528" y="13697"/>
                    <a:pt x="215490" y="15216"/>
                  </a:cubicBezTo>
                  <a:cubicBezTo>
                    <a:pt x="209414" y="18254"/>
                    <a:pt x="197261" y="21292"/>
                    <a:pt x="191185" y="9140"/>
                  </a:cubicBez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 name="Tittel 1">
            <a:extLst>
              <a:ext uri="{FF2B5EF4-FFF2-40B4-BE49-F238E27FC236}">
                <a16:creationId xmlns:a16="http://schemas.microsoft.com/office/drawing/2014/main" id="{9DD74B72-9545-41B8-9F34-CB34D1B154DC}"/>
              </a:ext>
            </a:extLst>
          </p:cNvPr>
          <p:cNvSpPr>
            <a:spLocks noGrp="1"/>
          </p:cNvSpPr>
          <p:nvPr>
            <p:ph type="title"/>
          </p:nvPr>
        </p:nvSpPr>
        <p:spPr>
          <a:xfrm>
            <a:off x="786385" y="841248"/>
            <a:ext cx="5129600" cy="5340097"/>
          </a:xfrm>
        </p:spPr>
        <p:txBody>
          <a:bodyPr vert="horz" anchor="ctr">
            <a:normAutofit/>
          </a:bodyPr>
          <a:lstStyle/>
          <a:p>
            <a:r>
              <a:rPr lang="nb-NO" sz="4800">
                <a:solidFill>
                  <a:schemeClr val="bg1"/>
                </a:solidFill>
              </a:rPr>
              <a:t>Datainnsamlingsark</a:t>
            </a:r>
          </a:p>
        </p:txBody>
      </p:sp>
      <p:sp>
        <p:nvSpPr>
          <p:cNvPr id="3" name="Plassholder for innhold 2">
            <a:extLst>
              <a:ext uri="{FF2B5EF4-FFF2-40B4-BE49-F238E27FC236}">
                <a16:creationId xmlns:a16="http://schemas.microsoft.com/office/drawing/2014/main" id="{97A1F10F-E222-47C4-9DD8-D459F4AA2EED}"/>
              </a:ext>
            </a:extLst>
          </p:cNvPr>
          <p:cNvSpPr>
            <a:spLocks noGrp="1"/>
          </p:cNvSpPr>
          <p:nvPr>
            <p:ph idx="1"/>
          </p:nvPr>
        </p:nvSpPr>
        <p:spPr>
          <a:xfrm>
            <a:off x="6464410" y="841247"/>
            <a:ext cx="4484536" cy="5340097"/>
          </a:xfrm>
        </p:spPr>
        <p:txBody>
          <a:bodyPr anchor="ctr">
            <a:normAutofit/>
          </a:bodyPr>
          <a:lstStyle/>
          <a:p>
            <a:pPr marL="0" indent="0">
              <a:buNone/>
            </a:pPr>
            <a:r>
              <a:rPr lang="nb-NO" sz="2000">
                <a:solidFill>
                  <a:schemeClr val="tx2"/>
                </a:solidFill>
              </a:rPr>
              <a:t>Gjennomgang med eksempler i Excel.</a:t>
            </a:r>
            <a:endParaRPr lang="nb-NO" sz="2000">
              <a:solidFill>
                <a:schemeClr val="tx1">
                  <a:lumMod val="65000"/>
                  <a:lumOff val="35000"/>
                </a:schemeClr>
              </a:solidFill>
            </a:endParaRPr>
          </a:p>
        </p:txBody>
      </p:sp>
    </p:spTree>
    <p:extLst>
      <p:ext uri="{BB962C8B-B14F-4D97-AF65-F5344CB8AC3E}">
        <p14:creationId xmlns:p14="http://schemas.microsoft.com/office/powerpoint/2010/main" val="5818500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3">
            <a:extLst>
              <a:ext uri="{FF2B5EF4-FFF2-40B4-BE49-F238E27FC236}">
                <a16:creationId xmlns:a16="http://schemas.microsoft.com/office/drawing/2014/main" id="{B7DC162C-03A8-4FDE-BD21-5D03E61C308A}"/>
              </a:ext>
            </a:extLst>
          </p:cNvPr>
          <p:cNvPicPr>
            <a:picLocks noChangeAspect="1"/>
          </p:cNvPicPr>
          <p:nvPr/>
        </p:nvPicPr>
        <p:blipFill rotWithShape="1">
          <a:blip r:embed="rId6"/>
          <a:srcRect r="23522"/>
          <a:stretch/>
        </p:blipFill>
        <p:spPr>
          <a:xfrm rot="5400000">
            <a:off x="3203812" y="-3223231"/>
            <a:ext cx="791377" cy="7199002"/>
          </a:xfrm>
          <a:prstGeom prst="rect">
            <a:avLst/>
          </a:prstGeom>
        </p:spPr>
      </p:pic>
      <p:graphicFrame>
        <p:nvGraphicFramePr>
          <p:cNvPr id="91" name="Object 90" hidden="1">
            <a:extLst>
              <a:ext uri="{FF2B5EF4-FFF2-40B4-BE49-F238E27FC236}">
                <a16:creationId xmlns:a16="http://schemas.microsoft.com/office/drawing/2014/main" id="{523924EF-6901-46E3-A852-C9609C985CE0}"/>
              </a:ext>
            </a:extLst>
          </p:cNvPr>
          <p:cNvGraphicFramePr>
            <a:graphicFrameLocks noChangeAspect="1"/>
          </p:cNvGraphicFramePr>
          <p:nvPr>
            <p:custDataLst>
              <p:tags r:id="rId2"/>
            </p:custDataLst>
            <p:extLst>
              <p:ext uri="{D42A27DB-BD31-4B8C-83A1-F6EECF244321}">
                <p14:modId xmlns:p14="http://schemas.microsoft.com/office/powerpoint/2010/main" val="3272798229"/>
              </p:ext>
            </p:ext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7" imgW="473" imgH="473" progId="TCLayout.ActiveDocument.1">
                  <p:embed/>
                </p:oleObj>
              </mc:Choice>
              <mc:Fallback>
                <p:oleObj name="think-cell Slide" r:id="rId7" imgW="473" imgH="473" progId="TCLayout.ActiveDocument.1">
                  <p:embed/>
                  <p:pic>
                    <p:nvPicPr>
                      <p:cNvPr id="91" name="Object 90" hidden="1">
                        <a:extLst>
                          <a:ext uri="{FF2B5EF4-FFF2-40B4-BE49-F238E27FC236}">
                            <a16:creationId xmlns:a16="http://schemas.microsoft.com/office/drawing/2014/main" id="{523924EF-6901-46E3-A852-C9609C985CE0}"/>
                          </a:ext>
                        </a:extLst>
                      </p:cNvPr>
                      <p:cNvPicPr/>
                      <p:nvPr/>
                    </p:nvPicPr>
                    <p:blipFill>
                      <a:blip r:embed="rId8"/>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2419E6-8EDA-40C9-B4A5-9B8FD471B5A8}"/>
              </a:ext>
            </a:extLst>
          </p:cNvPr>
          <p:cNvSpPr/>
          <p:nvPr>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112" name="Tittel 1"/>
          <p:cNvSpPr>
            <a:spLocks noGrp="1"/>
          </p:cNvSpPr>
          <p:nvPr>
            <p:ph type="title"/>
          </p:nvPr>
        </p:nvSpPr>
        <p:spPr>
          <a:xfrm>
            <a:off x="40349" y="-844"/>
            <a:ext cx="6818930" cy="772800"/>
          </a:xfrm>
        </p:spPr>
        <p:txBody>
          <a:bodyPr vert="horz">
            <a:noAutofit/>
          </a:bodyPr>
          <a:lstStyle/>
          <a:p>
            <a:r>
              <a:rPr lang="nb-NO" sz="2800" b="1" dirty="0">
                <a:solidFill>
                  <a:schemeClr val="bg1"/>
                </a:solidFill>
              </a:rPr>
              <a:t>Individuelt arbeid 40 minutter</a:t>
            </a:r>
            <a:endParaRPr lang="nb-NO" sz="3200" b="1" dirty="0">
              <a:solidFill>
                <a:schemeClr val="bg1"/>
              </a:solidFill>
            </a:endParaRPr>
          </a:p>
        </p:txBody>
      </p:sp>
      <p:sp>
        <p:nvSpPr>
          <p:cNvPr id="8" name="Rectangle 7">
            <a:extLst>
              <a:ext uri="{FF2B5EF4-FFF2-40B4-BE49-F238E27FC236}">
                <a16:creationId xmlns:a16="http://schemas.microsoft.com/office/drawing/2014/main" id="{C6E5B84A-C24B-47C3-BB38-0155DC680B5E}"/>
              </a:ext>
            </a:extLst>
          </p:cNvPr>
          <p:cNvSpPr/>
          <p:nvPr/>
        </p:nvSpPr>
        <p:spPr>
          <a:xfrm>
            <a:off x="495298" y="1447799"/>
            <a:ext cx="11879581" cy="5216813"/>
          </a:xfrm>
          <a:prstGeom prst="rect">
            <a:avLst/>
          </a:prstGeom>
        </p:spPr>
        <p:txBody>
          <a:bodyPr wrap="square">
            <a:spAutoFit/>
          </a:bodyPr>
          <a:lstStyle/>
          <a:p>
            <a:r>
              <a:rPr lang="nb-NO" dirty="0"/>
              <a:t>Datainnsamlingsark BFV praktisk oppgave er tilgjengeliggjort via «Superbruker-BFV»-kanalen på Teams.</a:t>
            </a:r>
          </a:p>
          <a:p>
            <a:endParaRPr lang="nb-NO" dirty="0"/>
          </a:p>
          <a:p>
            <a:endParaRPr lang="nb-NO" dirty="0"/>
          </a:p>
          <a:p>
            <a:r>
              <a:rPr lang="nb-NO" dirty="0"/>
              <a:t>Fyll ut fiktive prosjekter gjennom følgende oppgaver:</a:t>
            </a:r>
          </a:p>
          <a:p>
            <a:pPr marL="342900" indent="-342900">
              <a:lnSpc>
                <a:spcPct val="250000"/>
              </a:lnSpc>
              <a:buAutoNum type="arabicParenR"/>
            </a:pPr>
            <a:r>
              <a:rPr lang="nb-NO" dirty="0"/>
              <a:t>Legg inn ett prosjekt, </a:t>
            </a:r>
            <a:r>
              <a:rPr lang="nb-NO" i="1" dirty="0"/>
              <a:t>uten </a:t>
            </a:r>
            <a:r>
              <a:rPr lang="nb-NO" dirty="0"/>
              <a:t>hovedprosjekt, og ett delprosjekt hvor prosjekt ikke benyttes til å gruppere flere delprosjekter</a:t>
            </a:r>
          </a:p>
          <a:p>
            <a:pPr marL="342900" indent="-342900">
              <a:lnSpc>
                <a:spcPct val="250000"/>
              </a:lnSpc>
              <a:buAutoNum type="arabicParenR"/>
            </a:pPr>
            <a:r>
              <a:rPr lang="nb-NO" dirty="0"/>
              <a:t>Legg inn ett prosjekt, </a:t>
            </a:r>
            <a:r>
              <a:rPr lang="nb-NO" i="1" dirty="0"/>
              <a:t>uten</a:t>
            </a:r>
            <a:r>
              <a:rPr lang="nb-NO" dirty="0"/>
              <a:t> hovedprosjekt, og to delprosjekt hvor prosjekt benyttes til å gruppere flere delprosjekter</a:t>
            </a:r>
          </a:p>
          <a:p>
            <a:pPr marL="342900" indent="-342900">
              <a:lnSpc>
                <a:spcPct val="250000"/>
              </a:lnSpc>
              <a:buAutoNum type="arabicParenR"/>
            </a:pPr>
            <a:r>
              <a:rPr lang="nb-NO" dirty="0"/>
              <a:t>Hvis tid, gjennomfør oppgave 2) </a:t>
            </a:r>
            <a:r>
              <a:rPr lang="nb-NO" i="1" dirty="0"/>
              <a:t>med</a:t>
            </a:r>
            <a:r>
              <a:rPr lang="nb-NO" dirty="0"/>
              <a:t> hovedprosjekt</a:t>
            </a:r>
          </a:p>
          <a:p>
            <a:pPr marL="342900" indent="-342900">
              <a:lnSpc>
                <a:spcPct val="250000"/>
              </a:lnSpc>
              <a:buAutoNum type="arabicParenR"/>
            </a:pPr>
            <a:endParaRPr lang="nb-NO" dirty="0"/>
          </a:p>
          <a:p>
            <a:pPr>
              <a:lnSpc>
                <a:spcPct val="250000"/>
              </a:lnSpc>
            </a:pPr>
            <a:r>
              <a:rPr lang="nb-NO" dirty="0"/>
              <a:t>(husk å ta en liten teknisk pause i løpet av denne tiden) </a:t>
            </a:r>
          </a:p>
          <a:p>
            <a:endParaRPr lang="nb-NO" dirty="0"/>
          </a:p>
          <a:p>
            <a:endParaRPr lang="nb-NO" dirty="0"/>
          </a:p>
        </p:txBody>
      </p:sp>
      <p:sp>
        <p:nvSpPr>
          <p:cNvPr id="2" name="Oval 1">
            <a:extLst>
              <a:ext uri="{FF2B5EF4-FFF2-40B4-BE49-F238E27FC236}">
                <a16:creationId xmlns:a16="http://schemas.microsoft.com/office/drawing/2014/main" id="{FCF88745-A8DC-45D2-88F5-7D26A9E2BF05}"/>
              </a:ext>
            </a:extLst>
          </p:cNvPr>
          <p:cNvSpPr/>
          <p:nvPr/>
        </p:nvSpPr>
        <p:spPr>
          <a:xfrm>
            <a:off x="421421" y="2826483"/>
            <a:ext cx="405516" cy="389614"/>
          </a:xfrm>
          <a:prstGeom prst="ellipse">
            <a:avLst/>
          </a:prstGeom>
          <a:solidFill>
            <a:srgbClr val="62A0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1</a:t>
            </a:r>
          </a:p>
        </p:txBody>
      </p:sp>
      <p:sp>
        <p:nvSpPr>
          <p:cNvPr id="10" name="Oval 9">
            <a:extLst>
              <a:ext uri="{FF2B5EF4-FFF2-40B4-BE49-F238E27FC236}">
                <a16:creationId xmlns:a16="http://schemas.microsoft.com/office/drawing/2014/main" id="{DC2B8112-FA8F-49AF-B89B-D39A0CD60416}"/>
              </a:ext>
            </a:extLst>
          </p:cNvPr>
          <p:cNvSpPr/>
          <p:nvPr/>
        </p:nvSpPr>
        <p:spPr>
          <a:xfrm>
            <a:off x="421421" y="3522683"/>
            <a:ext cx="405516" cy="389614"/>
          </a:xfrm>
          <a:prstGeom prst="ellipse">
            <a:avLst/>
          </a:prstGeom>
          <a:solidFill>
            <a:srgbClr val="62A0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2</a:t>
            </a:r>
          </a:p>
        </p:txBody>
      </p:sp>
      <p:sp>
        <p:nvSpPr>
          <p:cNvPr id="11" name="Oval 10">
            <a:extLst>
              <a:ext uri="{FF2B5EF4-FFF2-40B4-BE49-F238E27FC236}">
                <a16:creationId xmlns:a16="http://schemas.microsoft.com/office/drawing/2014/main" id="{0C252A83-9E74-4728-9156-E4A85F658DC6}"/>
              </a:ext>
            </a:extLst>
          </p:cNvPr>
          <p:cNvSpPr/>
          <p:nvPr/>
        </p:nvSpPr>
        <p:spPr>
          <a:xfrm>
            <a:off x="421421" y="4205167"/>
            <a:ext cx="405516" cy="389614"/>
          </a:xfrm>
          <a:prstGeom prst="ellipse">
            <a:avLst/>
          </a:prstGeom>
          <a:solidFill>
            <a:srgbClr val="62A0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3</a:t>
            </a:r>
          </a:p>
        </p:txBody>
      </p:sp>
    </p:spTree>
    <p:extLst>
      <p:ext uri="{BB962C8B-B14F-4D97-AF65-F5344CB8AC3E}">
        <p14:creationId xmlns:p14="http://schemas.microsoft.com/office/powerpoint/2010/main" val="41760033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3">
            <a:extLst>
              <a:ext uri="{FF2B5EF4-FFF2-40B4-BE49-F238E27FC236}">
                <a16:creationId xmlns:a16="http://schemas.microsoft.com/office/drawing/2014/main" id="{B7DC162C-03A8-4FDE-BD21-5D03E61C308A}"/>
              </a:ext>
            </a:extLst>
          </p:cNvPr>
          <p:cNvPicPr>
            <a:picLocks noChangeAspect="1"/>
          </p:cNvPicPr>
          <p:nvPr/>
        </p:nvPicPr>
        <p:blipFill rotWithShape="1">
          <a:blip r:embed="rId6"/>
          <a:srcRect r="23522"/>
          <a:stretch/>
        </p:blipFill>
        <p:spPr>
          <a:xfrm rot="5400000">
            <a:off x="3203812" y="-3223231"/>
            <a:ext cx="791377" cy="7199002"/>
          </a:xfrm>
          <a:prstGeom prst="rect">
            <a:avLst/>
          </a:prstGeom>
        </p:spPr>
      </p:pic>
      <p:graphicFrame>
        <p:nvGraphicFramePr>
          <p:cNvPr id="91" name="Object 90" hidden="1">
            <a:extLst>
              <a:ext uri="{FF2B5EF4-FFF2-40B4-BE49-F238E27FC236}">
                <a16:creationId xmlns:a16="http://schemas.microsoft.com/office/drawing/2014/main" id="{523924EF-6901-46E3-A852-C9609C985CE0}"/>
              </a:ext>
            </a:extLst>
          </p:cNvPr>
          <p:cNvGraphicFramePr>
            <a:graphicFrameLocks noChangeAspect="1"/>
          </p:cNvGraphicFramePr>
          <p:nvPr>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7" imgW="473" imgH="473" progId="TCLayout.ActiveDocument.1">
                  <p:embed/>
                </p:oleObj>
              </mc:Choice>
              <mc:Fallback>
                <p:oleObj name="think-cell Slide" r:id="rId7" imgW="473" imgH="473" progId="TCLayout.ActiveDocument.1">
                  <p:embed/>
                  <p:pic>
                    <p:nvPicPr>
                      <p:cNvPr id="91" name="Object 90" hidden="1">
                        <a:extLst>
                          <a:ext uri="{FF2B5EF4-FFF2-40B4-BE49-F238E27FC236}">
                            <a16:creationId xmlns:a16="http://schemas.microsoft.com/office/drawing/2014/main" id="{523924EF-6901-46E3-A852-C9609C985CE0}"/>
                          </a:ext>
                        </a:extLst>
                      </p:cNvPr>
                      <p:cNvPicPr/>
                      <p:nvPr/>
                    </p:nvPicPr>
                    <p:blipFill>
                      <a:blip r:embed="rId8"/>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2419E6-8EDA-40C9-B4A5-9B8FD471B5A8}"/>
              </a:ext>
            </a:extLst>
          </p:cNvPr>
          <p:cNvSpPr/>
          <p:nvPr>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112" name="Tittel 1"/>
          <p:cNvSpPr>
            <a:spLocks noGrp="1"/>
          </p:cNvSpPr>
          <p:nvPr>
            <p:ph type="title"/>
          </p:nvPr>
        </p:nvSpPr>
        <p:spPr>
          <a:xfrm>
            <a:off x="40349" y="-844"/>
            <a:ext cx="6818930" cy="772800"/>
          </a:xfrm>
        </p:spPr>
        <p:txBody>
          <a:bodyPr vert="horz">
            <a:noAutofit/>
          </a:bodyPr>
          <a:lstStyle/>
          <a:p>
            <a:r>
              <a:rPr lang="nb-NO" sz="2800" b="1">
                <a:solidFill>
                  <a:schemeClr val="bg1"/>
                </a:solidFill>
              </a:rPr>
              <a:t>Distribusjon og håndtering datainnsamlingsark</a:t>
            </a:r>
          </a:p>
        </p:txBody>
      </p:sp>
      <p:sp>
        <p:nvSpPr>
          <p:cNvPr id="27" name="TextBox 26">
            <a:extLst>
              <a:ext uri="{FF2B5EF4-FFF2-40B4-BE49-F238E27FC236}">
                <a16:creationId xmlns:a16="http://schemas.microsoft.com/office/drawing/2014/main" id="{D8FD0963-B275-42BA-8BE3-C992466F000A}"/>
              </a:ext>
            </a:extLst>
          </p:cNvPr>
          <p:cNvSpPr txBox="1"/>
          <p:nvPr/>
        </p:nvSpPr>
        <p:spPr>
          <a:xfrm>
            <a:off x="373869" y="1274162"/>
            <a:ext cx="11123864" cy="4524315"/>
          </a:xfrm>
          <a:prstGeom prst="rect">
            <a:avLst/>
          </a:prstGeom>
          <a:noFill/>
        </p:spPr>
        <p:txBody>
          <a:bodyPr wrap="square" rtlCol="0">
            <a:spAutoFit/>
          </a:bodyPr>
          <a:lstStyle/>
          <a:p>
            <a:r>
              <a:rPr lang="nb-NO" sz="1600" b="1" dirty="0"/>
              <a:t>Teams</a:t>
            </a:r>
          </a:p>
          <a:p>
            <a:r>
              <a:rPr lang="nb-NO" sz="1600" dirty="0"/>
              <a:t>Det er opprettet en Teams-mappe for hvert fakultet, vitenskapsmuseet og fellesadministrasjonen. Alle ressurser som skal gjennomføre prosjektkonverteringen skal ha tilgang til mappen for sitt fakultet. </a:t>
            </a:r>
          </a:p>
          <a:p>
            <a:endParaRPr lang="nb-NO" sz="1600" dirty="0"/>
          </a:p>
          <a:p>
            <a:r>
              <a:rPr lang="nb-NO" sz="1600" b="1" dirty="0"/>
              <a:t>Datainnsamlingsark master</a:t>
            </a:r>
          </a:p>
          <a:p>
            <a:r>
              <a:rPr lang="nb-NO" sz="1600" dirty="0"/>
              <a:t>Fakultetets/vitenskapsmuseets/fellesadministrasjonens BFV-prosjekter skal leveres i «Datainnsamlingsark Prosjekt BFV Master XX».</a:t>
            </a:r>
          </a:p>
          <a:p>
            <a:endParaRPr lang="nb-NO" sz="1600" dirty="0"/>
          </a:p>
          <a:p>
            <a:r>
              <a:rPr lang="nb-NO" sz="1600" b="1" dirty="0"/>
              <a:t>Datainnsamlingsark arbeidsdokument</a:t>
            </a:r>
          </a:p>
          <a:p>
            <a:r>
              <a:rPr lang="nb-NO" sz="1600" dirty="0"/>
              <a:t>Datainnsamlingsark deles per institutt/enhet. Arbeidsdokumentene må sammenstilles av superbruker ved fakultetet i «Datainnsamlingsark BFV master XX».</a:t>
            </a:r>
          </a:p>
          <a:p>
            <a:endParaRPr lang="nb-NO" sz="1600" dirty="0"/>
          </a:p>
          <a:p>
            <a:endParaRPr lang="nb-NO" sz="1600" dirty="0"/>
          </a:p>
          <a:p>
            <a:endParaRPr lang="nb-NO" sz="1600" dirty="0"/>
          </a:p>
          <a:p>
            <a:endParaRPr lang="nb-NO" sz="1600" dirty="0"/>
          </a:p>
          <a:p>
            <a:endParaRPr lang="nb-NO" sz="1600" dirty="0"/>
          </a:p>
          <a:p>
            <a:endParaRPr lang="nb-NO" sz="1600" dirty="0"/>
          </a:p>
          <a:p>
            <a:endParaRPr lang="nb-NO" sz="1600" dirty="0"/>
          </a:p>
          <a:p>
            <a:r>
              <a:rPr lang="nb-NO" sz="1600" dirty="0"/>
              <a:t>Alt arbeid må foregå via Teams/SharePoint for å ivareta personvernhensyn. Datainnsamlingsarket skal ikke lastes ned lokalt.</a:t>
            </a:r>
          </a:p>
        </p:txBody>
      </p:sp>
      <p:pic>
        <p:nvPicPr>
          <p:cNvPr id="2" name="Picture 1">
            <a:extLst>
              <a:ext uri="{FF2B5EF4-FFF2-40B4-BE49-F238E27FC236}">
                <a16:creationId xmlns:a16="http://schemas.microsoft.com/office/drawing/2014/main" id="{E726DDE0-13DD-41C7-B02B-49C903F28994}"/>
              </a:ext>
            </a:extLst>
          </p:cNvPr>
          <p:cNvPicPr>
            <a:picLocks noChangeAspect="1"/>
          </p:cNvPicPr>
          <p:nvPr/>
        </p:nvPicPr>
        <p:blipFill>
          <a:blip r:embed="rId9"/>
          <a:stretch>
            <a:fillRect/>
          </a:stretch>
        </p:blipFill>
        <p:spPr>
          <a:xfrm>
            <a:off x="492402" y="3906283"/>
            <a:ext cx="6631384" cy="1419023"/>
          </a:xfrm>
          <a:prstGeom prst="rect">
            <a:avLst/>
          </a:prstGeom>
        </p:spPr>
      </p:pic>
    </p:spTree>
    <p:extLst>
      <p:ext uri="{BB962C8B-B14F-4D97-AF65-F5344CB8AC3E}">
        <p14:creationId xmlns:p14="http://schemas.microsoft.com/office/powerpoint/2010/main" val="4438244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3">
            <a:extLst>
              <a:ext uri="{FF2B5EF4-FFF2-40B4-BE49-F238E27FC236}">
                <a16:creationId xmlns:a16="http://schemas.microsoft.com/office/drawing/2014/main" id="{B7DC162C-03A8-4FDE-BD21-5D03E61C308A}"/>
              </a:ext>
            </a:extLst>
          </p:cNvPr>
          <p:cNvPicPr>
            <a:picLocks noChangeAspect="1"/>
          </p:cNvPicPr>
          <p:nvPr/>
        </p:nvPicPr>
        <p:blipFill rotWithShape="1">
          <a:blip r:embed="rId6"/>
          <a:srcRect r="23522"/>
          <a:stretch/>
        </p:blipFill>
        <p:spPr>
          <a:xfrm rot="5400000">
            <a:off x="3203812" y="-3223231"/>
            <a:ext cx="791377" cy="7199002"/>
          </a:xfrm>
          <a:prstGeom prst="rect">
            <a:avLst/>
          </a:prstGeom>
        </p:spPr>
      </p:pic>
      <p:graphicFrame>
        <p:nvGraphicFramePr>
          <p:cNvPr id="91" name="Object 90" hidden="1">
            <a:extLst>
              <a:ext uri="{FF2B5EF4-FFF2-40B4-BE49-F238E27FC236}">
                <a16:creationId xmlns:a16="http://schemas.microsoft.com/office/drawing/2014/main" id="{523924EF-6901-46E3-A852-C9609C985CE0}"/>
              </a:ext>
            </a:extLst>
          </p:cNvPr>
          <p:cNvGraphicFramePr>
            <a:graphicFrameLocks noChangeAspect="1"/>
          </p:cNvGraphicFramePr>
          <p:nvPr>
            <p:custDataLst>
              <p:tags r:id="rId2"/>
            </p:custDataLst>
            <p:extLst>
              <p:ext uri="{D42A27DB-BD31-4B8C-83A1-F6EECF244321}">
                <p14:modId xmlns:p14="http://schemas.microsoft.com/office/powerpoint/2010/main" val="3049994812"/>
              </p:ext>
            </p:ext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7" imgW="473" imgH="473" progId="TCLayout.ActiveDocument.1">
                  <p:embed/>
                </p:oleObj>
              </mc:Choice>
              <mc:Fallback>
                <p:oleObj name="think-cell Slide" r:id="rId7" imgW="473" imgH="473" progId="TCLayout.ActiveDocument.1">
                  <p:embed/>
                  <p:pic>
                    <p:nvPicPr>
                      <p:cNvPr id="91" name="Object 90" hidden="1">
                        <a:extLst>
                          <a:ext uri="{FF2B5EF4-FFF2-40B4-BE49-F238E27FC236}">
                            <a16:creationId xmlns:a16="http://schemas.microsoft.com/office/drawing/2014/main" id="{523924EF-6901-46E3-A852-C9609C985CE0}"/>
                          </a:ext>
                        </a:extLst>
                      </p:cNvPr>
                      <p:cNvPicPr/>
                      <p:nvPr/>
                    </p:nvPicPr>
                    <p:blipFill>
                      <a:blip r:embed="rId8"/>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2419E6-8EDA-40C9-B4A5-9B8FD471B5A8}"/>
              </a:ext>
            </a:extLst>
          </p:cNvPr>
          <p:cNvSpPr/>
          <p:nvPr>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112" name="Tittel 1"/>
          <p:cNvSpPr>
            <a:spLocks noGrp="1"/>
          </p:cNvSpPr>
          <p:nvPr>
            <p:ph type="title"/>
          </p:nvPr>
        </p:nvSpPr>
        <p:spPr>
          <a:xfrm>
            <a:off x="40349" y="-844"/>
            <a:ext cx="6818930" cy="772800"/>
          </a:xfrm>
        </p:spPr>
        <p:txBody>
          <a:bodyPr vert="horz">
            <a:noAutofit/>
          </a:bodyPr>
          <a:lstStyle/>
          <a:p>
            <a:r>
              <a:rPr lang="nb-NO" sz="2800" b="1">
                <a:solidFill>
                  <a:schemeClr val="bg1"/>
                </a:solidFill>
              </a:rPr>
              <a:t>Kvalitetssikring</a:t>
            </a:r>
            <a:endParaRPr lang="nb-NO" sz="3200" b="1">
              <a:solidFill>
                <a:schemeClr val="bg1"/>
              </a:solidFill>
            </a:endParaRPr>
          </a:p>
        </p:txBody>
      </p:sp>
      <p:sp>
        <p:nvSpPr>
          <p:cNvPr id="8" name="Rectangle 7">
            <a:extLst>
              <a:ext uri="{FF2B5EF4-FFF2-40B4-BE49-F238E27FC236}">
                <a16:creationId xmlns:a16="http://schemas.microsoft.com/office/drawing/2014/main" id="{CB0FE762-8005-475A-A610-B928479D775D}"/>
              </a:ext>
            </a:extLst>
          </p:cNvPr>
          <p:cNvSpPr/>
          <p:nvPr/>
        </p:nvSpPr>
        <p:spPr>
          <a:xfrm>
            <a:off x="1576675" y="1654915"/>
            <a:ext cx="9548525" cy="3139321"/>
          </a:xfrm>
          <a:prstGeom prst="rect">
            <a:avLst/>
          </a:prstGeom>
        </p:spPr>
        <p:txBody>
          <a:bodyPr wrap="square">
            <a:spAutoFit/>
          </a:bodyPr>
          <a:lstStyle/>
          <a:p>
            <a:r>
              <a:rPr lang="nb-NO" b="1"/>
              <a:t>Superbruker utfører kvalitetssikring av datainnsamlingsark ved fakultet BFV før innsendelse. </a:t>
            </a:r>
          </a:p>
          <a:p>
            <a:endParaRPr lang="nb-NO"/>
          </a:p>
          <a:p>
            <a:pPr marL="285750" indent="-285750">
              <a:buFont typeface="Arial" panose="020B0604020202020204" pitchFamily="34" charset="0"/>
              <a:buChar char="•"/>
            </a:pPr>
            <a:r>
              <a:rPr lang="nb-NO"/>
              <a:t>Superbruker får tilgang til en teknisk sjekkliste som skal utføres før levering av datainnsamlingsarket.</a:t>
            </a:r>
          </a:p>
          <a:p>
            <a:endParaRPr lang="nb-NO"/>
          </a:p>
          <a:p>
            <a:pPr marL="285750" indent="-285750">
              <a:buFont typeface="Arial" panose="020B0604020202020204" pitchFamily="34" charset="0"/>
              <a:buChar char="•"/>
            </a:pPr>
            <a:r>
              <a:rPr lang="nb-NO"/>
              <a:t>Det vil ikke gjennomføres sentral kvalitetssikring av prosjektstrukturer. Fakultetene må derfor sørge for at nye prosjektstrukturer gir tilfredsstillende økonomisk oversikt.</a:t>
            </a:r>
          </a:p>
          <a:p>
            <a:endParaRPr lang="nb-NO"/>
          </a:p>
          <a:p>
            <a:pPr marL="285750" indent="-285750">
              <a:buFont typeface="Arial" panose="020B0604020202020204" pitchFamily="34" charset="0"/>
              <a:buChar char="•"/>
            </a:pPr>
            <a:r>
              <a:rPr lang="nb-NO"/>
              <a:t>Sentral kvalitetssikring vil ha fokus på sammenstilling av datainnsamlingsark på tvers av fakultet. Fakultetene må derfor belage seg på at de ikke kan endre datainnsamlingsarket etter levering og at det er leverte prosjekter 04.10 som leses inn i Unit4.</a:t>
            </a:r>
          </a:p>
        </p:txBody>
      </p:sp>
      <p:pic>
        <p:nvPicPr>
          <p:cNvPr id="3" name="Graphic 2" descr="Checkmark">
            <a:extLst>
              <a:ext uri="{FF2B5EF4-FFF2-40B4-BE49-F238E27FC236}">
                <a16:creationId xmlns:a16="http://schemas.microsoft.com/office/drawing/2014/main" id="{4571966B-05B9-4D5E-BB40-173A9BD7477A}"/>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542014" y="1397442"/>
            <a:ext cx="914400" cy="914400"/>
          </a:xfrm>
          <a:prstGeom prst="rect">
            <a:avLst/>
          </a:prstGeom>
        </p:spPr>
      </p:pic>
    </p:spTree>
    <p:extLst>
      <p:ext uri="{BB962C8B-B14F-4D97-AF65-F5344CB8AC3E}">
        <p14:creationId xmlns:p14="http://schemas.microsoft.com/office/powerpoint/2010/main" val="36201593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3">
            <a:extLst>
              <a:ext uri="{FF2B5EF4-FFF2-40B4-BE49-F238E27FC236}">
                <a16:creationId xmlns:a16="http://schemas.microsoft.com/office/drawing/2014/main" id="{B7DC162C-03A8-4FDE-BD21-5D03E61C308A}"/>
              </a:ext>
            </a:extLst>
          </p:cNvPr>
          <p:cNvPicPr>
            <a:picLocks noChangeAspect="1"/>
          </p:cNvPicPr>
          <p:nvPr/>
        </p:nvPicPr>
        <p:blipFill rotWithShape="1">
          <a:blip r:embed="rId6"/>
          <a:srcRect r="23522"/>
          <a:stretch/>
        </p:blipFill>
        <p:spPr>
          <a:xfrm rot="5400000">
            <a:off x="3203812" y="-3223231"/>
            <a:ext cx="791377" cy="7199002"/>
          </a:xfrm>
          <a:prstGeom prst="rect">
            <a:avLst/>
          </a:prstGeom>
        </p:spPr>
      </p:pic>
      <p:graphicFrame>
        <p:nvGraphicFramePr>
          <p:cNvPr id="91" name="Object 90" hidden="1">
            <a:extLst>
              <a:ext uri="{FF2B5EF4-FFF2-40B4-BE49-F238E27FC236}">
                <a16:creationId xmlns:a16="http://schemas.microsoft.com/office/drawing/2014/main" id="{523924EF-6901-46E3-A852-C9609C985CE0}"/>
              </a:ext>
            </a:extLst>
          </p:cNvPr>
          <p:cNvGraphicFramePr>
            <a:graphicFrameLocks noChangeAspect="1"/>
          </p:cNvGraphicFramePr>
          <p:nvPr>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7" imgW="473" imgH="473" progId="TCLayout.ActiveDocument.1">
                  <p:embed/>
                </p:oleObj>
              </mc:Choice>
              <mc:Fallback>
                <p:oleObj name="think-cell Slide" r:id="rId7" imgW="473" imgH="473" progId="TCLayout.ActiveDocument.1">
                  <p:embed/>
                  <p:pic>
                    <p:nvPicPr>
                      <p:cNvPr id="91" name="Object 90" hidden="1">
                        <a:extLst>
                          <a:ext uri="{FF2B5EF4-FFF2-40B4-BE49-F238E27FC236}">
                            <a16:creationId xmlns:a16="http://schemas.microsoft.com/office/drawing/2014/main" id="{523924EF-6901-46E3-A852-C9609C985CE0}"/>
                          </a:ext>
                        </a:extLst>
                      </p:cNvPr>
                      <p:cNvPicPr/>
                      <p:nvPr/>
                    </p:nvPicPr>
                    <p:blipFill>
                      <a:blip r:embed="rId8"/>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2419E6-8EDA-40C9-B4A5-9B8FD471B5A8}"/>
              </a:ext>
            </a:extLst>
          </p:cNvPr>
          <p:cNvSpPr/>
          <p:nvPr>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112" name="Tittel 1"/>
          <p:cNvSpPr>
            <a:spLocks noGrp="1"/>
          </p:cNvSpPr>
          <p:nvPr>
            <p:ph type="title"/>
          </p:nvPr>
        </p:nvSpPr>
        <p:spPr>
          <a:xfrm>
            <a:off x="40349" y="-844"/>
            <a:ext cx="6818930" cy="772800"/>
          </a:xfrm>
        </p:spPr>
        <p:txBody>
          <a:bodyPr vert="horz">
            <a:noAutofit/>
          </a:bodyPr>
          <a:lstStyle/>
          <a:p>
            <a:r>
              <a:rPr lang="nb-NO" sz="2800" b="1">
                <a:solidFill>
                  <a:schemeClr val="bg1"/>
                </a:solidFill>
              </a:rPr>
              <a:t>Oppsummering og veien videre</a:t>
            </a:r>
          </a:p>
        </p:txBody>
      </p:sp>
      <p:graphicFrame>
        <p:nvGraphicFramePr>
          <p:cNvPr id="9" name="Table 2">
            <a:extLst>
              <a:ext uri="{FF2B5EF4-FFF2-40B4-BE49-F238E27FC236}">
                <a16:creationId xmlns:a16="http://schemas.microsoft.com/office/drawing/2014/main" id="{F696E27E-070D-45E7-A452-295D3548566F}"/>
              </a:ext>
            </a:extLst>
          </p:cNvPr>
          <p:cNvGraphicFramePr>
            <a:graphicFrameLocks noGrp="1"/>
          </p:cNvGraphicFramePr>
          <p:nvPr>
            <p:extLst>
              <p:ext uri="{D42A27DB-BD31-4B8C-83A1-F6EECF244321}">
                <p14:modId xmlns:p14="http://schemas.microsoft.com/office/powerpoint/2010/main" val="1920505814"/>
              </p:ext>
            </p:extLst>
          </p:nvPr>
        </p:nvGraphicFramePr>
        <p:xfrm>
          <a:off x="0" y="2061449"/>
          <a:ext cx="12047458" cy="3640299"/>
        </p:xfrm>
        <a:graphic>
          <a:graphicData uri="http://schemas.openxmlformats.org/drawingml/2006/table">
            <a:tbl>
              <a:tblPr firstRow="1" bandRow="1">
                <a:tableStyleId>{2D5ABB26-0587-4C30-8999-92F81FD0307C}</a:tableStyleId>
              </a:tblPr>
              <a:tblGrid>
                <a:gridCol w="1112363">
                  <a:extLst>
                    <a:ext uri="{9D8B030D-6E8A-4147-A177-3AD203B41FA5}">
                      <a16:colId xmlns:a16="http://schemas.microsoft.com/office/drawing/2014/main" val="2149771528"/>
                    </a:ext>
                  </a:extLst>
                </a:gridCol>
                <a:gridCol w="2187019">
                  <a:extLst>
                    <a:ext uri="{9D8B030D-6E8A-4147-A177-3AD203B41FA5}">
                      <a16:colId xmlns:a16="http://schemas.microsoft.com/office/drawing/2014/main" val="3718653296"/>
                    </a:ext>
                  </a:extLst>
                </a:gridCol>
                <a:gridCol w="2187019">
                  <a:extLst>
                    <a:ext uri="{9D8B030D-6E8A-4147-A177-3AD203B41FA5}">
                      <a16:colId xmlns:a16="http://schemas.microsoft.com/office/drawing/2014/main" val="521958144"/>
                    </a:ext>
                  </a:extLst>
                </a:gridCol>
                <a:gridCol w="2187019">
                  <a:extLst>
                    <a:ext uri="{9D8B030D-6E8A-4147-A177-3AD203B41FA5}">
                      <a16:colId xmlns:a16="http://schemas.microsoft.com/office/drawing/2014/main" val="1132455760"/>
                    </a:ext>
                  </a:extLst>
                </a:gridCol>
                <a:gridCol w="2187019">
                  <a:extLst>
                    <a:ext uri="{9D8B030D-6E8A-4147-A177-3AD203B41FA5}">
                      <a16:colId xmlns:a16="http://schemas.microsoft.com/office/drawing/2014/main" val="178821685"/>
                    </a:ext>
                  </a:extLst>
                </a:gridCol>
                <a:gridCol w="2187019">
                  <a:extLst>
                    <a:ext uri="{9D8B030D-6E8A-4147-A177-3AD203B41FA5}">
                      <a16:colId xmlns:a16="http://schemas.microsoft.com/office/drawing/2014/main" val="1133238447"/>
                    </a:ext>
                  </a:extLst>
                </a:gridCol>
              </a:tblGrid>
              <a:tr h="370840">
                <a:tc>
                  <a:txBody>
                    <a:bodyPr/>
                    <a:lstStyle/>
                    <a:p>
                      <a:endParaRPr lang="nb-NO" sz="1400">
                        <a:solidFill>
                          <a:schemeClr val="bg1">
                            <a:lumMod val="65000"/>
                          </a:schemeClr>
                        </a:solidFill>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r>
                        <a:rPr lang="nb-NO" sz="1400">
                          <a:solidFill>
                            <a:schemeClr val="bg1">
                              <a:lumMod val="65000"/>
                            </a:schemeClr>
                          </a:solidFill>
                        </a:rPr>
                        <a:t>Uke 25-33</a:t>
                      </a: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r>
                        <a:rPr lang="nb-NO" sz="1400" b="1"/>
                        <a:t>Uke 3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r>
                        <a:rPr lang="nb-NO" sz="1400"/>
                        <a:t>Uke 33-3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r>
                        <a:rPr lang="nb-NO" sz="1400"/>
                        <a:t>Uke 35-39</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r>
                        <a:rPr lang="nb-NO" sz="1400"/>
                        <a:t>Uke 4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624390063"/>
                  </a:ext>
                </a:extLst>
              </a:tr>
              <a:tr h="787989">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b-NO" sz="140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nb-NO" sz="140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nb-NO" sz="140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nb-NO" sz="140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sz="1400">
                          <a:solidFill>
                            <a:schemeClr val="tx1"/>
                          </a:solidFill>
                        </a:rPr>
                        <a:t>Aktiviteter</a:t>
                      </a:r>
                    </a:p>
                  </a:txBody>
                  <a:tcPr>
                    <a:lnR w="12700" cap="flat" cmpd="sng" algn="ctr">
                      <a:solidFill>
                        <a:schemeClr val="tx1"/>
                      </a:solidFill>
                      <a:prstDash val="solid"/>
                      <a:round/>
                      <a:headEnd type="none" w="med" len="med"/>
                      <a:tailEnd type="none" w="med" len="med"/>
                    </a:lnR>
                    <a:lnT>
                      <a:noFill/>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400">
                          <a:solidFill>
                            <a:schemeClr val="bg1">
                              <a:lumMod val="65000"/>
                            </a:schemeClr>
                          </a:solidFill>
                        </a:rPr>
                        <a:t>Delta på basisku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400" b="0">
                          <a:solidFill>
                            <a:schemeClr val="bg1">
                              <a:lumMod val="65000"/>
                            </a:schemeClr>
                          </a:solidFill>
                        </a:rPr>
                        <a:t>Superbrukere deltar på kurs i datainnsamlingsar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tcPr>
                </a:tc>
                <a:tc>
                  <a:txBody>
                    <a:bodyPr/>
                    <a:lstStyle/>
                    <a:p>
                      <a:r>
                        <a:rPr lang="nb-NO" sz="1400"/>
                        <a:t>Enhetene fyller ut datainnsamlingsar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400"/>
                        <a:t>Enhetene fyller ut datainnsamlingsarke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tcPr>
                </a:tc>
                <a:tc>
                  <a:txBody>
                    <a:bodyPr/>
                    <a:lstStyle/>
                    <a:p>
                      <a:r>
                        <a:rPr lang="nb-NO" sz="1400"/>
                        <a:t>Tilgjengelig for avklaring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tcPr>
                </a:tc>
                <a:extLst>
                  <a:ext uri="{0D108BD9-81ED-4DB2-BD59-A6C34878D82A}">
                    <a16:rowId xmlns:a16="http://schemas.microsoft.com/office/drawing/2014/main" val="1949771206"/>
                  </a:ext>
                </a:extLst>
              </a:tr>
              <a:tr h="80507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b-NO" sz="1400">
                        <a:solidFill>
                          <a:schemeClr val="bg1">
                            <a:lumMod val="65000"/>
                          </a:schemeClr>
                        </a:solidFill>
                      </a:endParaRPr>
                    </a:p>
                  </a:txBody>
                  <a:tcPr>
                    <a:lnR w="12700" cap="flat" cmpd="sng" algn="ctr">
                      <a:solidFill>
                        <a:schemeClr val="tx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400">
                          <a:solidFill>
                            <a:schemeClr val="bg1">
                              <a:lumMod val="65000"/>
                            </a:schemeClr>
                          </a:solidFill>
                        </a:rPr>
                        <a:t>Motta aktive prosjekter og analyseverdi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nb-NO" sz="1400" b="0"/>
                        <a:t>Motta bestilling og veiledn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nb-NO" sz="1400"/>
                        <a:t>Superbruker deltar i superbrukerforu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400"/>
                        <a:t>Superbruker deltar i superbrukerforum</a:t>
                      </a:r>
                    </a:p>
                    <a:p>
                      <a:endParaRPr lang="nb-NO"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nb-NO"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170169560"/>
                  </a:ext>
                </a:extLst>
              </a:tr>
              <a:tr h="37084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b-NO" sz="1400">
                        <a:solidFill>
                          <a:schemeClr val="bg1">
                            <a:lumMod val="65000"/>
                          </a:schemeClr>
                        </a:solidFill>
                      </a:endParaRPr>
                    </a:p>
                  </a:txBody>
                  <a:tcPr>
                    <a:lnR w="12700" cap="flat" cmpd="sng" algn="ctr">
                      <a:solidFill>
                        <a:schemeClr val="tx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400">
                          <a:solidFill>
                            <a:schemeClr val="bg1">
                              <a:lumMod val="65000"/>
                            </a:schemeClr>
                          </a:solidFill>
                        </a:rPr>
                        <a:t>Vurdere struktur ved egen enhe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r>
                        <a:rPr lang="nb-NO" sz="1400" b="0"/>
                        <a:t>Tilgang til datainnsamlingsar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endParaRPr lang="nb-NO"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endParaRPr lang="nb-NO"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endParaRPr lang="nb-NO"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5137630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400">
                          <a:solidFill>
                            <a:schemeClr val="tx1"/>
                          </a:solidFill>
                        </a:rPr>
                        <a:t>Leveranser</a:t>
                      </a:r>
                    </a:p>
                  </a:txBody>
                  <a:tcPr>
                    <a:lnR w="12700" cap="flat" cmpd="sng" algn="ctr">
                      <a:solidFill>
                        <a:schemeClr val="tx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b-NO" sz="1400">
                        <a:solidFill>
                          <a:schemeClr val="bg1">
                            <a:lumMod val="6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endParaRPr lang="nb-NO" sz="1400" b="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400" b="1"/>
                        <a:t>Delleveranse 03.09</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400"/>
                        <a:t>Innlevering utvalg BFV-prosjekter fra fakultet/F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400" b="1"/>
                        <a:t>Hovedleveranse 04.10</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400"/>
                        <a:t>Innlevering endelig datainnsamlingsark BFV fra fakultet/FA</a:t>
                      </a:r>
                    </a:p>
                    <a:p>
                      <a:endParaRPr lang="nb-NO"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endParaRPr lang="nb-NO"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530159898"/>
                  </a:ext>
                </a:extLst>
              </a:tr>
            </a:tbl>
          </a:graphicData>
        </a:graphic>
      </p:graphicFrame>
      <p:sp>
        <p:nvSpPr>
          <p:cNvPr id="10" name="Rectangle 9">
            <a:extLst>
              <a:ext uri="{FF2B5EF4-FFF2-40B4-BE49-F238E27FC236}">
                <a16:creationId xmlns:a16="http://schemas.microsoft.com/office/drawing/2014/main" id="{13D5E78D-E9EB-4B1D-9D5B-E0FADC19663D}"/>
              </a:ext>
            </a:extLst>
          </p:cNvPr>
          <p:cNvSpPr/>
          <p:nvPr/>
        </p:nvSpPr>
        <p:spPr>
          <a:xfrm>
            <a:off x="1140643" y="5769206"/>
            <a:ext cx="226244" cy="169682"/>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Rectangle 10">
            <a:extLst>
              <a:ext uri="{FF2B5EF4-FFF2-40B4-BE49-F238E27FC236}">
                <a16:creationId xmlns:a16="http://schemas.microsoft.com/office/drawing/2014/main" id="{83B99AAB-40B1-4425-B050-2FCB2A8074E9}"/>
              </a:ext>
            </a:extLst>
          </p:cNvPr>
          <p:cNvSpPr/>
          <p:nvPr/>
        </p:nvSpPr>
        <p:spPr>
          <a:xfrm>
            <a:off x="1140643" y="6059449"/>
            <a:ext cx="226244" cy="169682"/>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 name="TextBox 11">
            <a:extLst>
              <a:ext uri="{FF2B5EF4-FFF2-40B4-BE49-F238E27FC236}">
                <a16:creationId xmlns:a16="http://schemas.microsoft.com/office/drawing/2014/main" id="{2A52A4D8-91C3-4409-B4D2-5E34C7A83A18}"/>
              </a:ext>
            </a:extLst>
          </p:cNvPr>
          <p:cNvSpPr txBox="1"/>
          <p:nvPr/>
        </p:nvSpPr>
        <p:spPr>
          <a:xfrm>
            <a:off x="1461155" y="5723242"/>
            <a:ext cx="1432874" cy="261610"/>
          </a:xfrm>
          <a:prstGeom prst="rect">
            <a:avLst/>
          </a:prstGeom>
          <a:noFill/>
        </p:spPr>
        <p:txBody>
          <a:bodyPr wrap="square" rtlCol="0">
            <a:spAutoFit/>
          </a:bodyPr>
          <a:lstStyle/>
          <a:p>
            <a:r>
              <a:rPr lang="nb-NO" sz="1100"/>
              <a:t>Gjennomført</a:t>
            </a:r>
          </a:p>
        </p:txBody>
      </p:sp>
      <p:sp>
        <p:nvSpPr>
          <p:cNvPr id="13" name="TextBox 12">
            <a:extLst>
              <a:ext uri="{FF2B5EF4-FFF2-40B4-BE49-F238E27FC236}">
                <a16:creationId xmlns:a16="http://schemas.microsoft.com/office/drawing/2014/main" id="{4A68B15B-767D-474C-8FB8-B5E4BA4FC611}"/>
              </a:ext>
            </a:extLst>
          </p:cNvPr>
          <p:cNvSpPr txBox="1"/>
          <p:nvPr/>
        </p:nvSpPr>
        <p:spPr>
          <a:xfrm>
            <a:off x="1461155" y="6031168"/>
            <a:ext cx="1432874" cy="261610"/>
          </a:xfrm>
          <a:prstGeom prst="rect">
            <a:avLst/>
          </a:prstGeom>
          <a:noFill/>
        </p:spPr>
        <p:txBody>
          <a:bodyPr wrap="square" rtlCol="0">
            <a:spAutoFit/>
          </a:bodyPr>
          <a:lstStyle/>
          <a:p>
            <a:r>
              <a:rPr lang="nb-NO" sz="1100"/>
              <a:t>Gjenstår</a:t>
            </a:r>
          </a:p>
        </p:txBody>
      </p:sp>
    </p:spTree>
    <p:extLst>
      <p:ext uri="{BB962C8B-B14F-4D97-AF65-F5344CB8AC3E}">
        <p14:creationId xmlns:p14="http://schemas.microsoft.com/office/powerpoint/2010/main" val="31012494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3FFE4D-9ADE-4282-B292-234038344200}"/>
              </a:ext>
            </a:extLst>
          </p:cNvPr>
          <p:cNvSpPr>
            <a:spLocks noGrp="1"/>
          </p:cNvSpPr>
          <p:nvPr>
            <p:ph type="title"/>
          </p:nvPr>
        </p:nvSpPr>
        <p:spPr/>
        <p:txBody>
          <a:bodyPr/>
          <a:lstStyle/>
          <a:p>
            <a:r>
              <a:rPr lang="nb-NO" dirty="0"/>
              <a:t> </a:t>
            </a:r>
          </a:p>
        </p:txBody>
      </p:sp>
      <p:sp>
        <p:nvSpPr>
          <p:cNvPr id="3" name="Content Placeholder 2">
            <a:extLst>
              <a:ext uri="{FF2B5EF4-FFF2-40B4-BE49-F238E27FC236}">
                <a16:creationId xmlns:a16="http://schemas.microsoft.com/office/drawing/2014/main" id="{DEE9C7F5-67A9-4C8C-A92F-D93B782FFF60}"/>
              </a:ext>
            </a:extLst>
          </p:cNvPr>
          <p:cNvSpPr>
            <a:spLocks noGrp="1"/>
          </p:cNvSpPr>
          <p:nvPr>
            <p:ph idx="1"/>
          </p:nvPr>
        </p:nvSpPr>
        <p:spPr/>
        <p:txBody>
          <a:bodyPr>
            <a:normAutofit/>
          </a:bodyPr>
          <a:lstStyle/>
          <a:p>
            <a:pPr marL="0" indent="0">
              <a:buNone/>
            </a:pPr>
            <a:r>
              <a:rPr lang="nb-NO" sz="1400" dirty="0"/>
              <a:t>Fra </a:t>
            </a:r>
            <a:r>
              <a:rPr lang="nb-NO" sz="1400" dirty="0" err="1"/>
              <a:t>bestillingsbrev</a:t>
            </a:r>
            <a:r>
              <a:rPr lang="nb-NO" sz="1400" dirty="0"/>
              <a:t>: </a:t>
            </a:r>
          </a:p>
        </p:txBody>
      </p:sp>
      <p:pic>
        <p:nvPicPr>
          <p:cNvPr id="4" name="Picture 3">
            <a:extLst>
              <a:ext uri="{FF2B5EF4-FFF2-40B4-BE49-F238E27FC236}">
                <a16:creationId xmlns:a16="http://schemas.microsoft.com/office/drawing/2014/main" id="{2A204835-43A0-48E5-91A8-C8D49FE9E0D1}"/>
              </a:ext>
            </a:extLst>
          </p:cNvPr>
          <p:cNvPicPr>
            <a:picLocks noChangeAspect="1"/>
          </p:cNvPicPr>
          <p:nvPr/>
        </p:nvPicPr>
        <p:blipFill rotWithShape="1">
          <a:blip r:embed="rId2"/>
          <a:srcRect r="23522"/>
          <a:stretch/>
        </p:blipFill>
        <p:spPr>
          <a:xfrm rot="5400000">
            <a:off x="3203814" y="-3203812"/>
            <a:ext cx="791377" cy="7199002"/>
          </a:xfrm>
          <a:prstGeom prst="rect">
            <a:avLst/>
          </a:prstGeom>
        </p:spPr>
      </p:pic>
      <p:sp>
        <p:nvSpPr>
          <p:cNvPr id="6" name="TextBox 5">
            <a:extLst>
              <a:ext uri="{FF2B5EF4-FFF2-40B4-BE49-F238E27FC236}">
                <a16:creationId xmlns:a16="http://schemas.microsoft.com/office/drawing/2014/main" id="{8676C9E4-0D5E-4F73-BE6E-B77718C49E63}"/>
              </a:ext>
            </a:extLst>
          </p:cNvPr>
          <p:cNvSpPr txBox="1"/>
          <p:nvPr/>
        </p:nvSpPr>
        <p:spPr>
          <a:xfrm>
            <a:off x="85269" y="166349"/>
            <a:ext cx="6127422" cy="461665"/>
          </a:xfrm>
          <a:prstGeom prst="rect">
            <a:avLst/>
          </a:prstGeom>
          <a:noFill/>
        </p:spPr>
        <p:txBody>
          <a:bodyPr wrap="square">
            <a:spAutoFit/>
          </a:bodyPr>
          <a:lstStyle/>
          <a:p>
            <a:r>
              <a:rPr lang="nb-NO" sz="2400" b="1" dirty="0">
                <a:solidFill>
                  <a:schemeClr val="bg1"/>
                </a:solidFill>
              </a:rPr>
              <a:t>Nærmere info om delleveranse BFV 03.09 </a:t>
            </a:r>
          </a:p>
        </p:txBody>
      </p:sp>
      <p:pic>
        <p:nvPicPr>
          <p:cNvPr id="7" name="Picture 6">
            <a:extLst>
              <a:ext uri="{FF2B5EF4-FFF2-40B4-BE49-F238E27FC236}">
                <a16:creationId xmlns:a16="http://schemas.microsoft.com/office/drawing/2014/main" id="{5D950AD1-9392-4C1C-B519-C0B345A0557B}"/>
              </a:ext>
            </a:extLst>
          </p:cNvPr>
          <p:cNvPicPr>
            <a:picLocks noChangeAspect="1"/>
          </p:cNvPicPr>
          <p:nvPr/>
        </p:nvPicPr>
        <p:blipFill>
          <a:blip r:embed="rId3"/>
          <a:stretch>
            <a:fillRect/>
          </a:stretch>
        </p:blipFill>
        <p:spPr>
          <a:xfrm>
            <a:off x="2060246" y="2138092"/>
            <a:ext cx="7780952" cy="3504762"/>
          </a:xfrm>
          <a:prstGeom prst="rect">
            <a:avLst/>
          </a:prstGeom>
        </p:spPr>
      </p:pic>
    </p:spTree>
    <p:extLst>
      <p:ext uri="{BB962C8B-B14F-4D97-AF65-F5344CB8AC3E}">
        <p14:creationId xmlns:p14="http://schemas.microsoft.com/office/powerpoint/2010/main" val="41296062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3F604BC-E7EF-49EF-835C-2C2B9905E24E}"/>
              </a:ext>
            </a:extLst>
          </p:cNvPr>
          <p:cNvSpPr>
            <a:spLocks noGrp="1"/>
          </p:cNvSpPr>
          <p:nvPr>
            <p:ph idx="1"/>
          </p:nvPr>
        </p:nvSpPr>
        <p:spPr/>
        <p:txBody>
          <a:bodyPr/>
          <a:lstStyle/>
          <a:p>
            <a:r>
              <a:rPr lang="nb-NO" dirty="0"/>
              <a:t>Brukes for å holde orden på </a:t>
            </a:r>
            <a:r>
              <a:rPr lang="nb-NO" dirty="0" err="1"/>
              <a:t>prosjektlista</a:t>
            </a:r>
            <a:r>
              <a:rPr lang="nb-NO" dirty="0"/>
              <a:t> med tanke på nyopprettede prosjektnummer i konverteringsarbeidet. </a:t>
            </a:r>
          </a:p>
          <a:p>
            <a:r>
              <a:rPr lang="nb-NO" dirty="0">
                <a:hlinkClick r:id="rId2"/>
              </a:rPr>
              <a:t>lenke her</a:t>
            </a:r>
            <a:endParaRPr lang="nb-NO" dirty="0"/>
          </a:p>
        </p:txBody>
      </p:sp>
      <p:pic>
        <p:nvPicPr>
          <p:cNvPr id="4" name="Picture 3">
            <a:extLst>
              <a:ext uri="{FF2B5EF4-FFF2-40B4-BE49-F238E27FC236}">
                <a16:creationId xmlns:a16="http://schemas.microsoft.com/office/drawing/2014/main" id="{1461DCC1-9DD2-4A2D-992A-8F2782F21BA6}"/>
              </a:ext>
            </a:extLst>
          </p:cNvPr>
          <p:cNvPicPr>
            <a:picLocks noChangeAspect="1"/>
          </p:cNvPicPr>
          <p:nvPr/>
        </p:nvPicPr>
        <p:blipFill rotWithShape="1">
          <a:blip r:embed="rId3"/>
          <a:srcRect r="23522"/>
          <a:stretch/>
        </p:blipFill>
        <p:spPr>
          <a:xfrm rot="5400000">
            <a:off x="4989463" y="-4989461"/>
            <a:ext cx="1232452" cy="11211375"/>
          </a:xfrm>
          <a:prstGeom prst="rect">
            <a:avLst/>
          </a:prstGeom>
        </p:spPr>
      </p:pic>
      <p:sp>
        <p:nvSpPr>
          <p:cNvPr id="6" name="TextBox 5">
            <a:extLst>
              <a:ext uri="{FF2B5EF4-FFF2-40B4-BE49-F238E27FC236}">
                <a16:creationId xmlns:a16="http://schemas.microsoft.com/office/drawing/2014/main" id="{3ACA7E5C-067A-417B-B9E9-9C75723DD3A2}"/>
              </a:ext>
            </a:extLst>
          </p:cNvPr>
          <p:cNvSpPr txBox="1"/>
          <p:nvPr/>
        </p:nvSpPr>
        <p:spPr>
          <a:xfrm>
            <a:off x="1553817" y="340232"/>
            <a:ext cx="8216348" cy="523220"/>
          </a:xfrm>
          <a:prstGeom prst="rect">
            <a:avLst/>
          </a:prstGeom>
          <a:noFill/>
        </p:spPr>
        <p:txBody>
          <a:bodyPr wrap="square">
            <a:spAutoFit/>
          </a:bodyPr>
          <a:lstStyle/>
          <a:p>
            <a:r>
              <a:rPr lang="nb-NO" sz="2800" b="1" dirty="0">
                <a:solidFill>
                  <a:schemeClr val="bg1"/>
                </a:solidFill>
              </a:rPr>
              <a:t>Prosjekt opprettet etter 1.juli 2021 etter eiersted </a:t>
            </a:r>
          </a:p>
        </p:txBody>
      </p:sp>
    </p:spTree>
    <p:extLst>
      <p:ext uri="{BB962C8B-B14F-4D97-AF65-F5344CB8AC3E}">
        <p14:creationId xmlns:p14="http://schemas.microsoft.com/office/powerpoint/2010/main" val="7638342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3">
            <a:extLst>
              <a:ext uri="{FF2B5EF4-FFF2-40B4-BE49-F238E27FC236}">
                <a16:creationId xmlns:a16="http://schemas.microsoft.com/office/drawing/2014/main" id="{B7DC162C-03A8-4FDE-BD21-5D03E61C308A}"/>
              </a:ext>
            </a:extLst>
          </p:cNvPr>
          <p:cNvPicPr>
            <a:picLocks noChangeAspect="1"/>
          </p:cNvPicPr>
          <p:nvPr/>
        </p:nvPicPr>
        <p:blipFill rotWithShape="1">
          <a:blip r:embed="rId6"/>
          <a:srcRect r="23522"/>
          <a:stretch/>
        </p:blipFill>
        <p:spPr>
          <a:xfrm rot="5400000">
            <a:off x="3203812" y="-3223231"/>
            <a:ext cx="791377" cy="7199002"/>
          </a:xfrm>
          <a:prstGeom prst="rect">
            <a:avLst/>
          </a:prstGeom>
        </p:spPr>
      </p:pic>
      <p:graphicFrame>
        <p:nvGraphicFramePr>
          <p:cNvPr id="91" name="Object 90" hidden="1">
            <a:extLst>
              <a:ext uri="{FF2B5EF4-FFF2-40B4-BE49-F238E27FC236}">
                <a16:creationId xmlns:a16="http://schemas.microsoft.com/office/drawing/2014/main" id="{523924EF-6901-46E3-A852-C9609C985CE0}"/>
              </a:ext>
            </a:extLst>
          </p:cNvPr>
          <p:cNvGraphicFramePr>
            <a:graphicFrameLocks noChangeAspect="1"/>
          </p:cNvGraphicFramePr>
          <p:nvPr>
            <p:custDataLst>
              <p:tags r:id="rId2"/>
            </p:custDataLst>
            <p:extLst>
              <p:ext uri="{D42A27DB-BD31-4B8C-83A1-F6EECF244321}">
                <p14:modId xmlns:p14="http://schemas.microsoft.com/office/powerpoint/2010/main" val="1167251817"/>
              </p:ext>
            </p:ext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7" imgW="473" imgH="473" progId="TCLayout.ActiveDocument.1">
                  <p:embed/>
                </p:oleObj>
              </mc:Choice>
              <mc:Fallback>
                <p:oleObj name="think-cell Slide" r:id="rId7" imgW="473" imgH="473" progId="TCLayout.ActiveDocument.1">
                  <p:embed/>
                  <p:pic>
                    <p:nvPicPr>
                      <p:cNvPr id="91" name="Object 90" hidden="1">
                        <a:extLst>
                          <a:ext uri="{FF2B5EF4-FFF2-40B4-BE49-F238E27FC236}">
                            <a16:creationId xmlns:a16="http://schemas.microsoft.com/office/drawing/2014/main" id="{523924EF-6901-46E3-A852-C9609C985CE0}"/>
                          </a:ext>
                        </a:extLst>
                      </p:cNvPr>
                      <p:cNvPicPr/>
                      <p:nvPr/>
                    </p:nvPicPr>
                    <p:blipFill>
                      <a:blip r:embed="rId8"/>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2419E6-8EDA-40C9-B4A5-9B8FD471B5A8}"/>
              </a:ext>
            </a:extLst>
          </p:cNvPr>
          <p:cNvSpPr/>
          <p:nvPr>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112" name="Tittel 1"/>
          <p:cNvSpPr>
            <a:spLocks noGrp="1"/>
          </p:cNvSpPr>
          <p:nvPr>
            <p:ph type="title"/>
          </p:nvPr>
        </p:nvSpPr>
        <p:spPr>
          <a:xfrm>
            <a:off x="40349" y="-844"/>
            <a:ext cx="6818930" cy="772800"/>
          </a:xfrm>
        </p:spPr>
        <p:txBody>
          <a:bodyPr vert="horz">
            <a:noAutofit/>
          </a:bodyPr>
          <a:lstStyle/>
          <a:p>
            <a:r>
              <a:rPr lang="nb-NO" sz="2800" b="1" dirty="0">
                <a:solidFill>
                  <a:schemeClr val="bg1"/>
                </a:solidFill>
              </a:rPr>
              <a:t>Spørsmål</a:t>
            </a:r>
          </a:p>
        </p:txBody>
      </p:sp>
      <p:pic>
        <p:nvPicPr>
          <p:cNvPr id="6" name="Graphic 5" descr="Help">
            <a:extLst>
              <a:ext uri="{FF2B5EF4-FFF2-40B4-BE49-F238E27FC236}">
                <a16:creationId xmlns:a16="http://schemas.microsoft.com/office/drawing/2014/main" id="{E77AAFC6-0E12-4F58-A90F-08D9AB6D1AED}"/>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4631267" y="1964267"/>
            <a:ext cx="2929467" cy="2929467"/>
          </a:xfrm>
          <a:prstGeom prst="rect">
            <a:avLst/>
          </a:prstGeom>
        </p:spPr>
      </p:pic>
    </p:spTree>
    <p:extLst>
      <p:ext uri="{BB962C8B-B14F-4D97-AF65-F5344CB8AC3E}">
        <p14:creationId xmlns:p14="http://schemas.microsoft.com/office/powerpoint/2010/main" val="1328911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5" name="Picture 3">
            <a:extLst>
              <a:ext uri="{FF2B5EF4-FFF2-40B4-BE49-F238E27FC236}">
                <a16:creationId xmlns:a16="http://schemas.microsoft.com/office/drawing/2014/main" id="{B7DC162C-03A8-4FDE-BD21-5D03E61C308A}"/>
              </a:ext>
            </a:extLst>
          </p:cNvPr>
          <p:cNvPicPr>
            <a:picLocks noChangeAspect="1"/>
          </p:cNvPicPr>
          <p:nvPr/>
        </p:nvPicPr>
        <p:blipFill rotWithShape="1">
          <a:blip r:embed="rId6"/>
          <a:srcRect r="23522"/>
          <a:stretch/>
        </p:blipFill>
        <p:spPr>
          <a:xfrm rot="5400000">
            <a:off x="3203812" y="-3223231"/>
            <a:ext cx="791377" cy="7199002"/>
          </a:xfrm>
          <a:prstGeom prst="rect">
            <a:avLst/>
          </a:prstGeom>
        </p:spPr>
      </p:pic>
      <p:graphicFrame>
        <p:nvGraphicFramePr>
          <p:cNvPr id="91" name="Object 90" hidden="1">
            <a:extLst>
              <a:ext uri="{FF2B5EF4-FFF2-40B4-BE49-F238E27FC236}">
                <a16:creationId xmlns:a16="http://schemas.microsoft.com/office/drawing/2014/main" id="{523924EF-6901-46E3-A852-C9609C985CE0}"/>
              </a:ext>
            </a:extLst>
          </p:cNvPr>
          <p:cNvGraphicFramePr>
            <a:graphicFrameLocks noChangeAspect="1"/>
          </p:cNvGraphicFramePr>
          <p:nvPr>
            <p:custDataLst>
              <p:tags r:id="rId2"/>
            </p:custDataLst>
            <p:extLst>
              <p:ext uri="{D42A27DB-BD31-4B8C-83A1-F6EECF244321}">
                <p14:modId xmlns:p14="http://schemas.microsoft.com/office/powerpoint/2010/main" val="1893125741"/>
              </p:ext>
            </p:ext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7" imgW="473" imgH="473" progId="TCLayout.ActiveDocument.1">
                  <p:embed/>
                </p:oleObj>
              </mc:Choice>
              <mc:Fallback>
                <p:oleObj name="think-cell Slide" r:id="rId7" imgW="473" imgH="473" progId="TCLayout.ActiveDocument.1">
                  <p:embed/>
                  <p:pic>
                    <p:nvPicPr>
                      <p:cNvPr id="91" name="Object 90" hidden="1">
                        <a:extLst>
                          <a:ext uri="{FF2B5EF4-FFF2-40B4-BE49-F238E27FC236}">
                            <a16:creationId xmlns:a16="http://schemas.microsoft.com/office/drawing/2014/main" id="{523924EF-6901-46E3-A852-C9609C985CE0}"/>
                          </a:ext>
                        </a:extLst>
                      </p:cNvPr>
                      <p:cNvPicPr/>
                      <p:nvPr/>
                    </p:nvPicPr>
                    <p:blipFill>
                      <a:blip r:embed="rId8"/>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2419E6-8EDA-40C9-B4A5-9B8FD471B5A8}"/>
              </a:ext>
            </a:extLst>
          </p:cNvPr>
          <p:cNvSpPr/>
          <p:nvPr>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112" name="Tittel 1"/>
          <p:cNvSpPr>
            <a:spLocks noGrp="1"/>
          </p:cNvSpPr>
          <p:nvPr>
            <p:ph type="title"/>
          </p:nvPr>
        </p:nvSpPr>
        <p:spPr>
          <a:xfrm>
            <a:off x="40349" y="-844"/>
            <a:ext cx="6818930" cy="772800"/>
          </a:xfrm>
        </p:spPr>
        <p:txBody>
          <a:bodyPr vert="horz">
            <a:noAutofit/>
          </a:bodyPr>
          <a:lstStyle/>
          <a:p>
            <a:r>
              <a:rPr lang="nb-NO" sz="2800" b="1">
                <a:solidFill>
                  <a:schemeClr val="bg1"/>
                </a:solidFill>
              </a:rPr>
              <a:t>Spørsmål:</a:t>
            </a:r>
          </a:p>
        </p:txBody>
      </p:sp>
      <p:sp>
        <p:nvSpPr>
          <p:cNvPr id="11" name="Rectangle 10">
            <a:extLst>
              <a:ext uri="{FF2B5EF4-FFF2-40B4-BE49-F238E27FC236}">
                <a16:creationId xmlns:a16="http://schemas.microsoft.com/office/drawing/2014/main" id="{39ACD5C4-9021-4AD3-9D60-F66610D49D18}"/>
              </a:ext>
            </a:extLst>
          </p:cNvPr>
          <p:cNvSpPr/>
          <p:nvPr/>
        </p:nvSpPr>
        <p:spPr>
          <a:xfrm>
            <a:off x="495298" y="1447799"/>
            <a:ext cx="11879581" cy="2585323"/>
          </a:xfrm>
          <a:prstGeom prst="rect">
            <a:avLst/>
          </a:prstGeom>
        </p:spPr>
        <p:txBody>
          <a:bodyPr wrap="square">
            <a:spAutoFit/>
          </a:bodyPr>
          <a:lstStyle/>
          <a:p>
            <a:r>
              <a:rPr lang="nb-NO" b="1"/>
              <a:t>Skal vi si noe om avslutting/opprettelse av nye prosjekter?</a:t>
            </a:r>
          </a:p>
          <a:p>
            <a:r>
              <a:rPr lang="nb-NO"/>
              <a:t>Nye prosjekter med saldo som oppstår etter 04.10 må også overføres til nytt system. </a:t>
            </a:r>
          </a:p>
          <a:p>
            <a:pPr marL="285750" indent="-285750">
              <a:buFont typeface="Arial" panose="020B0604020202020204" pitchFamily="34" charset="0"/>
              <a:buChar char="•"/>
            </a:pPr>
            <a:r>
              <a:rPr lang="nb-NO"/>
              <a:t>Håndteres etter nye rutiner for opprettelse av prosjekter etter produksjon? </a:t>
            </a:r>
          </a:p>
          <a:p>
            <a:pPr marL="285750" indent="-285750">
              <a:buFont typeface="Arial" panose="020B0604020202020204" pitchFamily="34" charset="0"/>
              <a:buChar char="•"/>
            </a:pPr>
            <a:r>
              <a:rPr lang="nb-NO"/>
              <a:t>Håndteres som en del av åpningsbalansen?</a:t>
            </a:r>
          </a:p>
          <a:p>
            <a:endParaRPr lang="nb-NO"/>
          </a:p>
          <a:p>
            <a:r>
              <a:rPr lang="nb-NO"/>
              <a:t>Ta opp i erfaringsmøte med UiB og UiO.</a:t>
            </a:r>
          </a:p>
          <a:p>
            <a:endParaRPr lang="nb-NO"/>
          </a:p>
          <a:p>
            <a:endParaRPr lang="nb-NO"/>
          </a:p>
          <a:p>
            <a:endParaRPr lang="nb-NO"/>
          </a:p>
        </p:txBody>
      </p:sp>
    </p:spTree>
    <p:extLst>
      <p:ext uri="{BB962C8B-B14F-4D97-AF65-F5344CB8AC3E}">
        <p14:creationId xmlns:p14="http://schemas.microsoft.com/office/powerpoint/2010/main" val="338943343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AB4AF74-4F0F-4852-9268-051A58487132}"/>
              </a:ext>
            </a:extLst>
          </p:cNvPr>
          <p:cNvSpPr>
            <a:spLocks noGrp="1"/>
          </p:cNvSpPr>
          <p:nvPr>
            <p:ph idx="1"/>
          </p:nvPr>
        </p:nvSpPr>
        <p:spPr/>
        <p:txBody>
          <a:bodyPr/>
          <a:lstStyle/>
          <a:p>
            <a:endParaRPr lang="nb-NO" dirty="0"/>
          </a:p>
        </p:txBody>
      </p:sp>
      <p:pic>
        <p:nvPicPr>
          <p:cNvPr id="4" name="Picture 3">
            <a:extLst>
              <a:ext uri="{FF2B5EF4-FFF2-40B4-BE49-F238E27FC236}">
                <a16:creationId xmlns:a16="http://schemas.microsoft.com/office/drawing/2014/main" id="{3F9A3DDA-1888-4559-9EA8-C439235363E5}"/>
              </a:ext>
            </a:extLst>
          </p:cNvPr>
          <p:cNvPicPr>
            <a:picLocks noChangeAspect="1"/>
          </p:cNvPicPr>
          <p:nvPr/>
        </p:nvPicPr>
        <p:blipFill rotWithShape="1">
          <a:blip r:embed="rId2"/>
          <a:srcRect r="23522"/>
          <a:stretch/>
        </p:blipFill>
        <p:spPr>
          <a:xfrm rot="5400000">
            <a:off x="3203814" y="-3203812"/>
            <a:ext cx="791377" cy="7199002"/>
          </a:xfrm>
          <a:prstGeom prst="rect">
            <a:avLst/>
          </a:prstGeom>
        </p:spPr>
      </p:pic>
      <p:sp>
        <p:nvSpPr>
          <p:cNvPr id="6" name="TextBox 5">
            <a:extLst>
              <a:ext uri="{FF2B5EF4-FFF2-40B4-BE49-F238E27FC236}">
                <a16:creationId xmlns:a16="http://schemas.microsoft.com/office/drawing/2014/main" id="{EEF123CF-882A-42F7-84A1-A4690C187B5F}"/>
              </a:ext>
            </a:extLst>
          </p:cNvPr>
          <p:cNvSpPr txBox="1"/>
          <p:nvPr/>
        </p:nvSpPr>
        <p:spPr>
          <a:xfrm>
            <a:off x="838200" y="304849"/>
            <a:ext cx="6127334" cy="646331"/>
          </a:xfrm>
          <a:prstGeom prst="rect">
            <a:avLst/>
          </a:prstGeom>
          <a:noFill/>
        </p:spPr>
        <p:txBody>
          <a:bodyPr wrap="square">
            <a:spAutoFit/>
          </a:bodyPr>
          <a:lstStyle/>
          <a:p>
            <a:r>
              <a:rPr lang="nb-NO" sz="1800" b="1" dirty="0">
                <a:solidFill>
                  <a:schemeClr val="bg1"/>
                </a:solidFill>
              </a:rPr>
              <a:t>Prosjekt opprettet etter 1.juli</a:t>
            </a:r>
          </a:p>
          <a:p>
            <a:endParaRPr lang="nb-NO" sz="1800" b="1" dirty="0">
              <a:solidFill>
                <a:schemeClr val="bg1"/>
              </a:solidFill>
            </a:endParaRPr>
          </a:p>
        </p:txBody>
      </p:sp>
    </p:spTree>
    <p:extLst>
      <p:ext uri="{BB962C8B-B14F-4D97-AF65-F5344CB8AC3E}">
        <p14:creationId xmlns:p14="http://schemas.microsoft.com/office/powerpoint/2010/main" val="112369588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Color Cover">
            <a:extLst>
              <a:ext uri="{FF2B5EF4-FFF2-40B4-BE49-F238E27FC236}">
                <a16:creationId xmlns:a16="http://schemas.microsoft.com/office/drawing/2014/main" id="{815925C2-A704-4D47-B1C1-3FCA52512EC1}"/>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4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Color Cover">
            <a:extLst>
              <a:ext uri="{FF2B5EF4-FFF2-40B4-BE49-F238E27FC236}">
                <a16:creationId xmlns:a16="http://schemas.microsoft.com/office/drawing/2014/main" id="{01D4315C-C23C-4FD3-98DF-08C29E2292A8}"/>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49"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2" name="Group 11">
            <a:extLst>
              <a:ext uri="{FF2B5EF4-FFF2-40B4-BE49-F238E27FC236}">
                <a16:creationId xmlns:a16="http://schemas.microsoft.com/office/drawing/2014/main" id="{5E6B47BC-43FD-4C91-8BFF-B41B99A8A39E}"/>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0"/>
            <a:ext cx="6064235" cy="6858000"/>
            <a:chOff x="651279" y="598259"/>
            <a:chExt cx="10889442" cy="5680742"/>
          </a:xfrm>
        </p:grpSpPr>
        <p:sp>
          <p:nvSpPr>
            <p:cNvPr id="13" name="Color">
              <a:extLst>
                <a:ext uri="{FF2B5EF4-FFF2-40B4-BE49-F238E27FC236}">
                  <a16:creationId xmlns:a16="http://schemas.microsoft.com/office/drawing/2014/main" id="{13038185-AC3C-4595-945F-25311424C583}"/>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Color">
              <a:extLst>
                <a:ext uri="{FF2B5EF4-FFF2-40B4-BE49-F238E27FC236}">
                  <a16:creationId xmlns:a16="http://schemas.microsoft.com/office/drawing/2014/main" id="{75D51AA0-C095-4650-A361-B294320BFE42}"/>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accent6">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6" name="Group 15">
            <a:extLst>
              <a:ext uri="{FF2B5EF4-FFF2-40B4-BE49-F238E27FC236}">
                <a16:creationId xmlns:a16="http://schemas.microsoft.com/office/drawing/2014/main" id="{43F5E015-E085-4624-B431-B42414448684}"/>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524" y="0"/>
            <a:ext cx="12188952" cy="6858000"/>
            <a:chOff x="0" y="0"/>
            <a:chExt cx="12188952" cy="6858000"/>
          </a:xfrm>
        </p:grpSpPr>
        <p:sp>
          <p:nvSpPr>
            <p:cNvPr id="17" name="Freeform: Shape 16">
              <a:extLst>
                <a:ext uri="{FF2B5EF4-FFF2-40B4-BE49-F238E27FC236}">
                  <a16:creationId xmlns:a16="http://schemas.microsoft.com/office/drawing/2014/main" id="{4DDB60AE-8B9C-4BA0-93DC-F8C9EBF6D8BD}"/>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26122" y="6015669"/>
              <a:ext cx="2605762" cy="842331"/>
            </a:xfrm>
            <a:custGeom>
              <a:avLst/>
              <a:gdLst>
                <a:gd name="connsiteX0" fmla="*/ 1151220 w 3180577"/>
                <a:gd name="connsiteY0" fmla="*/ 1105 h 1033951"/>
                <a:gd name="connsiteX1" fmla="*/ 1735251 w 3180577"/>
                <a:gd name="connsiteY1" fmla="*/ 77956 h 1033951"/>
                <a:gd name="connsiteX2" fmla="*/ 2001894 w 3180577"/>
                <a:gd name="connsiteY2" fmla="*/ 123235 h 1033951"/>
                <a:gd name="connsiteX3" fmla="*/ 2321364 w 3180577"/>
                <a:gd name="connsiteY3" fmla="*/ 128266 h 1033951"/>
                <a:gd name="connsiteX4" fmla="*/ 2671019 w 3180577"/>
                <a:gd name="connsiteY4" fmla="*/ 55316 h 1033951"/>
                <a:gd name="connsiteX5" fmla="*/ 2982942 w 3180577"/>
                <a:gd name="connsiteY5" fmla="*/ 326991 h 1033951"/>
                <a:gd name="connsiteX6" fmla="*/ 3176430 w 3180577"/>
                <a:gd name="connsiteY6" fmla="*/ 1024557 h 1033951"/>
                <a:gd name="connsiteX7" fmla="*/ 3174833 w 3180577"/>
                <a:gd name="connsiteY7" fmla="*/ 1033951 h 1033951"/>
                <a:gd name="connsiteX8" fmla="*/ 23630 w 3180577"/>
                <a:gd name="connsiteY8" fmla="*/ 1033951 h 1033951"/>
                <a:gd name="connsiteX9" fmla="*/ 11184 w 3180577"/>
                <a:gd name="connsiteY9" fmla="*/ 984167 h 1033951"/>
                <a:gd name="connsiteX10" fmla="*/ 236008 w 3180577"/>
                <a:gd name="connsiteY10" fmla="*/ 289258 h 1033951"/>
                <a:gd name="connsiteX11" fmla="*/ 1151220 w 3180577"/>
                <a:gd name="connsiteY11" fmla="*/ 1105 h 103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80577" h="1033951">
                  <a:moveTo>
                    <a:pt x="1151220" y="1105"/>
                  </a:moveTo>
                  <a:cubicBezTo>
                    <a:pt x="1349788" y="7443"/>
                    <a:pt x="1549417" y="40223"/>
                    <a:pt x="1735251" y="77956"/>
                  </a:cubicBezTo>
                  <a:cubicBezTo>
                    <a:pt x="1823293" y="95564"/>
                    <a:pt x="1913852" y="110657"/>
                    <a:pt x="2001894" y="123235"/>
                  </a:cubicBezTo>
                  <a:cubicBezTo>
                    <a:pt x="2102515" y="135812"/>
                    <a:pt x="2228290" y="153421"/>
                    <a:pt x="2321364" y="128266"/>
                  </a:cubicBezTo>
                  <a:cubicBezTo>
                    <a:pt x="2447139" y="93049"/>
                    <a:pt x="2525120" y="12552"/>
                    <a:pt x="2671019" y="55316"/>
                  </a:cubicBezTo>
                  <a:cubicBezTo>
                    <a:pt x="2806857" y="90533"/>
                    <a:pt x="2909992" y="213793"/>
                    <a:pt x="2982942" y="326991"/>
                  </a:cubicBezTo>
                  <a:cubicBezTo>
                    <a:pt x="3115006" y="525086"/>
                    <a:pt x="3200848" y="782887"/>
                    <a:pt x="3176430" y="1024557"/>
                  </a:cubicBezTo>
                  <a:lnTo>
                    <a:pt x="3174833" y="1033951"/>
                  </a:lnTo>
                  <a:lnTo>
                    <a:pt x="23630" y="1033951"/>
                  </a:lnTo>
                  <a:lnTo>
                    <a:pt x="11184" y="984167"/>
                  </a:lnTo>
                  <a:cubicBezTo>
                    <a:pt x="-27491" y="733874"/>
                    <a:pt x="30994" y="479179"/>
                    <a:pt x="236008" y="289258"/>
                  </a:cubicBezTo>
                  <a:cubicBezTo>
                    <a:pt x="492275" y="53429"/>
                    <a:pt x="820274" y="-9459"/>
                    <a:pt x="1151220" y="110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9F247760-BE07-41A2-969E-570081E65529}"/>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655184" y="5798001"/>
              <a:ext cx="2485581" cy="1059999"/>
            </a:xfrm>
            <a:custGeom>
              <a:avLst/>
              <a:gdLst>
                <a:gd name="connsiteX0" fmla="*/ 1553968 w 2449768"/>
                <a:gd name="connsiteY0" fmla="*/ 1045598 h 1050628"/>
                <a:gd name="connsiteX1" fmla="*/ 1561623 w 2449768"/>
                <a:gd name="connsiteY1" fmla="*/ 1050628 h 1050628"/>
                <a:gd name="connsiteX2" fmla="*/ 1540857 w 2449768"/>
                <a:gd name="connsiteY2" fmla="*/ 1050628 h 1050628"/>
                <a:gd name="connsiteX3" fmla="*/ 1542955 w 2449768"/>
                <a:gd name="connsiteY3" fmla="*/ 1048256 h 1050628"/>
                <a:gd name="connsiteX4" fmla="*/ 1553968 w 2449768"/>
                <a:gd name="connsiteY4" fmla="*/ 1045598 h 1050628"/>
                <a:gd name="connsiteX5" fmla="*/ 490647 w 2449768"/>
                <a:gd name="connsiteY5" fmla="*/ 1036483 h 1050628"/>
                <a:gd name="connsiteX6" fmla="*/ 503939 w 2449768"/>
                <a:gd name="connsiteY6" fmla="*/ 1045217 h 1050628"/>
                <a:gd name="connsiteX7" fmla="*/ 505485 w 2449768"/>
                <a:gd name="connsiteY7" fmla="*/ 1050628 h 1050628"/>
                <a:gd name="connsiteX8" fmla="*/ 470645 w 2449768"/>
                <a:gd name="connsiteY8" fmla="*/ 1050628 h 1050628"/>
                <a:gd name="connsiteX9" fmla="*/ 469761 w 2449768"/>
                <a:gd name="connsiteY9" fmla="*/ 1046736 h 1050628"/>
                <a:gd name="connsiteX10" fmla="*/ 479634 w 2449768"/>
                <a:gd name="connsiteY10" fmla="*/ 1039141 h 1050628"/>
                <a:gd name="connsiteX11" fmla="*/ 490647 w 2449768"/>
                <a:gd name="connsiteY11" fmla="*/ 1036483 h 1050628"/>
                <a:gd name="connsiteX12" fmla="*/ 326591 w 2449768"/>
                <a:gd name="connsiteY12" fmla="*/ 1030407 h 1050628"/>
                <a:gd name="connsiteX13" fmla="*/ 339883 w 2449768"/>
                <a:gd name="connsiteY13" fmla="*/ 1039141 h 1050628"/>
                <a:gd name="connsiteX14" fmla="*/ 341999 w 2449768"/>
                <a:gd name="connsiteY14" fmla="*/ 1050628 h 1050628"/>
                <a:gd name="connsiteX15" fmla="*/ 308260 w 2449768"/>
                <a:gd name="connsiteY15" fmla="*/ 1050628 h 1050628"/>
                <a:gd name="connsiteX16" fmla="*/ 306844 w 2449768"/>
                <a:gd name="connsiteY16" fmla="*/ 1042939 h 1050628"/>
                <a:gd name="connsiteX17" fmla="*/ 315578 w 2449768"/>
                <a:gd name="connsiteY17" fmla="*/ 1033065 h 1050628"/>
                <a:gd name="connsiteX18" fmla="*/ 326591 w 2449768"/>
                <a:gd name="connsiteY18" fmla="*/ 1030407 h 1050628"/>
                <a:gd name="connsiteX19" fmla="*/ 20886 w 2449768"/>
                <a:gd name="connsiteY19" fmla="*/ 1026229 h 1050628"/>
                <a:gd name="connsiteX20" fmla="*/ 33039 w 2449768"/>
                <a:gd name="connsiteY20" fmla="*/ 1036103 h 1050628"/>
                <a:gd name="connsiteX21" fmla="*/ 36837 w 2449768"/>
                <a:gd name="connsiteY21" fmla="*/ 1049395 h 1050628"/>
                <a:gd name="connsiteX22" fmla="*/ 35731 w 2449768"/>
                <a:gd name="connsiteY22" fmla="*/ 1050628 h 1050628"/>
                <a:gd name="connsiteX23" fmla="*/ 1976 w 2449768"/>
                <a:gd name="connsiteY23" fmla="*/ 1050628 h 1050628"/>
                <a:gd name="connsiteX24" fmla="*/ 0 w 2449768"/>
                <a:gd name="connsiteY24" fmla="*/ 1039901 h 1050628"/>
                <a:gd name="connsiteX25" fmla="*/ 8734 w 2449768"/>
                <a:gd name="connsiteY25" fmla="*/ 1030027 h 1050628"/>
                <a:gd name="connsiteX26" fmla="*/ 20886 w 2449768"/>
                <a:gd name="connsiteY26" fmla="*/ 1026229 h 1050628"/>
                <a:gd name="connsiteX27" fmla="*/ 2100819 w 2449768"/>
                <a:gd name="connsiteY27" fmla="*/ 1024331 h 1050628"/>
                <a:gd name="connsiteX28" fmla="*/ 2114111 w 2449768"/>
                <a:gd name="connsiteY28" fmla="*/ 1033065 h 1050628"/>
                <a:gd name="connsiteX29" fmla="*/ 2117909 w 2449768"/>
                <a:gd name="connsiteY29" fmla="*/ 1046357 h 1050628"/>
                <a:gd name="connsiteX30" fmla="*/ 2114079 w 2449768"/>
                <a:gd name="connsiteY30" fmla="*/ 1050628 h 1050628"/>
                <a:gd name="connsiteX31" fmla="*/ 2083616 w 2449768"/>
                <a:gd name="connsiteY31" fmla="*/ 1050628 h 1050628"/>
                <a:gd name="connsiteX32" fmla="*/ 2081072 w 2449768"/>
                <a:gd name="connsiteY32" fmla="*/ 1035724 h 1050628"/>
                <a:gd name="connsiteX33" fmla="*/ 2089806 w 2449768"/>
                <a:gd name="connsiteY33" fmla="*/ 1026989 h 1050628"/>
                <a:gd name="connsiteX34" fmla="*/ 2100819 w 2449768"/>
                <a:gd name="connsiteY34" fmla="*/ 1024331 h 1050628"/>
                <a:gd name="connsiteX35" fmla="*/ 1192439 w 2449768"/>
                <a:gd name="connsiteY35" fmla="*/ 1024331 h 1050628"/>
                <a:gd name="connsiteX36" fmla="*/ 1205731 w 2449768"/>
                <a:gd name="connsiteY36" fmla="*/ 1033065 h 1050628"/>
                <a:gd name="connsiteX37" fmla="*/ 1209529 w 2449768"/>
                <a:gd name="connsiteY37" fmla="*/ 1046357 h 1050628"/>
                <a:gd name="connsiteX38" fmla="*/ 1205699 w 2449768"/>
                <a:gd name="connsiteY38" fmla="*/ 1050628 h 1050628"/>
                <a:gd name="connsiteX39" fmla="*/ 1175227 w 2449768"/>
                <a:gd name="connsiteY39" fmla="*/ 1050628 h 1050628"/>
                <a:gd name="connsiteX40" fmla="*/ 1172692 w 2449768"/>
                <a:gd name="connsiteY40" fmla="*/ 1036863 h 1050628"/>
                <a:gd name="connsiteX41" fmla="*/ 1181426 w 2449768"/>
                <a:gd name="connsiteY41" fmla="*/ 1026989 h 1050628"/>
                <a:gd name="connsiteX42" fmla="*/ 1192439 w 2449768"/>
                <a:gd name="connsiteY42" fmla="*/ 1024331 h 1050628"/>
                <a:gd name="connsiteX43" fmla="*/ 788376 w 2449768"/>
                <a:gd name="connsiteY43" fmla="*/ 1024331 h 1050628"/>
                <a:gd name="connsiteX44" fmla="*/ 801668 w 2449768"/>
                <a:gd name="connsiteY44" fmla="*/ 1033065 h 1050628"/>
                <a:gd name="connsiteX45" fmla="*/ 805466 w 2449768"/>
                <a:gd name="connsiteY45" fmla="*/ 1046357 h 1050628"/>
                <a:gd name="connsiteX46" fmla="*/ 801636 w 2449768"/>
                <a:gd name="connsiteY46" fmla="*/ 1050628 h 1050628"/>
                <a:gd name="connsiteX47" fmla="*/ 771181 w 2449768"/>
                <a:gd name="connsiteY47" fmla="*/ 1050628 h 1050628"/>
                <a:gd name="connsiteX48" fmla="*/ 768629 w 2449768"/>
                <a:gd name="connsiteY48" fmla="*/ 1034584 h 1050628"/>
                <a:gd name="connsiteX49" fmla="*/ 777363 w 2449768"/>
                <a:gd name="connsiteY49" fmla="*/ 1026989 h 1050628"/>
                <a:gd name="connsiteX50" fmla="*/ 788376 w 2449768"/>
                <a:gd name="connsiteY50" fmla="*/ 1024331 h 1050628"/>
                <a:gd name="connsiteX51" fmla="*/ 138231 w 2449768"/>
                <a:gd name="connsiteY51" fmla="*/ 1024331 h 1050628"/>
                <a:gd name="connsiteX52" fmla="*/ 151523 w 2449768"/>
                <a:gd name="connsiteY52" fmla="*/ 1033065 h 1050628"/>
                <a:gd name="connsiteX53" fmla="*/ 154181 w 2449768"/>
                <a:gd name="connsiteY53" fmla="*/ 1047496 h 1050628"/>
                <a:gd name="connsiteX54" fmla="*/ 151411 w 2449768"/>
                <a:gd name="connsiteY54" fmla="*/ 1050628 h 1050628"/>
                <a:gd name="connsiteX55" fmla="*/ 121019 w 2449768"/>
                <a:gd name="connsiteY55" fmla="*/ 1050628 h 1050628"/>
                <a:gd name="connsiteX56" fmla="*/ 118484 w 2449768"/>
                <a:gd name="connsiteY56" fmla="*/ 1036863 h 1050628"/>
                <a:gd name="connsiteX57" fmla="*/ 127218 w 2449768"/>
                <a:gd name="connsiteY57" fmla="*/ 1026989 h 1050628"/>
                <a:gd name="connsiteX58" fmla="*/ 138231 w 2449768"/>
                <a:gd name="connsiteY58" fmla="*/ 1024331 h 1050628"/>
                <a:gd name="connsiteX59" fmla="*/ 894709 w 2449768"/>
                <a:gd name="connsiteY59" fmla="*/ 1021293 h 1050628"/>
                <a:gd name="connsiteX60" fmla="*/ 908001 w 2449768"/>
                <a:gd name="connsiteY60" fmla="*/ 1030027 h 1050628"/>
                <a:gd name="connsiteX61" fmla="*/ 911799 w 2449768"/>
                <a:gd name="connsiteY61" fmla="*/ 1043319 h 1050628"/>
                <a:gd name="connsiteX62" fmla="*/ 905246 w 2449768"/>
                <a:gd name="connsiteY62" fmla="*/ 1050628 h 1050628"/>
                <a:gd name="connsiteX63" fmla="*/ 880920 w 2449768"/>
                <a:gd name="connsiteY63" fmla="*/ 1050628 h 1050628"/>
                <a:gd name="connsiteX64" fmla="*/ 877620 w 2449768"/>
                <a:gd name="connsiteY64" fmla="*/ 1048256 h 1050628"/>
                <a:gd name="connsiteX65" fmla="*/ 883696 w 2449768"/>
                <a:gd name="connsiteY65" fmla="*/ 1023951 h 1050628"/>
                <a:gd name="connsiteX66" fmla="*/ 894709 w 2449768"/>
                <a:gd name="connsiteY66" fmla="*/ 1021293 h 1050628"/>
                <a:gd name="connsiteX67" fmla="*/ 694197 w 2449768"/>
                <a:gd name="connsiteY67" fmla="*/ 1021293 h 1050628"/>
                <a:gd name="connsiteX68" fmla="*/ 707488 w 2449768"/>
                <a:gd name="connsiteY68" fmla="*/ 1030027 h 1050628"/>
                <a:gd name="connsiteX69" fmla="*/ 711286 w 2449768"/>
                <a:gd name="connsiteY69" fmla="*/ 1043319 h 1050628"/>
                <a:gd name="connsiteX70" fmla="*/ 704733 w 2449768"/>
                <a:gd name="connsiteY70" fmla="*/ 1050628 h 1050628"/>
                <a:gd name="connsiteX71" fmla="*/ 680408 w 2449768"/>
                <a:gd name="connsiteY71" fmla="*/ 1050628 h 1050628"/>
                <a:gd name="connsiteX72" fmla="*/ 677108 w 2449768"/>
                <a:gd name="connsiteY72" fmla="*/ 1048256 h 1050628"/>
                <a:gd name="connsiteX73" fmla="*/ 683184 w 2449768"/>
                <a:gd name="connsiteY73" fmla="*/ 1023951 h 1050628"/>
                <a:gd name="connsiteX74" fmla="*/ 694197 w 2449768"/>
                <a:gd name="connsiteY74" fmla="*/ 1021293 h 1050628"/>
                <a:gd name="connsiteX75" fmla="*/ 596979 w 2449768"/>
                <a:gd name="connsiteY75" fmla="*/ 1021293 h 1050628"/>
                <a:gd name="connsiteX76" fmla="*/ 610271 w 2449768"/>
                <a:gd name="connsiteY76" fmla="*/ 1030027 h 1050628"/>
                <a:gd name="connsiteX77" fmla="*/ 614069 w 2449768"/>
                <a:gd name="connsiteY77" fmla="*/ 1043319 h 1050628"/>
                <a:gd name="connsiteX78" fmla="*/ 607516 w 2449768"/>
                <a:gd name="connsiteY78" fmla="*/ 1050628 h 1050628"/>
                <a:gd name="connsiteX79" fmla="*/ 583190 w 2449768"/>
                <a:gd name="connsiteY79" fmla="*/ 1050628 h 1050628"/>
                <a:gd name="connsiteX80" fmla="*/ 579890 w 2449768"/>
                <a:gd name="connsiteY80" fmla="*/ 1048256 h 1050628"/>
                <a:gd name="connsiteX81" fmla="*/ 585966 w 2449768"/>
                <a:gd name="connsiteY81" fmla="*/ 1023951 h 1050628"/>
                <a:gd name="connsiteX82" fmla="*/ 596979 w 2449768"/>
                <a:gd name="connsiteY82" fmla="*/ 1021293 h 1050628"/>
                <a:gd name="connsiteX83" fmla="*/ 1086106 w 2449768"/>
                <a:gd name="connsiteY83" fmla="*/ 1015217 h 1050628"/>
                <a:gd name="connsiteX84" fmla="*/ 1099398 w 2449768"/>
                <a:gd name="connsiteY84" fmla="*/ 1023951 h 1050628"/>
                <a:gd name="connsiteX85" fmla="*/ 1093322 w 2449768"/>
                <a:gd name="connsiteY85" fmla="*/ 1048256 h 1050628"/>
                <a:gd name="connsiteX86" fmla="*/ 1082478 w 2449768"/>
                <a:gd name="connsiteY86" fmla="*/ 1050628 h 1050628"/>
                <a:gd name="connsiteX87" fmla="*/ 1080771 w 2449768"/>
                <a:gd name="connsiteY87" fmla="*/ 1050628 h 1050628"/>
                <a:gd name="connsiteX88" fmla="*/ 1069017 w 2449768"/>
                <a:gd name="connsiteY88" fmla="*/ 1042180 h 1050628"/>
                <a:gd name="connsiteX89" fmla="*/ 1075093 w 2449768"/>
                <a:gd name="connsiteY89" fmla="*/ 1017875 h 1050628"/>
                <a:gd name="connsiteX90" fmla="*/ 1086106 w 2449768"/>
                <a:gd name="connsiteY90" fmla="*/ 1015217 h 1050628"/>
                <a:gd name="connsiteX91" fmla="*/ 1313961 w 2449768"/>
                <a:gd name="connsiteY91" fmla="*/ 1009141 h 1050628"/>
                <a:gd name="connsiteX92" fmla="*/ 1327253 w 2449768"/>
                <a:gd name="connsiteY92" fmla="*/ 1017875 h 1050628"/>
                <a:gd name="connsiteX93" fmla="*/ 1321177 w 2449768"/>
                <a:gd name="connsiteY93" fmla="*/ 1042180 h 1050628"/>
                <a:gd name="connsiteX94" fmla="*/ 1296872 w 2449768"/>
                <a:gd name="connsiteY94" fmla="*/ 1036104 h 1050628"/>
                <a:gd name="connsiteX95" fmla="*/ 1302948 w 2449768"/>
                <a:gd name="connsiteY95" fmla="*/ 1011799 h 1050628"/>
                <a:gd name="connsiteX96" fmla="*/ 1313961 w 2449768"/>
                <a:gd name="connsiteY96" fmla="*/ 1009141 h 1050628"/>
                <a:gd name="connsiteX97" fmla="*/ 2337788 w 2449768"/>
                <a:gd name="connsiteY97" fmla="*/ 996989 h 1050628"/>
                <a:gd name="connsiteX98" fmla="*/ 2351080 w 2449768"/>
                <a:gd name="connsiteY98" fmla="*/ 1005723 h 1050628"/>
                <a:gd name="connsiteX99" fmla="*/ 2345004 w 2449768"/>
                <a:gd name="connsiteY99" fmla="*/ 1030028 h 1050628"/>
                <a:gd name="connsiteX100" fmla="*/ 2320699 w 2449768"/>
                <a:gd name="connsiteY100" fmla="*/ 1023952 h 1050628"/>
                <a:gd name="connsiteX101" fmla="*/ 2326775 w 2449768"/>
                <a:gd name="connsiteY101" fmla="*/ 999647 h 1050628"/>
                <a:gd name="connsiteX102" fmla="*/ 2337788 w 2449768"/>
                <a:gd name="connsiteY102" fmla="*/ 996989 h 1050628"/>
                <a:gd name="connsiteX103" fmla="*/ 1429407 w 2449768"/>
                <a:gd name="connsiteY103" fmla="*/ 990912 h 1050628"/>
                <a:gd name="connsiteX104" fmla="*/ 1442699 w 2449768"/>
                <a:gd name="connsiteY104" fmla="*/ 999646 h 1050628"/>
                <a:gd name="connsiteX105" fmla="*/ 1436623 w 2449768"/>
                <a:gd name="connsiteY105" fmla="*/ 1023951 h 1050628"/>
                <a:gd name="connsiteX106" fmla="*/ 1412318 w 2449768"/>
                <a:gd name="connsiteY106" fmla="*/ 1017875 h 1050628"/>
                <a:gd name="connsiteX107" fmla="*/ 1418394 w 2449768"/>
                <a:gd name="connsiteY107" fmla="*/ 993570 h 1050628"/>
                <a:gd name="connsiteX108" fmla="*/ 1429407 w 2449768"/>
                <a:gd name="connsiteY108" fmla="*/ 990912 h 1050628"/>
                <a:gd name="connsiteX109" fmla="*/ 1672452 w 2449768"/>
                <a:gd name="connsiteY109" fmla="*/ 987874 h 1050628"/>
                <a:gd name="connsiteX110" fmla="*/ 1685744 w 2449768"/>
                <a:gd name="connsiteY110" fmla="*/ 996608 h 1050628"/>
                <a:gd name="connsiteX111" fmla="*/ 1679668 w 2449768"/>
                <a:gd name="connsiteY111" fmla="*/ 1020913 h 1050628"/>
                <a:gd name="connsiteX112" fmla="*/ 1655363 w 2449768"/>
                <a:gd name="connsiteY112" fmla="*/ 1014837 h 1050628"/>
                <a:gd name="connsiteX113" fmla="*/ 1661439 w 2449768"/>
                <a:gd name="connsiteY113" fmla="*/ 990532 h 1050628"/>
                <a:gd name="connsiteX114" fmla="*/ 1672452 w 2449768"/>
                <a:gd name="connsiteY114" fmla="*/ 987874 h 1050628"/>
                <a:gd name="connsiteX115" fmla="*/ 1803089 w 2449768"/>
                <a:gd name="connsiteY115" fmla="*/ 975722 h 1050628"/>
                <a:gd name="connsiteX116" fmla="*/ 1816381 w 2449768"/>
                <a:gd name="connsiteY116" fmla="*/ 984456 h 1050628"/>
                <a:gd name="connsiteX117" fmla="*/ 1810305 w 2449768"/>
                <a:gd name="connsiteY117" fmla="*/ 1008761 h 1050628"/>
                <a:gd name="connsiteX118" fmla="*/ 1786000 w 2449768"/>
                <a:gd name="connsiteY118" fmla="*/ 1002685 h 1050628"/>
                <a:gd name="connsiteX119" fmla="*/ 1792076 w 2449768"/>
                <a:gd name="connsiteY119" fmla="*/ 978380 h 1050628"/>
                <a:gd name="connsiteX120" fmla="*/ 1803089 w 2449768"/>
                <a:gd name="connsiteY120" fmla="*/ 975722 h 1050628"/>
                <a:gd name="connsiteX121" fmla="*/ 2030944 w 2449768"/>
                <a:gd name="connsiteY121" fmla="*/ 969646 h 1050628"/>
                <a:gd name="connsiteX122" fmla="*/ 2044236 w 2449768"/>
                <a:gd name="connsiteY122" fmla="*/ 978380 h 1050628"/>
                <a:gd name="connsiteX123" fmla="*/ 2038160 w 2449768"/>
                <a:gd name="connsiteY123" fmla="*/ 1002685 h 1050628"/>
                <a:gd name="connsiteX124" fmla="*/ 2013855 w 2449768"/>
                <a:gd name="connsiteY124" fmla="*/ 996609 h 1050628"/>
                <a:gd name="connsiteX125" fmla="*/ 2019931 w 2449768"/>
                <a:gd name="connsiteY125" fmla="*/ 972304 h 1050628"/>
                <a:gd name="connsiteX126" fmla="*/ 2030944 w 2449768"/>
                <a:gd name="connsiteY126" fmla="*/ 969646 h 1050628"/>
                <a:gd name="connsiteX127" fmla="*/ 405581 w 2449768"/>
                <a:gd name="connsiteY127" fmla="*/ 966608 h 1050628"/>
                <a:gd name="connsiteX128" fmla="*/ 418873 w 2449768"/>
                <a:gd name="connsiteY128" fmla="*/ 975342 h 1050628"/>
                <a:gd name="connsiteX129" fmla="*/ 412797 w 2449768"/>
                <a:gd name="connsiteY129" fmla="*/ 999647 h 1050628"/>
                <a:gd name="connsiteX130" fmla="*/ 388492 w 2449768"/>
                <a:gd name="connsiteY130" fmla="*/ 993571 h 1050628"/>
                <a:gd name="connsiteX131" fmla="*/ 394568 w 2449768"/>
                <a:gd name="connsiteY131" fmla="*/ 969266 h 1050628"/>
                <a:gd name="connsiteX132" fmla="*/ 405581 w 2449768"/>
                <a:gd name="connsiteY132" fmla="*/ 966608 h 1050628"/>
                <a:gd name="connsiteX133" fmla="*/ 2225380 w 2449768"/>
                <a:gd name="connsiteY133" fmla="*/ 957494 h 1050628"/>
                <a:gd name="connsiteX134" fmla="*/ 2238671 w 2449768"/>
                <a:gd name="connsiteY134" fmla="*/ 966228 h 1050628"/>
                <a:gd name="connsiteX135" fmla="*/ 2232595 w 2449768"/>
                <a:gd name="connsiteY135" fmla="*/ 990533 h 1050628"/>
                <a:gd name="connsiteX136" fmla="*/ 2208290 w 2449768"/>
                <a:gd name="connsiteY136" fmla="*/ 984457 h 1050628"/>
                <a:gd name="connsiteX137" fmla="*/ 2214366 w 2449768"/>
                <a:gd name="connsiteY137" fmla="*/ 960152 h 1050628"/>
                <a:gd name="connsiteX138" fmla="*/ 2225380 w 2449768"/>
                <a:gd name="connsiteY138" fmla="*/ 957494 h 1050628"/>
                <a:gd name="connsiteX139" fmla="*/ 1927649 w 2449768"/>
                <a:gd name="connsiteY139" fmla="*/ 954456 h 1050628"/>
                <a:gd name="connsiteX140" fmla="*/ 1940941 w 2449768"/>
                <a:gd name="connsiteY140" fmla="*/ 963190 h 1050628"/>
                <a:gd name="connsiteX141" fmla="*/ 1934865 w 2449768"/>
                <a:gd name="connsiteY141" fmla="*/ 987495 h 1050628"/>
                <a:gd name="connsiteX142" fmla="*/ 1910560 w 2449768"/>
                <a:gd name="connsiteY142" fmla="*/ 981419 h 1050628"/>
                <a:gd name="connsiteX143" fmla="*/ 1916636 w 2449768"/>
                <a:gd name="connsiteY143" fmla="*/ 957114 h 1050628"/>
                <a:gd name="connsiteX144" fmla="*/ 1927649 w 2449768"/>
                <a:gd name="connsiteY144" fmla="*/ 954456 h 1050628"/>
                <a:gd name="connsiteX145" fmla="*/ 244564 w 2449768"/>
                <a:gd name="connsiteY145" fmla="*/ 954456 h 1050628"/>
                <a:gd name="connsiteX146" fmla="*/ 257856 w 2449768"/>
                <a:gd name="connsiteY146" fmla="*/ 963190 h 1050628"/>
                <a:gd name="connsiteX147" fmla="*/ 251780 w 2449768"/>
                <a:gd name="connsiteY147" fmla="*/ 987495 h 1050628"/>
                <a:gd name="connsiteX148" fmla="*/ 227475 w 2449768"/>
                <a:gd name="connsiteY148" fmla="*/ 981419 h 1050628"/>
                <a:gd name="connsiteX149" fmla="*/ 233551 w 2449768"/>
                <a:gd name="connsiteY149" fmla="*/ 957114 h 1050628"/>
                <a:gd name="connsiteX150" fmla="*/ 244564 w 2449768"/>
                <a:gd name="connsiteY150" fmla="*/ 954456 h 1050628"/>
                <a:gd name="connsiteX151" fmla="*/ 2431968 w 2449768"/>
                <a:gd name="connsiteY151" fmla="*/ 951418 h 1050628"/>
                <a:gd name="connsiteX152" fmla="*/ 2445260 w 2449768"/>
                <a:gd name="connsiteY152" fmla="*/ 960152 h 1050628"/>
                <a:gd name="connsiteX153" fmla="*/ 2439184 w 2449768"/>
                <a:gd name="connsiteY153" fmla="*/ 984457 h 1050628"/>
                <a:gd name="connsiteX154" fmla="*/ 2414879 w 2449768"/>
                <a:gd name="connsiteY154" fmla="*/ 978381 h 1050628"/>
                <a:gd name="connsiteX155" fmla="*/ 2420955 w 2449768"/>
                <a:gd name="connsiteY155" fmla="*/ 954076 h 1050628"/>
                <a:gd name="connsiteX156" fmla="*/ 2431968 w 2449768"/>
                <a:gd name="connsiteY156" fmla="*/ 951418 h 1050628"/>
                <a:gd name="connsiteX157" fmla="*/ 1553968 w 2449768"/>
                <a:gd name="connsiteY157" fmla="*/ 948380 h 1050628"/>
                <a:gd name="connsiteX158" fmla="*/ 1567259 w 2449768"/>
                <a:gd name="connsiteY158" fmla="*/ 957114 h 1050628"/>
                <a:gd name="connsiteX159" fmla="*/ 1561183 w 2449768"/>
                <a:gd name="connsiteY159" fmla="*/ 981419 h 1050628"/>
                <a:gd name="connsiteX160" fmla="*/ 1536879 w 2449768"/>
                <a:gd name="connsiteY160" fmla="*/ 975343 h 1050628"/>
                <a:gd name="connsiteX161" fmla="*/ 1542955 w 2449768"/>
                <a:gd name="connsiteY161" fmla="*/ 951038 h 1050628"/>
                <a:gd name="connsiteX162" fmla="*/ 1553968 w 2449768"/>
                <a:gd name="connsiteY162" fmla="*/ 948380 h 1050628"/>
                <a:gd name="connsiteX163" fmla="*/ 1222819 w 2449768"/>
                <a:gd name="connsiteY163" fmla="*/ 933189 h 1050628"/>
                <a:gd name="connsiteX164" fmla="*/ 1236111 w 2449768"/>
                <a:gd name="connsiteY164" fmla="*/ 941923 h 1050628"/>
                <a:gd name="connsiteX165" fmla="*/ 1230035 w 2449768"/>
                <a:gd name="connsiteY165" fmla="*/ 966228 h 1050628"/>
                <a:gd name="connsiteX166" fmla="*/ 1205730 w 2449768"/>
                <a:gd name="connsiteY166" fmla="*/ 960152 h 1050628"/>
                <a:gd name="connsiteX167" fmla="*/ 1211806 w 2449768"/>
                <a:gd name="connsiteY167" fmla="*/ 935847 h 1050628"/>
                <a:gd name="connsiteX168" fmla="*/ 1222819 w 2449768"/>
                <a:gd name="connsiteY168" fmla="*/ 933189 h 1050628"/>
                <a:gd name="connsiteX169" fmla="*/ 1031421 w 2449768"/>
                <a:gd name="connsiteY169" fmla="*/ 930151 h 1050628"/>
                <a:gd name="connsiteX170" fmla="*/ 1044713 w 2449768"/>
                <a:gd name="connsiteY170" fmla="*/ 938885 h 1050628"/>
                <a:gd name="connsiteX171" fmla="*/ 1038637 w 2449768"/>
                <a:gd name="connsiteY171" fmla="*/ 963190 h 1050628"/>
                <a:gd name="connsiteX172" fmla="*/ 1014332 w 2449768"/>
                <a:gd name="connsiteY172" fmla="*/ 957114 h 1050628"/>
                <a:gd name="connsiteX173" fmla="*/ 1020408 w 2449768"/>
                <a:gd name="connsiteY173" fmla="*/ 932809 h 1050628"/>
                <a:gd name="connsiteX174" fmla="*/ 1031421 w 2449768"/>
                <a:gd name="connsiteY174" fmla="*/ 930151 h 1050628"/>
                <a:gd name="connsiteX175" fmla="*/ 931165 w 2449768"/>
                <a:gd name="connsiteY175" fmla="*/ 930151 h 1050628"/>
                <a:gd name="connsiteX176" fmla="*/ 944457 w 2449768"/>
                <a:gd name="connsiteY176" fmla="*/ 938885 h 1050628"/>
                <a:gd name="connsiteX177" fmla="*/ 938381 w 2449768"/>
                <a:gd name="connsiteY177" fmla="*/ 963190 h 1050628"/>
                <a:gd name="connsiteX178" fmla="*/ 914076 w 2449768"/>
                <a:gd name="connsiteY178" fmla="*/ 957114 h 1050628"/>
                <a:gd name="connsiteX179" fmla="*/ 920152 w 2449768"/>
                <a:gd name="connsiteY179" fmla="*/ 932809 h 1050628"/>
                <a:gd name="connsiteX180" fmla="*/ 931165 w 2449768"/>
                <a:gd name="connsiteY180" fmla="*/ 930151 h 1050628"/>
                <a:gd name="connsiteX181" fmla="*/ 123041 w 2449768"/>
                <a:gd name="connsiteY181" fmla="*/ 930151 h 1050628"/>
                <a:gd name="connsiteX182" fmla="*/ 136333 w 2449768"/>
                <a:gd name="connsiteY182" fmla="*/ 938885 h 1050628"/>
                <a:gd name="connsiteX183" fmla="*/ 130257 w 2449768"/>
                <a:gd name="connsiteY183" fmla="*/ 963190 h 1050628"/>
                <a:gd name="connsiteX184" fmla="*/ 105952 w 2449768"/>
                <a:gd name="connsiteY184" fmla="*/ 957114 h 1050628"/>
                <a:gd name="connsiteX185" fmla="*/ 112028 w 2449768"/>
                <a:gd name="connsiteY185" fmla="*/ 932809 h 1050628"/>
                <a:gd name="connsiteX186" fmla="*/ 123041 w 2449768"/>
                <a:gd name="connsiteY186" fmla="*/ 930151 h 1050628"/>
                <a:gd name="connsiteX187" fmla="*/ 524065 w 2449768"/>
                <a:gd name="connsiteY187" fmla="*/ 917999 h 1050628"/>
                <a:gd name="connsiteX188" fmla="*/ 537357 w 2449768"/>
                <a:gd name="connsiteY188" fmla="*/ 926733 h 1050628"/>
                <a:gd name="connsiteX189" fmla="*/ 531281 w 2449768"/>
                <a:gd name="connsiteY189" fmla="*/ 951038 h 1050628"/>
                <a:gd name="connsiteX190" fmla="*/ 506976 w 2449768"/>
                <a:gd name="connsiteY190" fmla="*/ 944962 h 1050628"/>
                <a:gd name="connsiteX191" fmla="*/ 513052 w 2449768"/>
                <a:gd name="connsiteY191" fmla="*/ 920657 h 1050628"/>
                <a:gd name="connsiteX192" fmla="*/ 524065 w 2449768"/>
                <a:gd name="connsiteY192" fmla="*/ 917999 h 1050628"/>
                <a:gd name="connsiteX193" fmla="*/ 824833 w 2449768"/>
                <a:gd name="connsiteY193" fmla="*/ 911923 h 1050628"/>
                <a:gd name="connsiteX194" fmla="*/ 838125 w 2449768"/>
                <a:gd name="connsiteY194" fmla="*/ 920657 h 1050628"/>
                <a:gd name="connsiteX195" fmla="*/ 832049 w 2449768"/>
                <a:gd name="connsiteY195" fmla="*/ 944962 h 1050628"/>
                <a:gd name="connsiteX196" fmla="*/ 807744 w 2449768"/>
                <a:gd name="connsiteY196" fmla="*/ 938886 h 1050628"/>
                <a:gd name="connsiteX197" fmla="*/ 813820 w 2449768"/>
                <a:gd name="connsiteY197" fmla="*/ 914581 h 1050628"/>
                <a:gd name="connsiteX198" fmla="*/ 824833 w 2449768"/>
                <a:gd name="connsiteY198" fmla="*/ 911923 h 1050628"/>
                <a:gd name="connsiteX199" fmla="*/ 2137276 w 2449768"/>
                <a:gd name="connsiteY199" fmla="*/ 905847 h 1050628"/>
                <a:gd name="connsiteX200" fmla="*/ 2150567 w 2449768"/>
                <a:gd name="connsiteY200" fmla="*/ 914581 h 1050628"/>
                <a:gd name="connsiteX201" fmla="*/ 2144491 w 2449768"/>
                <a:gd name="connsiteY201" fmla="*/ 938886 h 1050628"/>
                <a:gd name="connsiteX202" fmla="*/ 2120187 w 2449768"/>
                <a:gd name="connsiteY202" fmla="*/ 932810 h 1050628"/>
                <a:gd name="connsiteX203" fmla="*/ 2126263 w 2449768"/>
                <a:gd name="connsiteY203" fmla="*/ 908505 h 1050628"/>
                <a:gd name="connsiteX204" fmla="*/ 2137276 w 2449768"/>
                <a:gd name="connsiteY204" fmla="*/ 905847 h 1050628"/>
                <a:gd name="connsiteX205" fmla="*/ 630397 w 2449768"/>
                <a:gd name="connsiteY205" fmla="*/ 905847 h 1050628"/>
                <a:gd name="connsiteX206" fmla="*/ 643689 w 2449768"/>
                <a:gd name="connsiteY206" fmla="*/ 914581 h 1050628"/>
                <a:gd name="connsiteX207" fmla="*/ 637613 w 2449768"/>
                <a:gd name="connsiteY207" fmla="*/ 938886 h 1050628"/>
                <a:gd name="connsiteX208" fmla="*/ 613308 w 2449768"/>
                <a:gd name="connsiteY208" fmla="*/ 932810 h 1050628"/>
                <a:gd name="connsiteX209" fmla="*/ 619384 w 2449768"/>
                <a:gd name="connsiteY209" fmla="*/ 908505 h 1050628"/>
                <a:gd name="connsiteX210" fmla="*/ 630397 w 2449768"/>
                <a:gd name="connsiteY210" fmla="*/ 905847 h 1050628"/>
                <a:gd name="connsiteX211" fmla="*/ 1332189 w 2449768"/>
                <a:gd name="connsiteY211" fmla="*/ 896733 h 1050628"/>
                <a:gd name="connsiteX212" fmla="*/ 1345481 w 2449768"/>
                <a:gd name="connsiteY212" fmla="*/ 905467 h 1050628"/>
                <a:gd name="connsiteX213" fmla="*/ 1339405 w 2449768"/>
                <a:gd name="connsiteY213" fmla="*/ 929772 h 1050628"/>
                <a:gd name="connsiteX214" fmla="*/ 1315100 w 2449768"/>
                <a:gd name="connsiteY214" fmla="*/ 923696 h 1050628"/>
                <a:gd name="connsiteX215" fmla="*/ 1321176 w 2449768"/>
                <a:gd name="connsiteY215" fmla="*/ 899391 h 1050628"/>
                <a:gd name="connsiteX216" fmla="*/ 1332189 w 2449768"/>
                <a:gd name="connsiteY216" fmla="*/ 896733 h 1050628"/>
                <a:gd name="connsiteX217" fmla="*/ 724577 w 2449768"/>
                <a:gd name="connsiteY217" fmla="*/ 890656 h 1050628"/>
                <a:gd name="connsiteX218" fmla="*/ 737869 w 2449768"/>
                <a:gd name="connsiteY218" fmla="*/ 899390 h 1050628"/>
                <a:gd name="connsiteX219" fmla="*/ 731793 w 2449768"/>
                <a:gd name="connsiteY219" fmla="*/ 923695 h 1050628"/>
                <a:gd name="connsiteX220" fmla="*/ 707488 w 2449768"/>
                <a:gd name="connsiteY220" fmla="*/ 917619 h 1050628"/>
                <a:gd name="connsiteX221" fmla="*/ 713564 w 2449768"/>
                <a:gd name="connsiteY221" fmla="*/ 893314 h 1050628"/>
                <a:gd name="connsiteX222" fmla="*/ 724577 w 2449768"/>
                <a:gd name="connsiteY222" fmla="*/ 890656 h 1050628"/>
                <a:gd name="connsiteX223" fmla="*/ 1435484 w 2449768"/>
                <a:gd name="connsiteY223" fmla="*/ 884580 h 1050628"/>
                <a:gd name="connsiteX224" fmla="*/ 1448776 w 2449768"/>
                <a:gd name="connsiteY224" fmla="*/ 893314 h 1050628"/>
                <a:gd name="connsiteX225" fmla="*/ 1442700 w 2449768"/>
                <a:gd name="connsiteY225" fmla="*/ 917619 h 1050628"/>
                <a:gd name="connsiteX226" fmla="*/ 1418395 w 2449768"/>
                <a:gd name="connsiteY226" fmla="*/ 911543 h 1050628"/>
                <a:gd name="connsiteX227" fmla="*/ 1424471 w 2449768"/>
                <a:gd name="connsiteY227" fmla="*/ 887238 h 1050628"/>
                <a:gd name="connsiteX228" fmla="*/ 1435484 w 2449768"/>
                <a:gd name="connsiteY228" fmla="*/ 884580 h 1050628"/>
                <a:gd name="connsiteX229" fmla="*/ 1131677 w 2449768"/>
                <a:gd name="connsiteY229" fmla="*/ 884580 h 1050628"/>
                <a:gd name="connsiteX230" fmla="*/ 1144969 w 2449768"/>
                <a:gd name="connsiteY230" fmla="*/ 893314 h 1050628"/>
                <a:gd name="connsiteX231" fmla="*/ 1138893 w 2449768"/>
                <a:gd name="connsiteY231" fmla="*/ 917619 h 1050628"/>
                <a:gd name="connsiteX232" fmla="*/ 1114588 w 2449768"/>
                <a:gd name="connsiteY232" fmla="*/ 911543 h 1050628"/>
                <a:gd name="connsiteX233" fmla="*/ 1120664 w 2449768"/>
                <a:gd name="connsiteY233" fmla="*/ 887238 h 1050628"/>
                <a:gd name="connsiteX234" fmla="*/ 1131677 w 2449768"/>
                <a:gd name="connsiteY234" fmla="*/ 884580 h 1050628"/>
                <a:gd name="connsiteX235" fmla="*/ 1757518 w 2449768"/>
                <a:gd name="connsiteY235" fmla="*/ 881542 h 1050628"/>
                <a:gd name="connsiteX236" fmla="*/ 1770810 w 2449768"/>
                <a:gd name="connsiteY236" fmla="*/ 890276 h 1050628"/>
                <a:gd name="connsiteX237" fmla="*/ 1764734 w 2449768"/>
                <a:gd name="connsiteY237" fmla="*/ 914581 h 1050628"/>
                <a:gd name="connsiteX238" fmla="*/ 1740429 w 2449768"/>
                <a:gd name="connsiteY238" fmla="*/ 908505 h 1050628"/>
                <a:gd name="connsiteX239" fmla="*/ 1746505 w 2449768"/>
                <a:gd name="connsiteY239" fmla="*/ 884200 h 1050628"/>
                <a:gd name="connsiteX240" fmla="*/ 1757518 w 2449768"/>
                <a:gd name="connsiteY240" fmla="*/ 881542 h 1050628"/>
                <a:gd name="connsiteX241" fmla="*/ 1654224 w 2449768"/>
                <a:gd name="connsiteY241" fmla="*/ 881542 h 1050628"/>
                <a:gd name="connsiteX242" fmla="*/ 1667516 w 2449768"/>
                <a:gd name="connsiteY242" fmla="*/ 890276 h 1050628"/>
                <a:gd name="connsiteX243" fmla="*/ 1661440 w 2449768"/>
                <a:gd name="connsiteY243" fmla="*/ 914581 h 1050628"/>
                <a:gd name="connsiteX244" fmla="*/ 1637135 w 2449768"/>
                <a:gd name="connsiteY244" fmla="*/ 908505 h 1050628"/>
                <a:gd name="connsiteX245" fmla="*/ 1643211 w 2449768"/>
                <a:gd name="connsiteY245" fmla="*/ 884200 h 1050628"/>
                <a:gd name="connsiteX246" fmla="*/ 1654224 w 2449768"/>
                <a:gd name="connsiteY246" fmla="*/ 881542 h 1050628"/>
                <a:gd name="connsiteX247" fmla="*/ 2346903 w 2449768"/>
                <a:gd name="connsiteY247" fmla="*/ 878504 h 1050628"/>
                <a:gd name="connsiteX248" fmla="*/ 2360194 w 2449768"/>
                <a:gd name="connsiteY248" fmla="*/ 887238 h 1050628"/>
                <a:gd name="connsiteX249" fmla="*/ 2354118 w 2449768"/>
                <a:gd name="connsiteY249" fmla="*/ 911543 h 1050628"/>
                <a:gd name="connsiteX250" fmla="*/ 2329813 w 2449768"/>
                <a:gd name="connsiteY250" fmla="*/ 905467 h 1050628"/>
                <a:gd name="connsiteX251" fmla="*/ 2335889 w 2449768"/>
                <a:gd name="connsiteY251" fmla="*/ 881162 h 1050628"/>
                <a:gd name="connsiteX252" fmla="*/ 2346903 w 2449768"/>
                <a:gd name="connsiteY252" fmla="*/ 878504 h 1050628"/>
                <a:gd name="connsiteX253" fmla="*/ 320515 w 2449768"/>
                <a:gd name="connsiteY253" fmla="*/ 872428 h 1050628"/>
                <a:gd name="connsiteX254" fmla="*/ 333807 w 2449768"/>
                <a:gd name="connsiteY254" fmla="*/ 881162 h 1050628"/>
                <a:gd name="connsiteX255" fmla="*/ 327731 w 2449768"/>
                <a:gd name="connsiteY255" fmla="*/ 905467 h 1050628"/>
                <a:gd name="connsiteX256" fmla="*/ 303426 w 2449768"/>
                <a:gd name="connsiteY256" fmla="*/ 899391 h 1050628"/>
                <a:gd name="connsiteX257" fmla="*/ 309502 w 2449768"/>
                <a:gd name="connsiteY257" fmla="*/ 875086 h 1050628"/>
                <a:gd name="connsiteX258" fmla="*/ 320515 w 2449768"/>
                <a:gd name="connsiteY258" fmla="*/ 872428 h 1050628"/>
                <a:gd name="connsiteX259" fmla="*/ 1876003 w 2449768"/>
                <a:gd name="connsiteY259" fmla="*/ 866352 h 1050628"/>
                <a:gd name="connsiteX260" fmla="*/ 1889294 w 2449768"/>
                <a:gd name="connsiteY260" fmla="*/ 875086 h 1050628"/>
                <a:gd name="connsiteX261" fmla="*/ 1883218 w 2449768"/>
                <a:gd name="connsiteY261" fmla="*/ 899391 h 1050628"/>
                <a:gd name="connsiteX262" fmla="*/ 1858913 w 2449768"/>
                <a:gd name="connsiteY262" fmla="*/ 893315 h 1050628"/>
                <a:gd name="connsiteX263" fmla="*/ 1864989 w 2449768"/>
                <a:gd name="connsiteY263" fmla="*/ 869010 h 1050628"/>
                <a:gd name="connsiteX264" fmla="*/ 1876003 w 2449768"/>
                <a:gd name="connsiteY264" fmla="*/ 866352 h 1050628"/>
                <a:gd name="connsiteX265" fmla="*/ 2000563 w 2449768"/>
                <a:gd name="connsiteY265" fmla="*/ 857238 h 1050628"/>
                <a:gd name="connsiteX266" fmla="*/ 2013855 w 2449768"/>
                <a:gd name="connsiteY266" fmla="*/ 865972 h 1050628"/>
                <a:gd name="connsiteX267" fmla="*/ 2007779 w 2449768"/>
                <a:gd name="connsiteY267" fmla="*/ 890277 h 1050628"/>
                <a:gd name="connsiteX268" fmla="*/ 1983474 w 2449768"/>
                <a:gd name="connsiteY268" fmla="*/ 884201 h 1050628"/>
                <a:gd name="connsiteX269" fmla="*/ 1989550 w 2449768"/>
                <a:gd name="connsiteY269" fmla="*/ 859896 h 1050628"/>
                <a:gd name="connsiteX270" fmla="*/ 2000563 w 2449768"/>
                <a:gd name="connsiteY270" fmla="*/ 857238 h 1050628"/>
                <a:gd name="connsiteX271" fmla="*/ 420771 w 2449768"/>
                <a:gd name="connsiteY271" fmla="*/ 857238 h 1050628"/>
                <a:gd name="connsiteX272" fmla="*/ 434062 w 2449768"/>
                <a:gd name="connsiteY272" fmla="*/ 865972 h 1050628"/>
                <a:gd name="connsiteX273" fmla="*/ 427986 w 2449768"/>
                <a:gd name="connsiteY273" fmla="*/ 890277 h 1050628"/>
                <a:gd name="connsiteX274" fmla="*/ 403682 w 2449768"/>
                <a:gd name="connsiteY274" fmla="*/ 884201 h 1050628"/>
                <a:gd name="connsiteX275" fmla="*/ 409758 w 2449768"/>
                <a:gd name="connsiteY275" fmla="*/ 859896 h 1050628"/>
                <a:gd name="connsiteX276" fmla="*/ 420771 w 2449768"/>
                <a:gd name="connsiteY276" fmla="*/ 857238 h 1050628"/>
                <a:gd name="connsiteX277" fmla="*/ 2237532 w 2449768"/>
                <a:gd name="connsiteY277" fmla="*/ 848124 h 1050628"/>
                <a:gd name="connsiteX278" fmla="*/ 2250824 w 2449768"/>
                <a:gd name="connsiteY278" fmla="*/ 856858 h 1050628"/>
                <a:gd name="connsiteX279" fmla="*/ 2244748 w 2449768"/>
                <a:gd name="connsiteY279" fmla="*/ 881163 h 1050628"/>
                <a:gd name="connsiteX280" fmla="*/ 2220443 w 2449768"/>
                <a:gd name="connsiteY280" fmla="*/ 875087 h 1050628"/>
                <a:gd name="connsiteX281" fmla="*/ 2226519 w 2449768"/>
                <a:gd name="connsiteY281" fmla="*/ 850782 h 1050628"/>
                <a:gd name="connsiteX282" fmla="*/ 2237532 w 2449768"/>
                <a:gd name="connsiteY282" fmla="*/ 848124 h 1050628"/>
                <a:gd name="connsiteX283" fmla="*/ 211145 w 2449768"/>
                <a:gd name="connsiteY283" fmla="*/ 848124 h 1050628"/>
                <a:gd name="connsiteX284" fmla="*/ 224436 w 2449768"/>
                <a:gd name="connsiteY284" fmla="*/ 856858 h 1050628"/>
                <a:gd name="connsiteX285" fmla="*/ 218360 w 2449768"/>
                <a:gd name="connsiteY285" fmla="*/ 881163 h 1050628"/>
                <a:gd name="connsiteX286" fmla="*/ 194056 w 2449768"/>
                <a:gd name="connsiteY286" fmla="*/ 875087 h 1050628"/>
                <a:gd name="connsiteX287" fmla="*/ 200132 w 2449768"/>
                <a:gd name="connsiteY287" fmla="*/ 850782 h 1050628"/>
                <a:gd name="connsiteX288" fmla="*/ 211145 w 2449768"/>
                <a:gd name="connsiteY288" fmla="*/ 848124 h 1050628"/>
                <a:gd name="connsiteX289" fmla="*/ 1511435 w 2449768"/>
                <a:gd name="connsiteY289" fmla="*/ 839009 h 1050628"/>
                <a:gd name="connsiteX290" fmla="*/ 1524727 w 2449768"/>
                <a:gd name="connsiteY290" fmla="*/ 847743 h 1050628"/>
                <a:gd name="connsiteX291" fmla="*/ 1518651 w 2449768"/>
                <a:gd name="connsiteY291" fmla="*/ 872048 h 1050628"/>
                <a:gd name="connsiteX292" fmla="*/ 1494346 w 2449768"/>
                <a:gd name="connsiteY292" fmla="*/ 865972 h 1050628"/>
                <a:gd name="connsiteX293" fmla="*/ 1500422 w 2449768"/>
                <a:gd name="connsiteY293" fmla="*/ 841667 h 1050628"/>
                <a:gd name="connsiteX294" fmla="*/ 1511435 w 2449768"/>
                <a:gd name="connsiteY294" fmla="*/ 839009 h 1050628"/>
                <a:gd name="connsiteX295" fmla="*/ 1253200 w 2449768"/>
                <a:gd name="connsiteY295" fmla="*/ 826857 h 1050628"/>
                <a:gd name="connsiteX296" fmla="*/ 1266492 w 2449768"/>
                <a:gd name="connsiteY296" fmla="*/ 835591 h 1050628"/>
                <a:gd name="connsiteX297" fmla="*/ 1260416 w 2449768"/>
                <a:gd name="connsiteY297" fmla="*/ 859896 h 1050628"/>
                <a:gd name="connsiteX298" fmla="*/ 1236111 w 2449768"/>
                <a:gd name="connsiteY298" fmla="*/ 853820 h 1050628"/>
                <a:gd name="connsiteX299" fmla="*/ 1242187 w 2449768"/>
                <a:gd name="connsiteY299" fmla="*/ 829515 h 1050628"/>
                <a:gd name="connsiteX300" fmla="*/ 1253200 w 2449768"/>
                <a:gd name="connsiteY300" fmla="*/ 826857 h 1050628"/>
                <a:gd name="connsiteX301" fmla="*/ 2428930 w 2449768"/>
                <a:gd name="connsiteY301" fmla="*/ 814705 h 1050628"/>
                <a:gd name="connsiteX302" fmla="*/ 2442221 w 2449768"/>
                <a:gd name="connsiteY302" fmla="*/ 823439 h 1050628"/>
                <a:gd name="connsiteX303" fmla="*/ 2436145 w 2449768"/>
                <a:gd name="connsiteY303" fmla="*/ 847744 h 1050628"/>
                <a:gd name="connsiteX304" fmla="*/ 2411841 w 2449768"/>
                <a:gd name="connsiteY304" fmla="*/ 841668 h 1050628"/>
                <a:gd name="connsiteX305" fmla="*/ 2417917 w 2449768"/>
                <a:gd name="connsiteY305" fmla="*/ 817363 h 1050628"/>
                <a:gd name="connsiteX306" fmla="*/ 2428930 w 2449768"/>
                <a:gd name="connsiteY306" fmla="*/ 814705 h 1050628"/>
                <a:gd name="connsiteX307" fmla="*/ 991927 w 2449768"/>
                <a:gd name="connsiteY307" fmla="*/ 814705 h 1050628"/>
                <a:gd name="connsiteX308" fmla="*/ 1005218 w 2449768"/>
                <a:gd name="connsiteY308" fmla="*/ 823439 h 1050628"/>
                <a:gd name="connsiteX309" fmla="*/ 999142 w 2449768"/>
                <a:gd name="connsiteY309" fmla="*/ 847744 h 1050628"/>
                <a:gd name="connsiteX310" fmla="*/ 974838 w 2449768"/>
                <a:gd name="connsiteY310" fmla="*/ 841668 h 1050628"/>
                <a:gd name="connsiteX311" fmla="*/ 980914 w 2449768"/>
                <a:gd name="connsiteY311" fmla="*/ 817363 h 1050628"/>
                <a:gd name="connsiteX312" fmla="*/ 991927 w 2449768"/>
                <a:gd name="connsiteY312" fmla="*/ 814705 h 1050628"/>
                <a:gd name="connsiteX313" fmla="*/ 894709 w 2449768"/>
                <a:gd name="connsiteY313" fmla="*/ 814705 h 1050628"/>
                <a:gd name="connsiteX314" fmla="*/ 908001 w 2449768"/>
                <a:gd name="connsiteY314" fmla="*/ 823439 h 1050628"/>
                <a:gd name="connsiteX315" fmla="*/ 901925 w 2449768"/>
                <a:gd name="connsiteY315" fmla="*/ 847744 h 1050628"/>
                <a:gd name="connsiteX316" fmla="*/ 877620 w 2449768"/>
                <a:gd name="connsiteY316" fmla="*/ 841668 h 1050628"/>
                <a:gd name="connsiteX317" fmla="*/ 883696 w 2449768"/>
                <a:gd name="connsiteY317" fmla="*/ 817363 h 1050628"/>
                <a:gd name="connsiteX318" fmla="*/ 894709 w 2449768"/>
                <a:gd name="connsiteY318" fmla="*/ 814705 h 1050628"/>
                <a:gd name="connsiteX319" fmla="*/ 2088668 w 2449768"/>
                <a:gd name="connsiteY319" fmla="*/ 805591 h 1050628"/>
                <a:gd name="connsiteX320" fmla="*/ 2101959 w 2449768"/>
                <a:gd name="connsiteY320" fmla="*/ 814325 h 1050628"/>
                <a:gd name="connsiteX321" fmla="*/ 2095883 w 2449768"/>
                <a:gd name="connsiteY321" fmla="*/ 838630 h 1050628"/>
                <a:gd name="connsiteX322" fmla="*/ 2071578 w 2449768"/>
                <a:gd name="connsiteY322" fmla="*/ 832554 h 1050628"/>
                <a:gd name="connsiteX323" fmla="*/ 2077654 w 2449768"/>
                <a:gd name="connsiteY323" fmla="*/ 808249 h 1050628"/>
                <a:gd name="connsiteX324" fmla="*/ 2088668 w 2449768"/>
                <a:gd name="connsiteY324" fmla="*/ 805591 h 1050628"/>
                <a:gd name="connsiteX325" fmla="*/ 575712 w 2449768"/>
                <a:gd name="connsiteY325" fmla="*/ 802553 h 1050628"/>
                <a:gd name="connsiteX326" fmla="*/ 589004 w 2449768"/>
                <a:gd name="connsiteY326" fmla="*/ 811287 h 1050628"/>
                <a:gd name="connsiteX327" fmla="*/ 582928 w 2449768"/>
                <a:gd name="connsiteY327" fmla="*/ 835592 h 1050628"/>
                <a:gd name="connsiteX328" fmla="*/ 558623 w 2449768"/>
                <a:gd name="connsiteY328" fmla="*/ 829516 h 1050628"/>
                <a:gd name="connsiteX329" fmla="*/ 564699 w 2449768"/>
                <a:gd name="connsiteY329" fmla="*/ 805211 h 1050628"/>
                <a:gd name="connsiteX330" fmla="*/ 575712 w 2449768"/>
                <a:gd name="connsiteY330" fmla="*/ 802553 h 1050628"/>
                <a:gd name="connsiteX331" fmla="*/ 1602577 w 2449768"/>
                <a:gd name="connsiteY331" fmla="*/ 796477 h 1050628"/>
                <a:gd name="connsiteX332" fmla="*/ 1615869 w 2449768"/>
                <a:gd name="connsiteY332" fmla="*/ 805211 h 1050628"/>
                <a:gd name="connsiteX333" fmla="*/ 1609793 w 2449768"/>
                <a:gd name="connsiteY333" fmla="*/ 829516 h 1050628"/>
                <a:gd name="connsiteX334" fmla="*/ 1585488 w 2449768"/>
                <a:gd name="connsiteY334" fmla="*/ 823440 h 1050628"/>
                <a:gd name="connsiteX335" fmla="*/ 1591564 w 2449768"/>
                <a:gd name="connsiteY335" fmla="*/ 799135 h 1050628"/>
                <a:gd name="connsiteX336" fmla="*/ 1602577 w 2449768"/>
                <a:gd name="connsiteY336" fmla="*/ 796477 h 1050628"/>
                <a:gd name="connsiteX337" fmla="*/ 1104335 w 2449768"/>
                <a:gd name="connsiteY337" fmla="*/ 793438 h 1050628"/>
                <a:gd name="connsiteX338" fmla="*/ 1117627 w 2449768"/>
                <a:gd name="connsiteY338" fmla="*/ 802172 h 1050628"/>
                <a:gd name="connsiteX339" fmla="*/ 1111551 w 2449768"/>
                <a:gd name="connsiteY339" fmla="*/ 826477 h 1050628"/>
                <a:gd name="connsiteX340" fmla="*/ 1087246 w 2449768"/>
                <a:gd name="connsiteY340" fmla="*/ 820401 h 1050628"/>
                <a:gd name="connsiteX341" fmla="*/ 1093322 w 2449768"/>
                <a:gd name="connsiteY341" fmla="*/ 796096 h 1050628"/>
                <a:gd name="connsiteX342" fmla="*/ 1104335 w 2449768"/>
                <a:gd name="connsiteY342" fmla="*/ 793438 h 1050628"/>
                <a:gd name="connsiteX343" fmla="*/ 791415 w 2449768"/>
                <a:gd name="connsiteY343" fmla="*/ 793438 h 1050628"/>
                <a:gd name="connsiteX344" fmla="*/ 804707 w 2449768"/>
                <a:gd name="connsiteY344" fmla="*/ 802172 h 1050628"/>
                <a:gd name="connsiteX345" fmla="*/ 798631 w 2449768"/>
                <a:gd name="connsiteY345" fmla="*/ 826477 h 1050628"/>
                <a:gd name="connsiteX346" fmla="*/ 774326 w 2449768"/>
                <a:gd name="connsiteY346" fmla="*/ 820401 h 1050628"/>
                <a:gd name="connsiteX347" fmla="*/ 780402 w 2449768"/>
                <a:gd name="connsiteY347" fmla="*/ 796096 h 1050628"/>
                <a:gd name="connsiteX348" fmla="*/ 791415 w 2449768"/>
                <a:gd name="connsiteY348" fmla="*/ 793438 h 1050628"/>
                <a:gd name="connsiteX349" fmla="*/ 1371684 w 2449768"/>
                <a:gd name="connsiteY349" fmla="*/ 784324 h 1050628"/>
                <a:gd name="connsiteX350" fmla="*/ 1384976 w 2449768"/>
                <a:gd name="connsiteY350" fmla="*/ 793058 h 1050628"/>
                <a:gd name="connsiteX351" fmla="*/ 1378900 w 2449768"/>
                <a:gd name="connsiteY351" fmla="*/ 817363 h 1050628"/>
                <a:gd name="connsiteX352" fmla="*/ 1354595 w 2449768"/>
                <a:gd name="connsiteY352" fmla="*/ 811287 h 1050628"/>
                <a:gd name="connsiteX353" fmla="*/ 1360671 w 2449768"/>
                <a:gd name="connsiteY353" fmla="*/ 786982 h 1050628"/>
                <a:gd name="connsiteX354" fmla="*/ 1371684 w 2449768"/>
                <a:gd name="connsiteY354" fmla="*/ 784324 h 1050628"/>
                <a:gd name="connsiteX355" fmla="*/ 472418 w 2449768"/>
                <a:gd name="connsiteY355" fmla="*/ 781286 h 1050628"/>
                <a:gd name="connsiteX356" fmla="*/ 485710 w 2449768"/>
                <a:gd name="connsiteY356" fmla="*/ 790020 h 1050628"/>
                <a:gd name="connsiteX357" fmla="*/ 479634 w 2449768"/>
                <a:gd name="connsiteY357" fmla="*/ 814325 h 1050628"/>
                <a:gd name="connsiteX358" fmla="*/ 455329 w 2449768"/>
                <a:gd name="connsiteY358" fmla="*/ 808249 h 1050628"/>
                <a:gd name="connsiteX359" fmla="*/ 461405 w 2449768"/>
                <a:gd name="connsiteY359" fmla="*/ 783944 h 1050628"/>
                <a:gd name="connsiteX360" fmla="*/ 472418 w 2449768"/>
                <a:gd name="connsiteY360" fmla="*/ 781286 h 1050628"/>
                <a:gd name="connsiteX361" fmla="*/ 1803089 w 2449768"/>
                <a:gd name="connsiteY361" fmla="*/ 778248 h 1050628"/>
                <a:gd name="connsiteX362" fmla="*/ 1816381 w 2449768"/>
                <a:gd name="connsiteY362" fmla="*/ 786982 h 1050628"/>
                <a:gd name="connsiteX363" fmla="*/ 1810305 w 2449768"/>
                <a:gd name="connsiteY363" fmla="*/ 811287 h 1050628"/>
                <a:gd name="connsiteX364" fmla="*/ 1786000 w 2449768"/>
                <a:gd name="connsiteY364" fmla="*/ 805211 h 1050628"/>
                <a:gd name="connsiteX365" fmla="*/ 1792076 w 2449768"/>
                <a:gd name="connsiteY365" fmla="*/ 780906 h 1050628"/>
                <a:gd name="connsiteX366" fmla="*/ 1803089 w 2449768"/>
                <a:gd name="connsiteY366" fmla="*/ 778248 h 1050628"/>
                <a:gd name="connsiteX367" fmla="*/ 675968 w 2449768"/>
                <a:gd name="connsiteY367" fmla="*/ 772172 h 1050628"/>
                <a:gd name="connsiteX368" fmla="*/ 689260 w 2449768"/>
                <a:gd name="connsiteY368" fmla="*/ 780906 h 1050628"/>
                <a:gd name="connsiteX369" fmla="*/ 683184 w 2449768"/>
                <a:gd name="connsiteY369" fmla="*/ 805211 h 1050628"/>
                <a:gd name="connsiteX370" fmla="*/ 658879 w 2449768"/>
                <a:gd name="connsiteY370" fmla="*/ 799135 h 1050628"/>
                <a:gd name="connsiteX371" fmla="*/ 664955 w 2449768"/>
                <a:gd name="connsiteY371" fmla="*/ 774830 h 1050628"/>
                <a:gd name="connsiteX372" fmla="*/ 675968 w 2449768"/>
                <a:gd name="connsiteY372" fmla="*/ 772172 h 1050628"/>
                <a:gd name="connsiteX373" fmla="*/ 302287 w 2449768"/>
                <a:gd name="connsiteY373" fmla="*/ 769134 h 1050628"/>
                <a:gd name="connsiteX374" fmla="*/ 315579 w 2449768"/>
                <a:gd name="connsiteY374" fmla="*/ 777868 h 1050628"/>
                <a:gd name="connsiteX375" fmla="*/ 309503 w 2449768"/>
                <a:gd name="connsiteY375" fmla="*/ 802173 h 1050628"/>
                <a:gd name="connsiteX376" fmla="*/ 285198 w 2449768"/>
                <a:gd name="connsiteY376" fmla="*/ 796097 h 1050628"/>
                <a:gd name="connsiteX377" fmla="*/ 291274 w 2449768"/>
                <a:gd name="connsiteY377" fmla="*/ 771792 h 1050628"/>
                <a:gd name="connsiteX378" fmla="*/ 302287 w 2449768"/>
                <a:gd name="connsiteY378" fmla="*/ 769134 h 1050628"/>
                <a:gd name="connsiteX379" fmla="*/ 2313484 w 2449768"/>
                <a:gd name="connsiteY379" fmla="*/ 766096 h 1050628"/>
                <a:gd name="connsiteX380" fmla="*/ 2326775 w 2449768"/>
                <a:gd name="connsiteY380" fmla="*/ 774830 h 1050628"/>
                <a:gd name="connsiteX381" fmla="*/ 2320699 w 2449768"/>
                <a:gd name="connsiteY381" fmla="*/ 799135 h 1050628"/>
                <a:gd name="connsiteX382" fmla="*/ 2296395 w 2449768"/>
                <a:gd name="connsiteY382" fmla="*/ 793059 h 1050628"/>
                <a:gd name="connsiteX383" fmla="*/ 2302471 w 2449768"/>
                <a:gd name="connsiteY383" fmla="*/ 768754 h 1050628"/>
                <a:gd name="connsiteX384" fmla="*/ 2313484 w 2449768"/>
                <a:gd name="connsiteY384" fmla="*/ 766096 h 1050628"/>
                <a:gd name="connsiteX385" fmla="*/ 1921574 w 2449768"/>
                <a:gd name="connsiteY385" fmla="*/ 766096 h 1050628"/>
                <a:gd name="connsiteX386" fmla="*/ 1934865 w 2449768"/>
                <a:gd name="connsiteY386" fmla="*/ 774830 h 1050628"/>
                <a:gd name="connsiteX387" fmla="*/ 1928789 w 2449768"/>
                <a:gd name="connsiteY387" fmla="*/ 799135 h 1050628"/>
                <a:gd name="connsiteX388" fmla="*/ 1904485 w 2449768"/>
                <a:gd name="connsiteY388" fmla="*/ 793059 h 1050628"/>
                <a:gd name="connsiteX389" fmla="*/ 1910561 w 2449768"/>
                <a:gd name="connsiteY389" fmla="*/ 768754 h 1050628"/>
                <a:gd name="connsiteX390" fmla="*/ 1921574 w 2449768"/>
                <a:gd name="connsiteY390" fmla="*/ 766096 h 1050628"/>
                <a:gd name="connsiteX391" fmla="*/ 2176771 w 2449768"/>
                <a:gd name="connsiteY391" fmla="*/ 756982 h 1050628"/>
                <a:gd name="connsiteX392" fmla="*/ 2190062 w 2449768"/>
                <a:gd name="connsiteY392" fmla="*/ 765716 h 1050628"/>
                <a:gd name="connsiteX393" fmla="*/ 2183986 w 2449768"/>
                <a:gd name="connsiteY393" fmla="*/ 790021 h 1050628"/>
                <a:gd name="connsiteX394" fmla="*/ 2159682 w 2449768"/>
                <a:gd name="connsiteY394" fmla="*/ 783945 h 1050628"/>
                <a:gd name="connsiteX395" fmla="*/ 2165758 w 2449768"/>
                <a:gd name="connsiteY395" fmla="*/ 759640 h 1050628"/>
                <a:gd name="connsiteX396" fmla="*/ 2176771 w 2449768"/>
                <a:gd name="connsiteY396" fmla="*/ 756982 h 1050628"/>
                <a:gd name="connsiteX397" fmla="*/ 1702833 w 2449768"/>
                <a:gd name="connsiteY397" fmla="*/ 750906 h 1050628"/>
                <a:gd name="connsiteX398" fmla="*/ 1716125 w 2449768"/>
                <a:gd name="connsiteY398" fmla="*/ 759640 h 1050628"/>
                <a:gd name="connsiteX399" fmla="*/ 1710049 w 2449768"/>
                <a:gd name="connsiteY399" fmla="*/ 783945 h 1050628"/>
                <a:gd name="connsiteX400" fmla="*/ 1685744 w 2449768"/>
                <a:gd name="connsiteY400" fmla="*/ 777869 h 1050628"/>
                <a:gd name="connsiteX401" fmla="*/ 1691820 w 2449768"/>
                <a:gd name="connsiteY401" fmla="*/ 753564 h 1050628"/>
                <a:gd name="connsiteX402" fmla="*/ 1702833 w 2449768"/>
                <a:gd name="connsiteY402" fmla="*/ 750906 h 1050628"/>
                <a:gd name="connsiteX403" fmla="*/ 1210667 w 2449768"/>
                <a:gd name="connsiteY403" fmla="*/ 741791 h 1050628"/>
                <a:gd name="connsiteX404" fmla="*/ 1223959 w 2449768"/>
                <a:gd name="connsiteY404" fmla="*/ 750525 h 1050628"/>
                <a:gd name="connsiteX405" fmla="*/ 1217883 w 2449768"/>
                <a:gd name="connsiteY405" fmla="*/ 774830 h 1050628"/>
                <a:gd name="connsiteX406" fmla="*/ 1193578 w 2449768"/>
                <a:gd name="connsiteY406" fmla="*/ 768754 h 1050628"/>
                <a:gd name="connsiteX407" fmla="*/ 1199654 w 2449768"/>
                <a:gd name="connsiteY407" fmla="*/ 744449 h 1050628"/>
                <a:gd name="connsiteX408" fmla="*/ 1210667 w 2449768"/>
                <a:gd name="connsiteY408" fmla="*/ 741791 h 1050628"/>
                <a:gd name="connsiteX409" fmla="*/ 1450674 w 2449768"/>
                <a:gd name="connsiteY409" fmla="*/ 723563 h 1050628"/>
                <a:gd name="connsiteX410" fmla="*/ 1463966 w 2449768"/>
                <a:gd name="connsiteY410" fmla="*/ 732297 h 1050628"/>
                <a:gd name="connsiteX411" fmla="*/ 1457890 w 2449768"/>
                <a:gd name="connsiteY411" fmla="*/ 756602 h 1050628"/>
                <a:gd name="connsiteX412" fmla="*/ 1433585 w 2449768"/>
                <a:gd name="connsiteY412" fmla="*/ 750526 h 1050628"/>
                <a:gd name="connsiteX413" fmla="*/ 1439661 w 2449768"/>
                <a:gd name="connsiteY413" fmla="*/ 726221 h 1050628"/>
                <a:gd name="connsiteX414" fmla="*/ 1450674 w 2449768"/>
                <a:gd name="connsiteY414" fmla="*/ 723563 h 1050628"/>
                <a:gd name="connsiteX415" fmla="*/ 2021829 w 2449768"/>
                <a:gd name="connsiteY415" fmla="*/ 720525 h 1050628"/>
                <a:gd name="connsiteX416" fmla="*/ 2035121 w 2449768"/>
                <a:gd name="connsiteY416" fmla="*/ 729259 h 1050628"/>
                <a:gd name="connsiteX417" fmla="*/ 2029045 w 2449768"/>
                <a:gd name="connsiteY417" fmla="*/ 753564 h 1050628"/>
                <a:gd name="connsiteX418" fmla="*/ 2004740 w 2449768"/>
                <a:gd name="connsiteY418" fmla="*/ 747488 h 1050628"/>
                <a:gd name="connsiteX419" fmla="*/ 2010816 w 2449768"/>
                <a:gd name="connsiteY419" fmla="*/ 723183 h 1050628"/>
                <a:gd name="connsiteX420" fmla="*/ 2021829 w 2449768"/>
                <a:gd name="connsiteY420" fmla="*/ 720525 h 1050628"/>
                <a:gd name="connsiteX421" fmla="*/ 387352 w 2449768"/>
                <a:gd name="connsiteY421" fmla="*/ 720525 h 1050628"/>
                <a:gd name="connsiteX422" fmla="*/ 400644 w 2449768"/>
                <a:gd name="connsiteY422" fmla="*/ 729259 h 1050628"/>
                <a:gd name="connsiteX423" fmla="*/ 394568 w 2449768"/>
                <a:gd name="connsiteY423" fmla="*/ 753564 h 1050628"/>
                <a:gd name="connsiteX424" fmla="*/ 370263 w 2449768"/>
                <a:gd name="connsiteY424" fmla="*/ 747488 h 1050628"/>
                <a:gd name="connsiteX425" fmla="*/ 376339 w 2449768"/>
                <a:gd name="connsiteY425" fmla="*/ 723183 h 1050628"/>
                <a:gd name="connsiteX426" fmla="*/ 387352 w 2449768"/>
                <a:gd name="connsiteY426" fmla="*/ 720525 h 1050628"/>
                <a:gd name="connsiteX427" fmla="*/ 1049650 w 2449768"/>
                <a:gd name="connsiteY427" fmla="*/ 702297 h 1050628"/>
                <a:gd name="connsiteX428" fmla="*/ 1062942 w 2449768"/>
                <a:gd name="connsiteY428" fmla="*/ 711031 h 1050628"/>
                <a:gd name="connsiteX429" fmla="*/ 1056866 w 2449768"/>
                <a:gd name="connsiteY429" fmla="*/ 735336 h 1050628"/>
                <a:gd name="connsiteX430" fmla="*/ 1032561 w 2449768"/>
                <a:gd name="connsiteY430" fmla="*/ 729260 h 1050628"/>
                <a:gd name="connsiteX431" fmla="*/ 1038637 w 2449768"/>
                <a:gd name="connsiteY431" fmla="*/ 704955 h 1050628"/>
                <a:gd name="connsiteX432" fmla="*/ 1049650 w 2449768"/>
                <a:gd name="connsiteY432" fmla="*/ 702297 h 1050628"/>
                <a:gd name="connsiteX433" fmla="*/ 931165 w 2449768"/>
                <a:gd name="connsiteY433" fmla="*/ 702297 h 1050628"/>
                <a:gd name="connsiteX434" fmla="*/ 944457 w 2449768"/>
                <a:gd name="connsiteY434" fmla="*/ 711031 h 1050628"/>
                <a:gd name="connsiteX435" fmla="*/ 938381 w 2449768"/>
                <a:gd name="connsiteY435" fmla="*/ 735336 h 1050628"/>
                <a:gd name="connsiteX436" fmla="*/ 914076 w 2449768"/>
                <a:gd name="connsiteY436" fmla="*/ 729260 h 1050628"/>
                <a:gd name="connsiteX437" fmla="*/ 920152 w 2449768"/>
                <a:gd name="connsiteY437" fmla="*/ 704955 h 1050628"/>
                <a:gd name="connsiteX438" fmla="*/ 931165 w 2449768"/>
                <a:gd name="connsiteY438" fmla="*/ 702297 h 1050628"/>
                <a:gd name="connsiteX439" fmla="*/ 1547892 w 2449768"/>
                <a:gd name="connsiteY439" fmla="*/ 699259 h 1050628"/>
                <a:gd name="connsiteX440" fmla="*/ 1561184 w 2449768"/>
                <a:gd name="connsiteY440" fmla="*/ 707993 h 1050628"/>
                <a:gd name="connsiteX441" fmla="*/ 1555108 w 2449768"/>
                <a:gd name="connsiteY441" fmla="*/ 732298 h 1050628"/>
                <a:gd name="connsiteX442" fmla="*/ 1530803 w 2449768"/>
                <a:gd name="connsiteY442" fmla="*/ 726222 h 1050628"/>
                <a:gd name="connsiteX443" fmla="*/ 1536879 w 2449768"/>
                <a:gd name="connsiteY443" fmla="*/ 701917 h 1050628"/>
                <a:gd name="connsiteX444" fmla="*/ 1547892 w 2449768"/>
                <a:gd name="connsiteY444" fmla="*/ 699259 h 1050628"/>
                <a:gd name="connsiteX445" fmla="*/ 1313961 w 2449768"/>
                <a:gd name="connsiteY445" fmla="*/ 699259 h 1050628"/>
                <a:gd name="connsiteX446" fmla="*/ 1327253 w 2449768"/>
                <a:gd name="connsiteY446" fmla="*/ 707993 h 1050628"/>
                <a:gd name="connsiteX447" fmla="*/ 1321177 w 2449768"/>
                <a:gd name="connsiteY447" fmla="*/ 732298 h 1050628"/>
                <a:gd name="connsiteX448" fmla="*/ 1296872 w 2449768"/>
                <a:gd name="connsiteY448" fmla="*/ 726222 h 1050628"/>
                <a:gd name="connsiteX449" fmla="*/ 1302948 w 2449768"/>
                <a:gd name="connsiteY449" fmla="*/ 701917 h 1050628"/>
                <a:gd name="connsiteX450" fmla="*/ 1313961 w 2449768"/>
                <a:gd name="connsiteY450" fmla="*/ 699259 h 1050628"/>
                <a:gd name="connsiteX451" fmla="*/ 2413739 w 2449768"/>
                <a:gd name="connsiteY451" fmla="*/ 696220 h 1050628"/>
                <a:gd name="connsiteX452" fmla="*/ 2427031 w 2449768"/>
                <a:gd name="connsiteY452" fmla="*/ 704954 h 1050628"/>
                <a:gd name="connsiteX453" fmla="*/ 2420955 w 2449768"/>
                <a:gd name="connsiteY453" fmla="*/ 729259 h 1050628"/>
                <a:gd name="connsiteX454" fmla="*/ 2396650 w 2449768"/>
                <a:gd name="connsiteY454" fmla="*/ 723183 h 1050628"/>
                <a:gd name="connsiteX455" fmla="*/ 2402726 w 2449768"/>
                <a:gd name="connsiteY455" fmla="*/ 698878 h 1050628"/>
                <a:gd name="connsiteX456" fmla="*/ 2413739 w 2449768"/>
                <a:gd name="connsiteY456" fmla="*/ 696220 h 1050628"/>
                <a:gd name="connsiteX457" fmla="*/ 551408 w 2449768"/>
                <a:gd name="connsiteY457" fmla="*/ 690144 h 1050628"/>
                <a:gd name="connsiteX458" fmla="*/ 564699 w 2449768"/>
                <a:gd name="connsiteY458" fmla="*/ 698878 h 1050628"/>
                <a:gd name="connsiteX459" fmla="*/ 558623 w 2449768"/>
                <a:gd name="connsiteY459" fmla="*/ 723183 h 1050628"/>
                <a:gd name="connsiteX460" fmla="*/ 534319 w 2449768"/>
                <a:gd name="connsiteY460" fmla="*/ 717107 h 1050628"/>
                <a:gd name="connsiteX461" fmla="*/ 540395 w 2449768"/>
                <a:gd name="connsiteY461" fmla="*/ 692802 h 1050628"/>
                <a:gd name="connsiteX462" fmla="*/ 551408 w 2449768"/>
                <a:gd name="connsiteY462" fmla="*/ 690144 h 1050628"/>
                <a:gd name="connsiteX463" fmla="*/ 830909 w 2449768"/>
                <a:gd name="connsiteY463" fmla="*/ 684068 h 1050628"/>
                <a:gd name="connsiteX464" fmla="*/ 844201 w 2449768"/>
                <a:gd name="connsiteY464" fmla="*/ 692802 h 1050628"/>
                <a:gd name="connsiteX465" fmla="*/ 838125 w 2449768"/>
                <a:gd name="connsiteY465" fmla="*/ 717107 h 1050628"/>
                <a:gd name="connsiteX466" fmla="*/ 813820 w 2449768"/>
                <a:gd name="connsiteY466" fmla="*/ 711031 h 1050628"/>
                <a:gd name="connsiteX467" fmla="*/ 819896 w 2449768"/>
                <a:gd name="connsiteY467" fmla="*/ 686726 h 1050628"/>
                <a:gd name="connsiteX468" fmla="*/ 830909 w 2449768"/>
                <a:gd name="connsiteY468" fmla="*/ 684068 h 1050628"/>
                <a:gd name="connsiteX469" fmla="*/ 730653 w 2449768"/>
                <a:gd name="connsiteY469" fmla="*/ 677992 h 1050628"/>
                <a:gd name="connsiteX470" fmla="*/ 743945 w 2449768"/>
                <a:gd name="connsiteY470" fmla="*/ 686726 h 1050628"/>
                <a:gd name="connsiteX471" fmla="*/ 737869 w 2449768"/>
                <a:gd name="connsiteY471" fmla="*/ 711031 h 1050628"/>
                <a:gd name="connsiteX472" fmla="*/ 713564 w 2449768"/>
                <a:gd name="connsiteY472" fmla="*/ 704955 h 1050628"/>
                <a:gd name="connsiteX473" fmla="*/ 719640 w 2449768"/>
                <a:gd name="connsiteY473" fmla="*/ 680650 h 1050628"/>
                <a:gd name="connsiteX474" fmla="*/ 730653 w 2449768"/>
                <a:gd name="connsiteY474" fmla="*/ 677992 h 1050628"/>
                <a:gd name="connsiteX475" fmla="*/ 2228418 w 2449768"/>
                <a:gd name="connsiteY475" fmla="*/ 671916 h 1050628"/>
                <a:gd name="connsiteX476" fmla="*/ 2241710 w 2449768"/>
                <a:gd name="connsiteY476" fmla="*/ 680650 h 1050628"/>
                <a:gd name="connsiteX477" fmla="*/ 2235634 w 2449768"/>
                <a:gd name="connsiteY477" fmla="*/ 704955 h 1050628"/>
                <a:gd name="connsiteX478" fmla="*/ 2211329 w 2449768"/>
                <a:gd name="connsiteY478" fmla="*/ 698879 h 1050628"/>
                <a:gd name="connsiteX479" fmla="*/ 2217405 w 2449768"/>
                <a:gd name="connsiteY479" fmla="*/ 674574 h 1050628"/>
                <a:gd name="connsiteX480" fmla="*/ 2228418 w 2449768"/>
                <a:gd name="connsiteY480" fmla="*/ 671916 h 1050628"/>
                <a:gd name="connsiteX481" fmla="*/ 1839546 w 2449768"/>
                <a:gd name="connsiteY481" fmla="*/ 671916 h 1050628"/>
                <a:gd name="connsiteX482" fmla="*/ 1852838 w 2449768"/>
                <a:gd name="connsiteY482" fmla="*/ 680650 h 1050628"/>
                <a:gd name="connsiteX483" fmla="*/ 1846762 w 2449768"/>
                <a:gd name="connsiteY483" fmla="*/ 704955 h 1050628"/>
                <a:gd name="connsiteX484" fmla="*/ 1822457 w 2449768"/>
                <a:gd name="connsiteY484" fmla="*/ 698879 h 1050628"/>
                <a:gd name="connsiteX485" fmla="*/ 1828533 w 2449768"/>
                <a:gd name="connsiteY485" fmla="*/ 674574 h 1050628"/>
                <a:gd name="connsiteX486" fmla="*/ 1839546 w 2449768"/>
                <a:gd name="connsiteY486" fmla="*/ 671916 h 1050628"/>
                <a:gd name="connsiteX487" fmla="*/ 2109933 w 2449768"/>
                <a:gd name="connsiteY487" fmla="*/ 656726 h 1050628"/>
                <a:gd name="connsiteX488" fmla="*/ 2123225 w 2449768"/>
                <a:gd name="connsiteY488" fmla="*/ 665460 h 1050628"/>
                <a:gd name="connsiteX489" fmla="*/ 2117149 w 2449768"/>
                <a:gd name="connsiteY489" fmla="*/ 689765 h 1050628"/>
                <a:gd name="connsiteX490" fmla="*/ 2092844 w 2449768"/>
                <a:gd name="connsiteY490" fmla="*/ 683689 h 1050628"/>
                <a:gd name="connsiteX491" fmla="*/ 2098920 w 2449768"/>
                <a:gd name="connsiteY491" fmla="*/ 659384 h 1050628"/>
                <a:gd name="connsiteX492" fmla="*/ 2109933 w 2449768"/>
                <a:gd name="connsiteY492" fmla="*/ 656726 h 1050628"/>
                <a:gd name="connsiteX493" fmla="*/ 1632957 w 2449768"/>
                <a:gd name="connsiteY493" fmla="*/ 656726 h 1050628"/>
                <a:gd name="connsiteX494" fmla="*/ 1646249 w 2449768"/>
                <a:gd name="connsiteY494" fmla="*/ 665460 h 1050628"/>
                <a:gd name="connsiteX495" fmla="*/ 1640173 w 2449768"/>
                <a:gd name="connsiteY495" fmla="*/ 689765 h 1050628"/>
                <a:gd name="connsiteX496" fmla="*/ 1615868 w 2449768"/>
                <a:gd name="connsiteY496" fmla="*/ 683689 h 1050628"/>
                <a:gd name="connsiteX497" fmla="*/ 1621944 w 2449768"/>
                <a:gd name="connsiteY497" fmla="*/ 659384 h 1050628"/>
                <a:gd name="connsiteX498" fmla="*/ 1632957 w 2449768"/>
                <a:gd name="connsiteY498" fmla="*/ 656726 h 1050628"/>
                <a:gd name="connsiteX499" fmla="*/ 1165096 w 2449768"/>
                <a:gd name="connsiteY499" fmla="*/ 656726 h 1050628"/>
                <a:gd name="connsiteX500" fmla="*/ 1178387 w 2449768"/>
                <a:gd name="connsiteY500" fmla="*/ 665460 h 1050628"/>
                <a:gd name="connsiteX501" fmla="*/ 1172311 w 2449768"/>
                <a:gd name="connsiteY501" fmla="*/ 689765 h 1050628"/>
                <a:gd name="connsiteX502" fmla="*/ 1148007 w 2449768"/>
                <a:gd name="connsiteY502" fmla="*/ 683689 h 1050628"/>
                <a:gd name="connsiteX503" fmla="*/ 1154083 w 2449768"/>
                <a:gd name="connsiteY503" fmla="*/ 659384 h 1050628"/>
                <a:gd name="connsiteX504" fmla="*/ 1165096 w 2449768"/>
                <a:gd name="connsiteY504" fmla="*/ 656726 h 1050628"/>
                <a:gd name="connsiteX505" fmla="*/ 1948916 w 2449768"/>
                <a:gd name="connsiteY505" fmla="*/ 653688 h 1050628"/>
                <a:gd name="connsiteX506" fmla="*/ 1962208 w 2449768"/>
                <a:gd name="connsiteY506" fmla="*/ 662422 h 1050628"/>
                <a:gd name="connsiteX507" fmla="*/ 1956132 w 2449768"/>
                <a:gd name="connsiteY507" fmla="*/ 686727 h 1050628"/>
                <a:gd name="connsiteX508" fmla="*/ 1931827 w 2449768"/>
                <a:gd name="connsiteY508" fmla="*/ 680651 h 1050628"/>
                <a:gd name="connsiteX509" fmla="*/ 1937903 w 2449768"/>
                <a:gd name="connsiteY509" fmla="*/ 656346 h 1050628"/>
                <a:gd name="connsiteX510" fmla="*/ 1948916 w 2449768"/>
                <a:gd name="connsiteY510" fmla="*/ 653688 h 1050628"/>
                <a:gd name="connsiteX511" fmla="*/ 2328673 w 2449768"/>
                <a:gd name="connsiteY511" fmla="*/ 647611 h 1050628"/>
                <a:gd name="connsiteX512" fmla="*/ 2341965 w 2449768"/>
                <a:gd name="connsiteY512" fmla="*/ 656345 h 1050628"/>
                <a:gd name="connsiteX513" fmla="*/ 2335889 w 2449768"/>
                <a:gd name="connsiteY513" fmla="*/ 680650 h 1050628"/>
                <a:gd name="connsiteX514" fmla="*/ 2311584 w 2449768"/>
                <a:gd name="connsiteY514" fmla="*/ 674574 h 1050628"/>
                <a:gd name="connsiteX515" fmla="*/ 2317660 w 2449768"/>
                <a:gd name="connsiteY515" fmla="*/ 650269 h 1050628"/>
                <a:gd name="connsiteX516" fmla="*/ 2328673 w 2449768"/>
                <a:gd name="connsiteY516" fmla="*/ 647611 h 1050628"/>
                <a:gd name="connsiteX517" fmla="*/ 639512 w 2449768"/>
                <a:gd name="connsiteY517" fmla="*/ 641535 h 1050628"/>
                <a:gd name="connsiteX518" fmla="*/ 652804 w 2449768"/>
                <a:gd name="connsiteY518" fmla="*/ 650269 h 1050628"/>
                <a:gd name="connsiteX519" fmla="*/ 646728 w 2449768"/>
                <a:gd name="connsiteY519" fmla="*/ 674574 h 1050628"/>
                <a:gd name="connsiteX520" fmla="*/ 622423 w 2449768"/>
                <a:gd name="connsiteY520" fmla="*/ 668498 h 1050628"/>
                <a:gd name="connsiteX521" fmla="*/ 628499 w 2449768"/>
                <a:gd name="connsiteY521" fmla="*/ 644193 h 1050628"/>
                <a:gd name="connsiteX522" fmla="*/ 639512 w 2449768"/>
                <a:gd name="connsiteY522" fmla="*/ 641535 h 1050628"/>
                <a:gd name="connsiteX523" fmla="*/ 451152 w 2449768"/>
                <a:gd name="connsiteY523" fmla="*/ 641535 h 1050628"/>
                <a:gd name="connsiteX524" fmla="*/ 464444 w 2449768"/>
                <a:gd name="connsiteY524" fmla="*/ 650269 h 1050628"/>
                <a:gd name="connsiteX525" fmla="*/ 458368 w 2449768"/>
                <a:gd name="connsiteY525" fmla="*/ 674574 h 1050628"/>
                <a:gd name="connsiteX526" fmla="*/ 434063 w 2449768"/>
                <a:gd name="connsiteY526" fmla="*/ 668498 h 1050628"/>
                <a:gd name="connsiteX527" fmla="*/ 440139 w 2449768"/>
                <a:gd name="connsiteY527" fmla="*/ 644193 h 1050628"/>
                <a:gd name="connsiteX528" fmla="*/ 451152 w 2449768"/>
                <a:gd name="connsiteY528" fmla="*/ 641535 h 1050628"/>
                <a:gd name="connsiteX529" fmla="*/ 1739291 w 2449768"/>
                <a:gd name="connsiteY529" fmla="*/ 638497 h 1050628"/>
                <a:gd name="connsiteX530" fmla="*/ 1752582 w 2449768"/>
                <a:gd name="connsiteY530" fmla="*/ 647231 h 1050628"/>
                <a:gd name="connsiteX531" fmla="*/ 1746506 w 2449768"/>
                <a:gd name="connsiteY531" fmla="*/ 671536 h 1050628"/>
                <a:gd name="connsiteX532" fmla="*/ 1722201 w 2449768"/>
                <a:gd name="connsiteY532" fmla="*/ 665460 h 1050628"/>
                <a:gd name="connsiteX533" fmla="*/ 1728277 w 2449768"/>
                <a:gd name="connsiteY533" fmla="*/ 641155 h 1050628"/>
                <a:gd name="connsiteX534" fmla="*/ 1739291 w 2449768"/>
                <a:gd name="connsiteY534" fmla="*/ 638497 h 1050628"/>
                <a:gd name="connsiteX535" fmla="*/ 1429407 w 2449768"/>
                <a:gd name="connsiteY535" fmla="*/ 623307 h 1050628"/>
                <a:gd name="connsiteX536" fmla="*/ 1442699 w 2449768"/>
                <a:gd name="connsiteY536" fmla="*/ 632041 h 1050628"/>
                <a:gd name="connsiteX537" fmla="*/ 1436623 w 2449768"/>
                <a:gd name="connsiteY537" fmla="*/ 656346 h 1050628"/>
                <a:gd name="connsiteX538" fmla="*/ 1412318 w 2449768"/>
                <a:gd name="connsiteY538" fmla="*/ 650270 h 1050628"/>
                <a:gd name="connsiteX539" fmla="*/ 1418394 w 2449768"/>
                <a:gd name="connsiteY539" fmla="*/ 625965 h 1050628"/>
                <a:gd name="connsiteX540" fmla="*/ 1429407 w 2449768"/>
                <a:gd name="connsiteY540" fmla="*/ 623307 h 1050628"/>
                <a:gd name="connsiteX541" fmla="*/ 991927 w 2449768"/>
                <a:gd name="connsiteY541" fmla="*/ 614193 h 1050628"/>
                <a:gd name="connsiteX542" fmla="*/ 1005219 w 2449768"/>
                <a:gd name="connsiteY542" fmla="*/ 622927 h 1050628"/>
                <a:gd name="connsiteX543" fmla="*/ 999143 w 2449768"/>
                <a:gd name="connsiteY543" fmla="*/ 647232 h 1050628"/>
                <a:gd name="connsiteX544" fmla="*/ 974838 w 2449768"/>
                <a:gd name="connsiteY544" fmla="*/ 641156 h 1050628"/>
                <a:gd name="connsiteX545" fmla="*/ 980914 w 2449768"/>
                <a:gd name="connsiteY545" fmla="*/ 616851 h 1050628"/>
                <a:gd name="connsiteX546" fmla="*/ 991927 w 2449768"/>
                <a:gd name="connsiteY546" fmla="*/ 614193 h 1050628"/>
                <a:gd name="connsiteX547" fmla="*/ 1244086 w 2449768"/>
                <a:gd name="connsiteY547" fmla="*/ 589888 h 1050628"/>
                <a:gd name="connsiteX548" fmla="*/ 1257378 w 2449768"/>
                <a:gd name="connsiteY548" fmla="*/ 598622 h 1050628"/>
                <a:gd name="connsiteX549" fmla="*/ 1251302 w 2449768"/>
                <a:gd name="connsiteY549" fmla="*/ 622927 h 1050628"/>
                <a:gd name="connsiteX550" fmla="*/ 1226997 w 2449768"/>
                <a:gd name="connsiteY550" fmla="*/ 616851 h 1050628"/>
                <a:gd name="connsiteX551" fmla="*/ 1233073 w 2449768"/>
                <a:gd name="connsiteY551" fmla="*/ 592546 h 1050628"/>
                <a:gd name="connsiteX552" fmla="*/ 1244086 w 2449768"/>
                <a:gd name="connsiteY552" fmla="*/ 589888 h 1050628"/>
                <a:gd name="connsiteX553" fmla="*/ 1332189 w 2449768"/>
                <a:gd name="connsiteY553" fmla="*/ 586850 h 1050628"/>
                <a:gd name="connsiteX554" fmla="*/ 1345481 w 2449768"/>
                <a:gd name="connsiteY554" fmla="*/ 595584 h 1050628"/>
                <a:gd name="connsiteX555" fmla="*/ 1339405 w 2449768"/>
                <a:gd name="connsiteY555" fmla="*/ 619889 h 1050628"/>
                <a:gd name="connsiteX556" fmla="*/ 1315100 w 2449768"/>
                <a:gd name="connsiteY556" fmla="*/ 613813 h 1050628"/>
                <a:gd name="connsiteX557" fmla="*/ 1321176 w 2449768"/>
                <a:gd name="connsiteY557" fmla="*/ 589508 h 1050628"/>
                <a:gd name="connsiteX558" fmla="*/ 1332189 w 2449768"/>
                <a:gd name="connsiteY558" fmla="*/ 586850 h 1050628"/>
                <a:gd name="connsiteX559" fmla="*/ 867366 w 2449768"/>
                <a:gd name="connsiteY559" fmla="*/ 583812 h 1050628"/>
                <a:gd name="connsiteX560" fmla="*/ 880658 w 2449768"/>
                <a:gd name="connsiteY560" fmla="*/ 592546 h 1050628"/>
                <a:gd name="connsiteX561" fmla="*/ 874582 w 2449768"/>
                <a:gd name="connsiteY561" fmla="*/ 616851 h 1050628"/>
                <a:gd name="connsiteX562" fmla="*/ 850277 w 2449768"/>
                <a:gd name="connsiteY562" fmla="*/ 610775 h 1050628"/>
                <a:gd name="connsiteX563" fmla="*/ 856353 w 2449768"/>
                <a:gd name="connsiteY563" fmla="*/ 586470 h 1050628"/>
                <a:gd name="connsiteX564" fmla="*/ 867366 w 2449768"/>
                <a:gd name="connsiteY564" fmla="*/ 583812 h 1050628"/>
                <a:gd name="connsiteX565" fmla="*/ 2222342 w 2449768"/>
                <a:gd name="connsiteY565" fmla="*/ 576217 h 1050628"/>
                <a:gd name="connsiteX566" fmla="*/ 2235633 w 2449768"/>
                <a:gd name="connsiteY566" fmla="*/ 586470 h 1050628"/>
                <a:gd name="connsiteX567" fmla="*/ 2229557 w 2449768"/>
                <a:gd name="connsiteY567" fmla="*/ 610775 h 1050628"/>
                <a:gd name="connsiteX568" fmla="*/ 2205253 w 2449768"/>
                <a:gd name="connsiteY568" fmla="*/ 604698 h 1050628"/>
                <a:gd name="connsiteX569" fmla="*/ 2211329 w 2449768"/>
                <a:gd name="connsiteY569" fmla="*/ 577356 h 1050628"/>
                <a:gd name="connsiteX570" fmla="*/ 2222342 w 2449768"/>
                <a:gd name="connsiteY570" fmla="*/ 576217 h 1050628"/>
                <a:gd name="connsiteX571" fmla="*/ 1092183 w 2449768"/>
                <a:gd name="connsiteY571" fmla="*/ 571660 h 1050628"/>
                <a:gd name="connsiteX572" fmla="*/ 1105475 w 2449768"/>
                <a:gd name="connsiteY572" fmla="*/ 580394 h 1050628"/>
                <a:gd name="connsiteX573" fmla="*/ 1099399 w 2449768"/>
                <a:gd name="connsiteY573" fmla="*/ 604699 h 1050628"/>
                <a:gd name="connsiteX574" fmla="*/ 1075094 w 2449768"/>
                <a:gd name="connsiteY574" fmla="*/ 598623 h 1050628"/>
                <a:gd name="connsiteX575" fmla="*/ 1081170 w 2449768"/>
                <a:gd name="connsiteY575" fmla="*/ 574318 h 1050628"/>
                <a:gd name="connsiteX576" fmla="*/ 1092183 w 2449768"/>
                <a:gd name="connsiteY576" fmla="*/ 571660 h 1050628"/>
                <a:gd name="connsiteX577" fmla="*/ 2000563 w 2449768"/>
                <a:gd name="connsiteY577" fmla="*/ 568622 h 1050628"/>
                <a:gd name="connsiteX578" fmla="*/ 2013855 w 2449768"/>
                <a:gd name="connsiteY578" fmla="*/ 577356 h 1050628"/>
                <a:gd name="connsiteX579" fmla="*/ 2007779 w 2449768"/>
                <a:gd name="connsiteY579" fmla="*/ 601661 h 1050628"/>
                <a:gd name="connsiteX580" fmla="*/ 1983474 w 2449768"/>
                <a:gd name="connsiteY580" fmla="*/ 595585 h 1050628"/>
                <a:gd name="connsiteX581" fmla="*/ 1989550 w 2449768"/>
                <a:gd name="connsiteY581" fmla="*/ 571280 h 1050628"/>
                <a:gd name="connsiteX582" fmla="*/ 2000563 w 2449768"/>
                <a:gd name="connsiteY582" fmla="*/ 568622 h 1050628"/>
                <a:gd name="connsiteX583" fmla="*/ 745844 w 2449768"/>
                <a:gd name="connsiteY583" fmla="*/ 568622 h 1050628"/>
                <a:gd name="connsiteX584" fmla="*/ 759136 w 2449768"/>
                <a:gd name="connsiteY584" fmla="*/ 577356 h 1050628"/>
                <a:gd name="connsiteX585" fmla="*/ 753060 w 2449768"/>
                <a:gd name="connsiteY585" fmla="*/ 601661 h 1050628"/>
                <a:gd name="connsiteX586" fmla="*/ 728755 w 2449768"/>
                <a:gd name="connsiteY586" fmla="*/ 595585 h 1050628"/>
                <a:gd name="connsiteX587" fmla="*/ 734831 w 2449768"/>
                <a:gd name="connsiteY587" fmla="*/ 571280 h 1050628"/>
                <a:gd name="connsiteX588" fmla="*/ 745844 w 2449768"/>
                <a:gd name="connsiteY588" fmla="*/ 568622 h 1050628"/>
                <a:gd name="connsiteX589" fmla="*/ 533179 w 2449768"/>
                <a:gd name="connsiteY589" fmla="*/ 568622 h 1050628"/>
                <a:gd name="connsiteX590" fmla="*/ 546471 w 2449768"/>
                <a:gd name="connsiteY590" fmla="*/ 577356 h 1050628"/>
                <a:gd name="connsiteX591" fmla="*/ 540395 w 2449768"/>
                <a:gd name="connsiteY591" fmla="*/ 601661 h 1050628"/>
                <a:gd name="connsiteX592" fmla="*/ 516090 w 2449768"/>
                <a:gd name="connsiteY592" fmla="*/ 595585 h 1050628"/>
                <a:gd name="connsiteX593" fmla="*/ 522166 w 2449768"/>
                <a:gd name="connsiteY593" fmla="*/ 571280 h 1050628"/>
                <a:gd name="connsiteX594" fmla="*/ 533179 w 2449768"/>
                <a:gd name="connsiteY594" fmla="*/ 568622 h 1050628"/>
                <a:gd name="connsiteX595" fmla="*/ 1866889 w 2449768"/>
                <a:gd name="connsiteY595" fmla="*/ 565584 h 1050628"/>
                <a:gd name="connsiteX596" fmla="*/ 1880180 w 2449768"/>
                <a:gd name="connsiteY596" fmla="*/ 574318 h 1050628"/>
                <a:gd name="connsiteX597" fmla="*/ 1874104 w 2449768"/>
                <a:gd name="connsiteY597" fmla="*/ 598623 h 1050628"/>
                <a:gd name="connsiteX598" fmla="*/ 1849800 w 2449768"/>
                <a:gd name="connsiteY598" fmla="*/ 592547 h 1050628"/>
                <a:gd name="connsiteX599" fmla="*/ 1855876 w 2449768"/>
                <a:gd name="connsiteY599" fmla="*/ 568242 h 1050628"/>
                <a:gd name="connsiteX600" fmla="*/ 1866889 w 2449768"/>
                <a:gd name="connsiteY600" fmla="*/ 565584 h 1050628"/>
                <a:gd name="connsiteX601" fmla="*/ 1508397 w 2449768"/>
                <a:gd name="connsiteY601" fmla="*/ 565584 h 1050628"/>
                <a:gd name="connsiteX602" fmla="*/ 1521689 w 2449768"/>
                <a:gd name="connsiteY602" fmla="*/ 574318 h 1050628"/>
                <a:gd name="connsiteX603" fmla="*/ 1515613 w 2449768"/>
                <a:gd name="connsiteY603" fmla="*/ 598623 h 1050628"/>
                <a:gd name="connsiteX604" fmla="*/ 1491308 w 2449768"/>
                <a:gd name="connsiteY604" fmla="*/ 592547 h 1050628"/>
                <a:gd name="connsiteX605" fmla="*/ 1497384 w 2449768"/>
                <a:gd name="connsiteY605" fmla="*/ 568242 h 1050628"/>
                <a:gd name="connsiteX606" fmla="*/ 1508397 w 2449768"/>
                <a:gd name="connsiteY606" fmla="*/ 565584 h 1050628"/>
                <a:gd name="connsiteX607" fmla="*/ 2365130 w 2449768"/>
                <a:gd name="connsiteY607" fmla="*/ 556470 h 1050628"/>
                <a:gd name="connsiteX608" fmla="*/ 2378422 w 2449768"/>
                <a:gd name="connsiteY608" fmla="*/ 565204 h 1050628"/>
                <a:gd name="connsiteX609" fmla="*/ 2372346 w 2449768"/>
                <a:gd name="connsiteY609" fmla="*/ 589509 h 1050628"/>
                <a:gd name="connsiteX610" fmla="*/ 2348041 w 2449768"/>
                <a:gd name="connsiteY610" fmla="*/ 583433 h 1050628"/>
                <a:gd name="connsiteX611" fmla="*/ 2354117 w 2449768"/>
                <a:gd name="connsiteY611" fmla="*/ 559128 h 1050628"/>
                <a:gd name="connsiteX612" fmla="*/ 2365130 w 2449768"/>
                <a:gd name="connsiteY612" fmla="*/ 556470 h 1050628"/>
                <a:gd name="connsiteX613" fmla="*/ 1620805 w 2449768"/>
                <a:gd name="connsiteY613" fmla="*/ 550394 h 1050628"/>
                <a:gd name="connsiteX614" fmla="*/ 1634097 w 2449768"/>
                <a:gd name="connsiteY614" fmla="*/ 559128 h 1050628"/>
                <a:gd name="connsiteX615" fmla="*/ 1628021 w 2449768"/>
                <a:gd name="connsiteY615" fmla="*/ 583433 h 1050628"/>
                <a:gd name="connsiteX616" fmla="*/ 1603716 w 2449768"/>
                <a:gd name="connsiteY616" fmla="*/ 577357 h 1050628"/>
                <a:gd name="connsiteX617" fmla="*/ 1609792 w 2449768"/>
                <a:gd name="connsiteY617" fmla="*/ 553052 h 1050628"/>
                <a:gd name="connsiteX618" fmla="*/ 1620805 w 2449768"/>
                <a:gd name="connsiteY618" fmla="*/ 550394 h 1050628"/>
                <a:gd name="connsiteX619" fmla="*/ 2097781 w 2449768"/>
                <a:gd name="connsiteY619" fmla="*/ 544317 h 1050628"/>
                <a:gd name="connsiteX620" fmla="*/ 2111073 w 2449768"/>
                <a:gd name="connsiteY620" fmla="*/ 553051 h 1050628"/>
                <a:gd name="connsiteX621" fmla="*/ 2104997 w 2449768"/>
                <a:gd name="connsiteY621" fmla="*/ 577356 h 1050628"/>
                <a:gd name="connsiteX622" fmla="*/ 2080692 w 2449768"/>
                <a:gd name="connsiteY622" fmla="*/ 571280 h 1050628"/>
                <a:gd name="connsiteX623" fmla="*/ 2086768 w 2449768"/>
                <a:gd name="connsiteY623" fmla="*/ 546975 h 1050628"/>
                <a:gd name="connsiteX624" fmla="*/ 2097781 w 2449768"/>
                <a:gd name="connsiteY624" fmla="*/ 544317 h 1050628"/>
                <a:gd name="connsiteX625" fmla="*/ 1745366 w 2449768"/>
                <a:gd name="connsiteY625" fmla="*/ 538241 h 1050628"/>
                <a:gd name="connsiteX626" fmla="*/ 1758658 w 2449768"/>
                <a:gd name="connsiteY626" fmla="*/ 546975 h 1050628"/>
                <a:gd name="connsiteX627" fmla="*/ 1752582 w 2449768"/>
                <a:gd name="connsiteY627" fmla="*/ 571280 h 1050628"/>
                <a:gd name="connsiteX628" fmla="*/ 1728277 w 2449768"/>
                <a:gd name="connsiteY628" fmla="*/ 565204 h 1050628"/>
                <a:gd name="connsiteX629" fmla="*/ 1734353 w 2449768"/>
                <a:gd name="connsiteY629" fmla="*/ 540899 h 1050628"/>
                <a:gd name="connsiteX630" fmla="*/ 1745366 w 2449768"/>
                <a:gd name="connsiteY630" fmla="*/ 538241 h 1050628"/>
                <a:gd name="connsiteX631" fmla="*/ 624322 w 2449768"/>
                <a:gd name="connsiteY631" fmla="*/ 529127 h 1050628"/>
                <a:gd name="connsiteX632" fmla="*/ 637613 w 2449768"/>
                <a:gd name="connsiteY632" fmla="*/ 537861 h 1050628"/>
                <a:gd name="connsiteX633" fmla="*/ 631537 w 2449768"/>
                <a:gd name="connsiteY633" fmla="*/ 562166 h 1050628"/>
                <a:gd name="connsiteX634" fmla="*/ 607233 w 2449768"/>
                <a:gd name="connsiteY634" fmla="*/ 556090 h 1050628"/>
                <a:gd name="connsiteX635" fmla="*/ 613309 w 2449768"/>
                <a:gd name="connsiteY635" fmla="*/ 531785 h 1050628"/>
                <a:gd name="connsiteX636" fmla="*/ 624322 w 2449768"/>
                <a:gd name="connsiteY636" fmla="*/ 529127 h 1050628"/>
                <a:gd name="connsiteX637" fmla="*/ 958508 w 2449768"/>
                <a:gd name="connsiteY637" fmla="*/ 523051 h 1050628"/>
                <a:gd name="connsiteX638" fmla="*/ 971800 w 2449768"/>
                <a:gd name="connsiteY638" fmla="*/ 531785 h 1050628"/>
                <a:gd name="connsiteX639" fmla="*/ 965724 w 2449768"/>
                <a:gd name="connsiteY639" fmla="*/ 556090 h 1050628"/>
                <a:gd name="connsiteX640" fmla="*/ 941419 w 2449768"/>
                <a:gd name="connsiteY640" fmla="*/ 550014 h 1050628"/>
                <a:gd name="connsiteX641" fmla="*/ 947495 w 2449768"/>
                <a:gd name="connsiteY641" fmla="*/ 525709 h 1050628"/>
                <a:gd name="connsiteX642" fmla="*/ 958508 w 2449768"/>
                <a:gd name="connsiteY642" fmla="*/ 523051 h 1050628"/>
                <a:gd name="connsiteX643" fmla="*/ 1177248 w 2449768"/>
                <a:gd name="connsiteY643" fmla="*/ 507861 h 1050628"/>
                <a:gd name="connsiteX644" fmla="*/ 1190540 w 2449768"/>
                <a:gd name="connsiteY644" fmla="*/ 516595 h 1050628"/>
                <a:gd name="connsiteX645" fmla="*/ 1184464 w 2449768"/>
                <a:gd name="connsiteY645" fmla="*/ 540900 h 1050628"/>
                <a:gd name="connsiteX646" fmla="*/ 1160159 w 2449768"/>
                <a:gd name="connsiteY646" fmla="*/ 534824 h 1050628"/>
                <a:gd name="connsiteX647" fmla="*/ 1166235 w 2449768"/>
                <a:gd name="connsiteY647" fmla="*/ 510519 h 1050628"/>
                <a:gd name="connsiteX648" fmla="*/ 1177248 w 2449768"/>
                <a:gd name="connsiteY648" fmla="*/ 507861 h 1050628"/>
                <a:gd name="connsiteX649" fmla="*/ 1399027 w 2449768"/>
                <a:gd name="connsiteY649" fmla="*/ 504823 h 1050628"/>
                <a:gd name="connsiteX650" fmla="*/ 1412319 w 2449768"/>
                <a:gd name="connsiteY650" fmla="*/ 513557 h 1050628"/>
                <a:gd name="connsiteX651" fmla="*/ 1406243 w 2449768"/>
                <a:gd name="connsiteY651" fmla="*/ 537862 h 1050628"/>
                <a:gd name="connsiteX652" fmla="*/ 1381938 w 2449768"/>
                <a:gd name="connsiteY652" fmla="*/ 531786 h 1050628"/>
                <a:gd name="connsiteX653" fmla="*/ 1388014 w 2449768"/>
                <a:gd name="connsiteY653" fmla="*/ 507481 h 1050628"/>
                <a:gd name="connsiteX654" fmla="*/ 1399027 w 2449768"/>
                <a:gd name="connsiteY654" fmla="*/ 504823 h 1050628"/>
                <a:gd name="connsiteX655" fmla="*/ 2194999 w 2449768"/>
                <a:gd name="connsiteY655" fmla="*/ 492670 h 1050628"/>
                <a:gd name="connsiteX656" fmla="*/ 2208291 w 2449768"/>
                <a:gd name="connsiteY656" fmla="*/ 501404 h 1050628"/>
                <a:gd name="connsiteX657" fmla="*/ 2202214 w 2449768"/>
                <a:gd name="connsiteY657" fmla="*/ 525709 h 1050628"/>
                <a:gd name="connsiteX658" fmla="*/ 2177910 w 2449768"/>
                <a:gd name="connsiteY658" fmla="*/ 519633 h 1050628"/>
                <a:gd name="connsiteX659" fmla="*/ 2183986 w 2449768"/>
                <a:gd name="connsiteY659" fmla="*/ 495328 h 1050628"/>
                <a:gd name="connsiteX660" fmla="*/ 2194999 w 2449768"/>
                <a:gd name="connsiteY660" fmla="*/ 492670 h 1050628"/>
                <a:gd name="connsiteX661" fmla="*/ 1912459 w 2449768"/>
                <a:gd name="connsiteY661" fmla="*/ 480518 h 1050628"/>
                <a:gd name="connsiteX662" fmla="*/ 1925751 w 2449768"/>
                <a:gd name="connsiteY662" fmla="*/ 489252 h 1050628"/>
                <a:gd name="connsiteX663" fmla="*/ 1919675 w 2449768"/>
                <a:gd name="connsiteY663" fmla="*/ 513557 h 1050628"/>
                <a:gd name="connsiteX664" fmla="*/ 1895370 w 2449768"/>
                <a:gd name="connsiteY664" fmla="*/ 507481 h 1050628"/>
                <a:gd name="connsiteX665" fmla="*/ 1901446 w 2449768"/>
                <a:gd name="connsiteY665" fmla="*/ 483176 h 1050628"/>
                <a:gd name="connsiteX666" fmla="*/ 1912459 w 2449768"/>
                <a:gd name="connsiteY666" fmla="*/ 480518 h 1050628"/>
                <a:gd name="connsiteX667" fmla="*/ 803567 w 2449768"/>
                <a:gd name="connsiteY667" fmla="*/ 480518 h 1050628"/>
                <a:gd name="connsiteX668" fmla="*/ 816859 w 2449768"/>
                <a:gd name="connsiteY668" fmla="*/ 489252 h 1050628"/>
                <a:gd name="connsiteX669" fmla="*/ 810783 w 2449768"/>
                <a:gd name="connsiteY669" fmla="*/ 513557 h 1050628"/>
                <a:gd name="connsiteX670" fmla="*/ 786478 w 2449768"/>
                <a:gd name="connsiteY670" fmla="*/ 507481 h 1050628"/>
                <a:gd name="connsiteX671" fmla="*/ 792554 w 2449768"/>
                <a:gd name="connsiteY671" fmla="*/ 483176 h 1050628"/>
                <a:gd name="connsiteX672" fmla="*/ 803567 w 2449768"/>
                <a:gd name="connsiteY672" fmla="*/ 480518 h 1050628"/>
                <a:gd name="connsiteX673" fmla="*/ 1550930 w 2449768"/>
                <a:gd name="connsiteY673" fmla="*/ 471404 h 1050628"/>
                <a:gd name="connsiteX674" fmla="*/ 1564222 w 2449768"/>
                <a:gd name="connsiteY674" fmla="*/ 480138 h 1050628"/>
                <a:gd name="connsiteX675" fmla="*/ 1558146 w 2449768"/>
                <a:gd name="connsiteY675" fmla="*/ 504443 h 1050628"/>
                <a:gd name="connsiteX676" fmla="*/ 1533841 w 2449768"/>
                <a:gd name="connsiteY676" fmla="*/ 498367 h 1050628"/>
                <a:gd name="connsiteX677" fmla="*/ 1539917 w 2449768"/>
                <a:gd name="connsiteY677" fmla="*/ 474062 h 1050628"/>
                <a:gd name="connsiteX678" fmla="*/ 1550930 w 2449768"/>
                <a:gd name="connsiteY678" fmla="*/ 471404 h 1050628"/>
                <a:gd name="connsiteX679" fmla="*/ 2307407 w 2449768"/>
                <a:gd name="connsiteY679" fmla="*/ 465328 h 1050628"/>
                <a:gd name="connsiteX680" fmla="*/ 2320698 w 2449768"/>
                <a:gd name="connsiteY680" fmla="*/ 474062 h 1050628"/>
                <a:gd name="connsiteX681" fmla="*/ 2314622 w 2449768"/>
                <a:gd name="connsiteY681" fmla="*/ 498367 h 1050628"/>
                <a:gd name="connsiteX682" fmla="*/ 2290318 w 2449768"/>
                <a:gd name="connsiteY682" fmla="*/ 492291 h 1050628"/>
                <a:gd name="connsiteX683" fmla="*/ 2296394 w 2449768"/>
                <a:gd name="connsiteY683" fmla="*/ 467986 h 1050628"/>
                <a:gd name="connsiteX684" fmla="*/ 2307407 w 2449768"/>
                <a:gd name="connsiteY684" fmla="*/ 465328 h 1050628"/>
                <a:gd name="connsiteX685" fmla="*/ 1076992 w 2449768"/>
                <a:gd name="connsiteY685" fmla="*/ 462290 h 1050628"/>
                <a:gd name="connsiteX686" fmla="*/ 1090284 w 2449768"/>
                <a:gd name="connsiteY686" fmla="*/ 471024 h 1050628"/>
                <a:gd name="connsiteX687" fmla="*/ 1084208 w 2449768"/>
                <a:gd name="connsiteY687" fmla="*/ 495329 h 1050628"/>
                <a:gd name="connsiteX688" fmla="*/ 1059903 w 2449768"/>
                <a:gd name="connsiteY688" fmla="*/ 489253 h 1050628"/>
                <a:gd name="connsiteX689" fmla="*/ 1065979 w 2449768"/>
                <a:gd name="connsiteY689" fmla="*/ 464948 h 1050628"/>
                <a:gd name="connsiteX690" fmla="*/ 1076992 w 2449768"/>
                <a:gd name="connsiteY690" fmla="*/ 462290 h 1050628"/>
                <a:gd name="connsiteX691" fmla="*/ 2030944 w 2449768"/>
                <a:gd name="connsiteY691" fmla="*/ 456214 h 1050628"/>
                <a:gd name="connsiteX692" fmla="*/ 2044236 w 2449768"/>
                <a:gd name="connsiteY692" fmla="*/ 464948 h 1050628"/>
                <a:gd name="connsiteX693" fmla="*/ 2038160 w 2449768"/>
                <a:gd name="connsiteY693" fmla="*/ 489253 h 1050628"/>
                <a:gd name="connsiteX694" fmla="*/ 2013855 w 2449768"/>
                <a:gd name="connsiteY694" fmla="*/ 483177 h 1050628"/>
                <a:gd name="connsiteX695" fmla="*/ 2019931 w 2449768"/>
                <a:gd name="connsiteY695" fmla="*/ 458872 h 1050628"/>
                <a:gd name="connsiteX696" fmla="*/ 2030944 w 2449768"/>
                <a:gd name="connsiteY696" fmla="*/ 456214 h 1050628"/>
                <a:gd name="connsiteX697" fmla="*/ 1280542 w 2449768"/>
                <a:gd name="connsiteY697" fmla="*/ 453176 h 1050628"/>
                <a:gd name="connsiteX698" fmla="*/ 1293834 w 2449768"/>
                <a:gd name="connsiteY698" fmla="*/ 461910 h 1050628"/>
                <a:gd name="connsiteX699" fmla="*/ 1287758 w 2449768"/>
                <a:gd name="connsiteY699" fmla="*/ 486215 h 1050628"/>
                <a:gd name="connsiteX700" fmla="*/ 1263453 w 2449768"/>
                <a:gd name="connsiteY700" fmla="*/ 480139 h 1050628"/>
                <a:gd name="connsiteX701" fmla="*/ 1269529 w 2449768"/>
                <a:gd name="connsiteY701" fmla="*/ 455834 h 1050628"/>
                <a:gd name="connsiteX702" fmla="*/ 1280542 w 2449768"/>
                <a:gd name="connsiteY702" fmla="*/ 453176 h 1050628"/>
                <a:gd name="connsiteX703" fmla="*/ 679006 w 2449768"/>
                <a:gd name="connsiteY703" fmla="*/ 450138 h 1050628"/>
                <a:gd name="connsiteX704" fmla="*/ 692298 w 2449768"/>
                <a:gd name="connsiteY704" fmla="*/ 458872 h 1050628"/>
                <a:gd name="connsiteX705" fmla="*/ 686222 w 2449768"/>
                <a:gd name="connsiteY705" fmla="*/ 483177 h 1050628"/>
                <a:gd name="connsiteX706" fmla="*/ 661917 w 2449768"/>
                <a:gd name="connsiteY706" fmla="*/ 477101 h 1050628"/>
                <a:gd name="connsiteX707" fmla="*/ 667993 w 2449768"/>
                <a:gd name="connsiteY707" fmla="*/ 452796 h 1050628"/>
                <a:gd name="connsiteX708" fmla="*/ 679006 w 2449768"/>
                <a:gd name="connsiteY708" fmla="*/ 450138 h 1050628"/>
                <a:gd name="connsiteX709" fmla="*/ 1815242 w 2449768"/>
                <a:gd name="connsiteY709" fmla="*/ 447099 h 1050628"/>
                <a:gd name="connsiteX710" fmla="*/ 1828533 w 2449768"/>
                <a:gd name="connsiteY710" fmla="*/ 455833 h 1050628"/>
                <a:gd name="connsiteX711" fmla="*/ 1822457 w 2449768"/>
                <a:gd name="connsiteY711" fmla="*/ 480138 h 1050628"/>
                <a:gd name="connsiteX712" fmla="*/ 1798152 w 2449768"/>
                <a:gd name="connsiteY712" fmla="*/ 474062 h 1050628"/>
                <a:gd name="connsiteX713" fmla="*/ 1804228 w 2449768"/>
                <a:gd name="connsiteY713" fmla="*/ 449757 h 1050628"/>
                <a:gd name="connsiteX714" fmla="*/ 1815242 w 2449768"/>
                <a:gd name="connsiteY714" fmla="*/ 447099 h 1050628"/>
                <a:gd name="connsiteX715" fmla="*/ 1699795 w 2449768"/>
                <a:gd name="connsiteY715" fmla="*/ 444061 h 1050628"/>
                <a:gd name="connsiteX716" fmla="*/ 1713087 w 2449768"/>
                <a:gd name="connsiteY716" fmla="*/ 452795 h 1050628"/>
                <a:gd name="connsiteX717" fmla="*/ 1707011 w 2449768"/>
                <a:gd name="connsiteY717" fmla="*/ 477100 h 1050628"/>
                <a:gd name="connsiteX718" fmla="*/ 1682706 w 2449768"/>
                <a:gd name="connsiteY718" fmla="*/ 471024 h 1050628"/>
                <a:gd name="connsiteX719" fmla="*/ 1688782 w 2449768"/>
                <a:gd name="connsiteY719" fmla="*/ 446719 h 1050628"/>
                <a:gd name="connsiteX720" fmla="*/ 1699795 w 2449768"/>
                <a:gd name="connsiteY720" fmla="*/ 444061 h 1050628"/>
                <a:gd name="connsiteX721" fmla="*/ 888633 w 2449768"/>
                <a:gd name="connsiteY721" fmla="*/ 434947 h 1050628"/>
                <a:gd name="connsiteX722" fmla="*/ 901925 w 2449768"/>
                <a:gd name="connsiteY722" fmla="*/ 443681 h 1050628"/>
                <a:gd name="connsiteX723" fmla="*/ 895849 w 2449768"/>
                <a:gd name="connsiteY723" fmla="*/ 467986 h 1050628"/>
                <a:gd name="connsiteX724" fmla="*/ 871544 w 2449768"/>
                <a:gd name="connsiteY724" fmla="*/ 461910 h 1050628"/>
                <a:gd name="connsiteX725" fmla="*/ 877620 w 2449768"/>
                <a:gd name="connsiteY725" fmla="*/ 437605 h 1050628"/>
                <a:gd name="connsiteX726" fmla="*/ 888633 w 2449768"/>
                <a:gd name="connsiteY726" fmla="*/ 434947 h 1050628"/>
                <a:gd name="connsiteX727" fmla="*/ 2158542 w 2449768"/>
                <a:gd name="connsiteY727" fmla="*/ 407605 h 1050628"/>
                <a:gd name="connsiteX728" fmla="*/ 2171833 w 2449768"/>
                <a:gd name="connsiteY728" fmla="*/ 416339 h 1050628"/>
                <a:gd name="connsiteX729" fmla="*/ 2165757 w 2449768"/>
                <a:gd name="connsiteY729" fmla="*/ 440644 h 1050628"/>
                <a:gd name="connsiteX730" fmla="*/ 2141453 w 2449768"/>
                <a:gd name="connsiteY730" fmla="*/ 434568 h 1050628"/>
                <a:gd name="connsiteX731" fmla="*/ 2147529 w 2449768"/>
                <a:gd name="connsiteY731" fmla="*/ 410263 h 1050628"/>
                <a:gd name="connsiteX732" fmla="*/ 2158542 w 2449768"/>
                <a:gd name="connsiteY732" fmla="*/ 407605 h 1050628"/>
                <a:gd name="connsiteX733" fmla="*/ 1484092 w 2449768"/>
                <a:gd name="connsiteY733" fmla="*/ 407605 h 1050628"/>
                <a:gd name="connsiteX734" fmla="*/ 1497384 w 2449768"/>
                <a:gd name="connsiteY734" fmla="*/ 416339 h 1050628"/>
                <a:gd name="connsiteX735" fmla="*/ 1491308 w 2449768"/>
                <a:gd name="connsiteY735" fmla="*/ 440644 h 1050628"/>
                <a:gd name="connsiteX736" fmla="*/ 1467003 w 2449768"/>
                <a:gd name="connsiteY736" fmla="*/ 434568 h 1050628"/>
                <a:gd name="connsiteX737" fmla="*/ 1473079 w 2449768"/>
                <a:gd name="connsiteY737" fmla="*/ 410263 h 1050628"/>
                <a:gd name="connsiteX738" fmla="*/ 1484092 w 2449768"/>
                <a:gd name="connsiteY738" fmla="*/ 407605 h 1050628"/>
                <a:gd name="connsiteX739" fmla="*/ 1365608 w 2449768"/>
                <a:gd name="connsiteY739" fmla="*/ 404567 h 1050628"/>
                <a:gd name="connsiteX740" fmla="*/ 1378900 w 2449768"/>
                <a:gd name="connsiteY740" fmla="*/ 413301 h 1050628"/>
                <a:gd name="connsiteX741" fmla="*/ 1372824 w 2449768"/>
                <a:gd name="connsiteY741" fmla="*/ 437606 h 1050628"/>
                <a:gd name="connsiteX742" fmla="*/ 1348519 w 2449768"/>
                <a:gd name="connsiteY742" fmla="*/ 431530 h 1050628"/>
                <a:gd name="connsiteX743" fmla="*/ 1354595 w 2449768"/>
                <a:gd name="connsiteY743" fmla="*/ 407225 h 1050628"/>
                <a:gd name="connsiteX744" fmla="*/ 1365608 w 2449768"/>
                <a:gd name="connsiteY744" fmla="*/ 404567 h 1050628"/>
                <a:gd name="connsiteX745" fmla="*/ 988889 w 2449768"/>
                <a:gd name="connsiteY745" fmla="*/ 404567 h 1050628"/>
                <a:gd name="connsiteX746" fmla="*/ 1002180 w 2449768"/>
                <a:gd name="connsiteY746" fmla="*/ 413301 h 1050628"/>
                <a:gd name="connsiteX747" fmla="*/ 996104 w 2449768"/>
                <a:gd name="connsiteY747" fmla="*/ 437606 h 1050628"/>
                <a:gd name="connsiteX748" fmla="*/ 971800 w 2449768"/>
                <a:gd name="connsiteY748" fmla="*/ 431530 h 1050628"/>
                <a:gd name="connsiteX749" fmla="*/ 977876 w 2449768"/>
                <a:gd name="connsiteY749" fmla="*/ 407225 h 1050628"/>
                <a:gd name="connsiteX750" fmla="*/ 988889 w 2449768"/>
                <a:gd name="connsiteY750" fmla="*/ 404567 h 1050628"/>
                <a:gd name="connsiteX751" fmla="*/ 1182565 w 2449768"/>
                <a:gd name="connsiteY751" fmla="*/ 394312 h 1050628"/>
                <a:gd name="connsiteX752" fmla="*/ 1193578 w 2449768"/>
                <a:gd name="connsiteY752" fmla="*/ 404186 h 1050628"/>
                <a:gd name="connsiteX753" fmla="*/ 1187502 w 2449768"/>
                <a:gd name="connsiteY753" fmla="*/ 428491 h 1050628"/>
                <a:gd name="connsiteX754" fmla="*/ 1163197 w 2449768"/>
                <a:gd name="connsiteY754" fmla="*/ 422415 h 1050628"/>
                <a:gd name="connsiteX755" fmla="*/ 1169273 w 2449768"/>
                <a:gd name="connsiteY755" fmla="*/ 398110 h 1050628"/>
                <a:gd name="connsiteX756" fmla="*/ 1182565 w 2449768"/>
                <a:gd name="connsiteY756" fmla="*/ 394312 h 1050628"/>
                <a:gd name="connsiteX757" fmla="*/ 1620805 w 2449768"/>
                <a:gd name="connsiteY757" fmla="*/ 389376 h 1050628"/>
                <a:gd name="connsiteX758" fmla="*/ 1634097 w 2449768"/>
                <a:gd name="connsiteY758" fmla="*/ 398110 h 1050628"/>
                <a:gd name="connsiteX759" fmla="*/ 1628021 w 2449768"/>
                <a:gd name="connsiteY759" fmla="*/ 422415 h 1050628"/>
                <a:gd name="connsiteX760" fmla="*/ 1603716 w 2449768"/>
                <a:gd name="connsiteY760" fmla="*/ 416339 h 1050628"/>
                <a:gd name="connsiteX761" fmla="*/ 1609792 w 2449768"/>
                <a:gd name="connsiteY761" fmla="*/ 392034 h 1050628"/>
                <a:gd name="connsiteX762" fmla="*/ 1620805 w 2449768"/>
                <a:gd name="connsiteY762" fmla="*/ 389376 h 1050628"/>
                <a:gd name="connsiteX763" fmla="*/ 1961068 w 2449768"/>
                <a:gd name="connsiteY763" fmla="*/ 380262 h 1050628"/>
                <a:gd name="connsiteX764" fmla="*/ 1974360 w 2449768"/>
                <a:gd name="connsiteY764" fmla="*/ 388996 h 1050628"/>
                <a:gd name="connsiteX765" fmla="*/ 1968284 w 2449768"/>
                <a:gd name="connsiteY765" fmla="*/ 413301 h 1050628"/>
                <a:gd name="connsiteX766" fmla="*/ 1943979 w 2449768"/>
                <a:gd name="connsiteY766" fmla="*/ 407225 h 1050628"/>
                <a:gd name="connsiteX767" fmla="*/ 1950055 w 2449768"/>
                <a:gd name="connsiteY767" fmla="*/ 382920 h 1050628"/>
                <a:gd name="connsiteX768" fmla="*/ 1961068 w 2449768"/>
                <a:gd name="connsiteY768" fmla="*/ 380262 h 1050628"/>
                <a:gd name="connsiteX769" fmla="*/ 770148 w 2449768"/>
                <a:gd name="connsiteY769" fmla="*/ 380262 h 1050628"/>
                <a:gd name="connsiteX770" fmla="*/ 783440 w 2449768"/>
                <a:gd name="connsiteY770" fmla="*/ 388996 h 1050628"/>
                <a:gd name="connsiteX771" fmla="*/ 777364 w 2449768"/>
                <a:gd name="connsiteY771" fmla="*/ 413301 h 1050628"/>
                <a:gd name="connsiteX772" fmla="*/ 753059 w 2449768"/>
                <a:gd name="connsiteY772" fmla="*/ 407225 h 1050628"/>
                <a:gd name="connsiteX773" fmla="*/ 759135 w 2449768"/>
                <a:gd name="connsiteY773" fmla="*/ 382920 h 1050628"/>
                <a:gd name="connsiteX774" fmla="*/ 770148 w 2449768"/>
                <a:gd name="connsiteY774" fmla="*/ 380262 h 1050628"/>
                <a:gd name="connsiteX775" fmla="*/ 2240571 w 2449768"/>
                <a:gd name="connsiteY775" fmla="*/ 352920 h 1050628"/>
                <a:gd name="connsiteX776" fmla="*/ 2253862 w 2449768"/>
                <a:gd name="connsiteY776" fmla="*/ 361654 h 1050628"/>
                <a:gd name="connsiteX777" fmla="*/ 2247786 w 2449768"/>
                <a:gd name="connsiteY777" fmla="*/ 385959 h 1050628"/>
                <a:gd name="connsiteX778" fmla="*/ 2223481 w 2449768"/>
                <a:gd name="connsiteY778" fmla="*/ 379883 h 1050628"/>
                <a:gd name="connsiteX779" fmla="*/ 2229557 w 2449768"/>
                <a:gd name="connsiteY779" fmla="*/ 355578 h 1050628"/>
                <a:gd name="connsiteX780" fmla="*/ 2240571 w 2449768"/>
                <a:gd name="connsiteY780" fmla="*/ 352920 h 1050628"/>
                <a:gd name="connsiteX781" fmla="*/ 2082590 w 2449768"/>
                <a:gd name="connsiteY781" fmla="*/ 352920 h 1050628"/>
                <a:gd name="connsiteX782" fmla="*/ 2095882 w 2449768"/>
                <a:gd name="connsiteY782" fmla="*/ 361654 h 1050628"/>
                <a:gd name="connsiteX783" fmla="*/ 2089806 w 2449768"/>
                <a:gd name="connsiteY783" fmla="*/ 385959 h 1050628"/>
                <a:gd name="connsiteX784" fmla="*/ 2065501 w 2449768"/>
                <a:gd name="connsiteY784" fmla="*/ 379883 h 1050628"/>
                <a:gd name="connsiteX785" fmla="*/ 2071577 w 2449768"/>
                <a:gd name="connsiteY785" fmla="*/ 355578 h 1050628"/>
                <a:gd name="connsiteX786" fmla="*/ 2082590 w 2449768"/>
                <a:gd name="connsiteY786" fmla="*/ 352920 h 1050628"/>
                <a:gd name="connsiteX787" fmla="*/ 1080030 w 2449768"/>
                <a:gd name="connsiteY787" fmla="*/ 337729 h 1050628"/>
                <a:gd name="connsiteX788" fmla="*/ 1093322 w 2449768"/>
                <a:gd name="connsiteY788" fmla="*/ 346463 h 1050628"/>
                <a:gd name="connsiteX789" fmla="*/ 1087246 w 2449768"/>
                <a:gd name="connsiteY789" fmla="*/ 370768 h 1050628"/>
                <a:gd name="connsiteX790" fmla="*/ 1062941 w 2449768"/>
                <a:gd name="connsiteY790" fmla="*/ 364692 h 1050628"/>
                <a:gd name="connsiteX791" fmla="*/ 1069017 w 2449768"/>
                <a:gd name="connsiteY791" fmla="*/ 340387 h 1050628"/>
                <a:gd name="connsiteX792" fmla="*/ 1080030 w 2449768"/>
                <a:gd name="connsiteY792" fmla="*/ 337729 h 1050628"/>
                <a:gd name="connsiteX793" fmla="*/ 1787899 w 2449768"/>
                <a:gd name="connsiteY793" fmla="*/ 331653 h 1050628"/>
                <a:gd name="connsiteX794" fmla="*/ 1801191 w 2449768"/>
                <a:gd name="connsiteY794" fmla="*/ 340387 h 1050628"/>
                <a:gd name="connsiteX795" fmla="*/ 1795115 w 2449768"/>
                <a:gd name="connsiteY795" fmla="*/ 364692 h 1050628"/>
                <a:gd name="connsiteX796" fmla="*/ 1770810 w 2449768"/>
                <a:gd name="connsiteY796" fmla="*/ 358616 h 1050628"/>
                <a:gd name="connsiteX797" fmla="*/ 1776886 w 2449768"/>
                <a:gd name="connsiteY797" fmla="*/ 334311 h 1050628"/>
                <a:gd name="connsiteX798" fmla="*/ 1787899 w 2449768"/>
                <a:gd name="connsiteY798" fmla="*/ 331653 h 1050628"/>
                <a:gd name="connsiteX799" fmla="*/ 1879040 w 2449768"/>
                <a:gd name="connsiteY799" fmla="*/ 328615 h 1050628"/>
                <a:gd name="connsiteX800" fmla="*/ 1892332 w 2449768"/>
                <a:gd name="connsiteY800" fmla="*/ 337349 h 1050628"/>
                <a:gd name="connsiteX801" fmla="*/ 1886256 w 2449768"/>
                <a:gd name="connsiteY801" fmla="*/ 361654 h 1050628"/>
                <a:gd name="connsiteX802" fmla="*/ 1861951 w 2449768"/>
                <a:gd name="connsiteY802" fmla="*/ 355578 h 1050628"/>
                <a:gd name="connsiteX803" fmla="*/ 1868027 w 2449768"/>
                <a:gd name="connsiteY803" fmla="*/ 331273 h 1050628"/>
                <a:gd name="connsiteX804" fmla="*/ 1879040 w 2449768"/>
                <a:gd name="connsiteY804" fmla="*/ 328615 h 1050628"/>
                <a:gd name="connsiteX805" fmla="*/ 1265352 w 2449768"/>
                <a:gd name="connsiteY805" fmla="*/ 325577 h 1050628"/>
                <a:gd name="connsiteX806" fmla="*/ 1278644 w 2449768"/>
                <a:gd name="connsiteY806" fmla="*/ 334311 h 1050628"/>
                <a:gd name="connsiteX807" fmla="*/ 1272568 w 2449768"/>
                <a:gd name="connsiteY807" fmla="*/ 358616 h 1050628"/>
                <a:gd name="connsiteX808" fmla="*/ 1248263 w 2449768"/>
                <a:gd name="connsiteY808" fmla="*/ 352540 h 1050628"/>
                <a:gd name="connsiteX809" fmla="*/ 1254339 w 2449768"/>
                <a:gd name="connsiteY809" fmla="*/ 328235 h 1050628"/>
                <a:gd name="connsiteX810" fmla="*/ 1265352 w 2449768"/>
                <a:gd name="connsiteY810" fmla="*/ 325577 h 1050628"/>
                <a:gd name="connsiteX811" fmla="*/ 864328 w 2449768"/>
                <a:gd name="connsiteY811" fmla="*/ 319501 h 1050628"/>
                <a:gd name="connsiteX812" fmla="*/ 877620 w 2449768"/>
                <a:gd name="connsiteY812" fmla="*/ 328235 h 1050628"/>
                <a:gd name="connsiteX813" fmla="*/ 871544 w 2449768"/>
                <a:gd name="connsiteY813" fmla="*/ 352540 h 1050628"/>
                <a:gd name="connsiteX814" fmla="*/ 847239 w 2449768"/>
                <a:gd name="connsiteY814" fmla="*/ 346464 h 1050628"/>
                <a:gd name="connsiteX815" fmla="*/ 853315 w 2449768"/>
                <a:gd name="connsiteY815" fmla="*/ 322159 h 1050628"/>
                <a:gd name="connsiteX816" fmla="*/ 864328 w 2449768"/>
                <a:gd name="connsiteY816" fmla="*/ 319501 h 1050628"/>
                <a:gd name="connsiteX817" fmla="*/ 1459788 w 2449768"/>
                <a:gd name="connsiteY817" fmla="*/ 316463 h 1050628"/>
                <a:gd name="connsiteX818" fmla="*/ 1473080 w 2449768"/>
                <a:gd name="connsiteY818" fmla="*/ 325197 h 1050628"/>
                <a:gd name="connsiteX819" fmla="*/ 1467004 w 2449768"/>
                <a:gd name="connsiteY819" fmla="*/ 349502 h 1050628"/>
                <a:gd name="connsiteX820" fmla="*/ 1442699 w 2449768"/>
                <a:gd name="connsiteY820" fmla="*/ 343426 h 1050628"/>
                <a:gd name="connsiteX821" fmla="*/ 1448775 w 2449768"/>
                <a:gd name="connsiteY821" fmla="*/ 319121 h 1050628"/>
                <a:gd name="connsiteX822" fmla="*/ 1459788 w 2449768"/>
                <a:gd name="connsiteY822" fmla="*/ 316463 h 1050628"/>
                <a:gd name="connsiteX823" fmla="*/ 1702833 w 2449768"/>
                <a:gd name="connsiteY823" fmla="*/ 310387 h 1050628"/>
                <a:gd name="connsiteX824" fmla="*/ 1716125 w 2449768"/>
                <a:gd name="connsiteY824" fmla="*/ 319121 h 1050628"/>
                <a:gd name="connsiteX825" fmla="*/ 1710049 w 2449768"/>
                <a:gd name="connsiteY825" fmla="*/ 343426 h 1050628"/>
                <a:gd name="connsiteX826" fmla="*/ 1685744 w 2449768"/>
                <a:gd name="connsiteY826" fmla="*/ 337350 h 1050628"/>
                <a:gd name="connsiteX827" fmla="*/ 1691820 w 2449768"/>
                <a:gd name="connsiteY827" fmla="*/ 313045 h 1050628"/>
                <a:gd name="connsiteX828" fmla="*/ 1702833 w 2449768"/>
                <a:gd name="connsiteY828" fmla="*/ 310387 h 1050628"/>
                <a:gd name="connsiteX829" fmla="*/ 1577893 w 2449768"/>
                <a:gd name="connsiteY829" fmla="*/ 297095 h 1050628"/>
                <a:gd name="connsiteX830" fmla="*/ 1591565 w 2449768"/>
                <a:gd name="connsiteY830" fmla="*/ 306969 h 1050628"/>
                <a:gd name="connsiteX831" fmla="*/ 1585489 w 2449768"/>
                <a:gd name="connsiteY831" fmla="*/ 331274 h 1050628"/>
                <a:gd name="connsiteX832" fmla="*/ 1561184 w 2449768"/>
                <a:gd name="connsiteY832" fmla="*/ 325198 h 1050628"/>
                <a:gd name="connsiteX833" fmla="*/ 1564222 w 2449768"/>
                <a:gd name="connsiteY833" fmla="*/ 300893 h 1050628"/>
                <a:gd name="connsiteX834" fmla="*/ 1577893 w 2449768"/>
                <a:gd name="connsiteY834" fmla="*/ 297095 h 1050628"/>
                <a:gd name="connsiteX835" fmla="*/ 955470 w 2449768"/>
                <a:gd name="connsiteY835" fmla="*/ 295196 h 1050628"/>
                <a:gd name="connsiteX836" fmla="*/ 968762 w 2449768"/>
                <a:gd name="connsiteY836" fmla="*/ 303930 h 1050628"/>
                <a:gd name="connsiteX837" fmla="*/ 962686 w 2449768"/>
                <a:gd name="connsiteY837" fmla="*/ 328235 h 1050628"/>
                <a:gd name="connsiteX838" fmla="*/ 938381 w 2449768"/>
                <a:gd name="connsiteY838" fmla="*/ 322159 h 1050628"/>
                <a:gd name="connsiteX839" fmla="*/ 944457 w 2449768"/>
                <a:gd name="connsiteY839" fmla="*/ 297854 h 1050628"/>
                <a:gd name="connsiteX840" fmla="*/ 955470 w 2449768"/>
                <a:gd name="connsiteY840" fmla="*/ 295196 h 1050628"/>
                <a:gd name="connsiteX841" fmla="*/ 1365608 w 2449768"/>
                <a:gd name="connsiteY841" fmla="*/ 283044 h 1050628"/>
                <a:gd name="connsiteX842" fmla="*/ 1378900 w 2449768"/>
                <a:gd name="connsiteY842" fmla="*/ 291778 h 1050628"/>
                <a:gd name="connsiteX843" fmla="*/ 1372824 w 2449768"/>
                <a:gd name="connsiteY843" fmla="*/ 316083 h 1050628"/>
                <a:gd name="connsiteX844" fmla="*/ 1348519 w 2449768"/>
                <a:gd name="connsiteY844" fmla="*/ 310007 h 1050628"/>
                <a:gd name="connsiteX845" fmla="*/ 1354595 w 2449768"/>
                <a:gd name="connsiteY845" fmla="*/ 285702 h 1050628"/>
                <a:gd name="connsiteX846" fmla="*/ 1365608 w 2449768"/>
                <a:gd name="connsiteY846" fmla="*/ 283044 h 1050628"/>
                <a:gd name="connsiteX847" fmla="*/ 1979296 w 2449768"/>
                <a:gd name="connsiteY847" fmla="*/ 267854 h 1050628"/>
                <a:gd name="connsiteX848" fmla="*/ 1992588 w 2449768"/>
                <a:gd name="connsiteY848" fmla="*/ 276588 h 1050628"/>
                <a:gd name="connsiteX849" fmla="*/ 1986512 w 2449768"/>
                <a:gd name="connsiteY849" fmla="*/ 300893 h 1050628"/>
                <a:gd name="connsiteX850" fmla="*/ 1962207 w 2449768"/>
                <a:gd name="connsiteY850" fmla="*/ 294817 h 1050628"/>
                <a:gd name="connsiteX851" fmla="*/ 1968283 w 2449768"/>
                <a:gd name="connsiteY851" fmla="*/ 270512 h 1050628"/>
                <a:gd name="connsiteX852" fmla="*/ 1979296 w 2449768"/>
                <a:gd name="connsiteY852" fmla="*/ 267854 h 1050628"/>
                <a:gd name="connsiteX853" fmla="*/ 1173830 w 2449768"/>
                <a:gd name="connsiteY853" fmla="*/ 266714 h 1050628"/>
                <a:gd name="connsiteX854" fmla="*/ 1187502 w 2449768"/>
                <a:gd name="connsiteY854" fmla="*/ 276588 h 1050628"/>
                <a:gd name="connsiteX855" fmla="*/ 1181425 w 2449768"/>
                <a:gd name="connsiteY855" fmla="*/ 300893 h 1050628"/>
                <a:gd name="connsiteX856" fmla="*/ 1157121 w 2449768"/>
                <a:gd name="connsiteY856" fmla="*/ 294817 h 1050628"/>
                <a:gd name="connsiteX857" fmla="*/ 1160159 w 2449768"/>
                <a:gd name="connsiteY857" fmla="*/ 270512 h 1050628"/>
                <a:gd name="connsiteX858" fmla="*/ 1173830 w 2449768"/>
                <a:gd name="connsiteY858" fmla="*/ 266714 h 1050628"/>
                <a:gd name="connsiteX859" fmla="*/ 2167656 w 2449768"/>
                <a:gd name="connsiteY859" fmla="*/ 246587 h 1050628"/>
                <a:gd name="connsiteX860" fmla="*/ 2180948 w 2449768"/>
                <a:gd name="connsiteY860" fmla="*/ 255321 h 1050628"/>
                <a:gd name="connsiteX861" fmla="*/ 2174872 w 2449768"/>
                <a:gd name="connsiteY861" fmla="*/ 279626 h 1050628"/>
                <a:gd name="connsiteX862" fmla="*/ 2150567 w 2449768"/>
                <a:gd name="connsiteY862" fmla="*/ 273550 h 1050628"/>
                <a:gd name="connsiteX863" fmla="*/ 2156643 w 2449768"/>
                <a:gd name="connsiteY863" fmla="*/ 249245 h 1050628"/>
                <a:gd name="connsiteX864" fmla="*/ 2167656 w 2449768"/>
                <a:gd name="connsiteY864" fmla="*/ 246587 h 1050628"/>
                <a:gd name="connsiteX865" fmla="*/ 2073477 w 2449768"/>
                <a:gd name="connsiteY865" fmla="*/ 240511 h 1050628"/>
                <a:gd name="connsiteX866" fmla="*/ 2086768 w 2449768"/>
                <a:gd name="connsiteY866" fmla="*/ 249245 h 1050628"/>
                <a:gd name="connsiteX867" fmla="*/ 2080692 w 2449768"/>
                <a:gd name="connsiteY867" fmla="*/ 273550 h 1050628"/>
                <a:gd name="connsiteX868" fmla="*/ 2056387 w 2449768"/>
                <a:gd name="connsiteY868" fmla="*/ 267474 h 1050628"/>
                <a:gd name="connsiteX869" fmla="*/ 2062463 w 2449768"/>
                <a:gd name="connsiteY869" fmla="*/ 243169 h 1050628"/>
                <a:gd name="connsiteX870" fmla="*/ 2073477 w 2449768"/>
                <a:gd name="connsiteY870" fmla="*/ 240511 h 1050628"/>
                <a:gd name="connsiteX871" fmla="*/ 1505359 w 2449768"/>
                <a:gd name="connsiteY871" fmla="*/ 222283 h 1050628"/>
                <a:gd name="connsiteX872" fmla="*/ 1518651 w 2449768"/>
                <a:gd name="connsiteY872" fmla="*/ 231017 h 1050628"/>
                <a:gd name="connsiteX873" fmla="*/ 1512575 w 2449768"/>
                <a:gd name="connsiteY873" fmla="*/ 255322 h 1050628"/>
                <a:gd name="connsiteX874" fmla="*/ 1488270 w 2449768"/>
                <a:gd name="connsiteY874" fmla="*/ 249246 h 1050628"/>
                <a:gd name="connsiteX875" fmla="*/ 1494346 w 2449768"/>
                <a:gd name="connsiteY875" fmla="*/ 224941 h 1050628"/>
                <a:gd name="connsiteX876" fmla="*/ 1505359 w 2449768"/>
                <a:gd name="connsiteY876" fmla="*/ 222283 h 1050628"/>
                <a:gd name="connsiteX877" fmla="*/ 1007117 w 2449768"/>
                <a:gd name="connsiteY877" fmla="*/ 222283 h 1050628"/>
                <a:gd name="connsiteX878" fmla="*/ 1020409 w 2449768"/>
                <a:gd name="connsiteY878" fmla="*/ 231017 h 1050628"/>
                <a:gd name="connsiteX879" fmla="*/ 1014333 w 2449768"/>
                <a:gd name="connsiteY879" fmla="*/ 255322 h 1050628"/>
                <a:gd name="connsiteX880" fmla="*/ 990028 w 2449768"/>
                <a:gd name="connsiteY880" fmla="*/ 249246 h 1050628"/>
                <a:gd name="connsiteX881" fmla="*/ 996104 w 2449768"/>
                <a:gd name="connsiteY881" fmla="*/ 224941 h 1050628"/>
                <a:gd name="connsiteX882" fmla="*/ 1007117 w 2449768"/>
                <a:gd name="connsiteY882" fmla="*/ 222283 h 1050628"/>
                <a:gd name="connsiteX883" fmla="*/ 1298771 w 2449768"/>
                <a:gd name="connsiteY883" fmla="*/ 210131 h 1050628"/>
                <a:gd name="connsiteX884" fmla="*/ 1312063 w 2449768"/>
                <a:gd name="connsiteY884" fmla="*/ 218865 h 1050628"/>
                <a:gd name="connsiteX885" fmla="*/ 1305987 w 2449768"/>
                <a:gd name="connsiteY885" fmla="*/ 243170 h 1050628"/>
                <a:gd name="connsiteX886" fmla="*/ 1281682 w 2449768"/>
                <a:gd name="connsiteY886" fmla="*/ 237094 h 1050628"/>
                <a:gd name="connsiteX887" fmla="*/ 1287758 w 2449768"/>
                <a:gd name="connsiteY887" fmla="*/ 212789 h 1050628"/>
                <a:gd name="connsiteX888" fmla="*/ 1298771 w 2449768"/>
                <a:gd name="connsiteY888" fmla="*/ 210131 h 1050628"/>
                <a:gd name="connsiteX889" fmla="*/ 1881700 w 2449768"/>
                <a:gd name="connsiteY889" fmla="*/ 207472 h 1050628"/>
                <a:gd name="connsiteX890" fmla="*/ 1895371 w 2449768"/>
                <a:gd name="connsiteY890" fmla="*/ 218865 h 1050628"/>
                <a:gd name="connsiteX891" fmla="*/ 1889295 w 2449768"/>
                <a:gd name="connsiteY891" fmla="*/ 243170 h 1050628"/>
                <a:gd name="connsiteX892" fmla="*/ 1864990 w 2449768"/>
                <a:gd name="connsiteY892" fmla="*/ 237094 h 1050628"/>
                <a:gd name="connsiteX893" fmla="*/ 1868028 w 2449768"/>
                <a:gd name="connsiteY893" fmla="*/ 209751 h 1050628"/>
                <a:gd name="connsiteX894" fmla="*/ 1881700 w 2449768"/>
                <a:gd name="connsiteY894" fmla="*/ 207472 h 1050628"/>
                <a:gd name="connsiteX895" fmla="*/ 1657262 w 2449768"/>
                <a:gd name="connsiteY895" fmla="*/ 207093 h 1050628"/>
                <a:gd name="connsiteX896" fmla="*/ 1670554 w 2449768"/>
                <a:gd name="connsiteY896" fmla="*/ 215827 h 1050628"/>
                <a:gd name="connsiteX897" fmla="*/ 1664478 w 2449768"/>
                <a:gd name="connsiteY897" fmla="*/ 240132 h 1050628"/>
                <a:gd name="connsiteX898" fmla="*/ 1637135 w 2449768"/>
                <a:gd name="connsiteY898" fmla="*/ 234056 h 1050628"/>
                <a:gd name="connsiteX899" fmla="*/ 1646249 w 2449768"/>
                <a:gd name="connsiteY899" fmla="*/ 209751 h 1050628"/>
                <a:gd name="connsiteX900" fmla="*/ 1657262 w 2449768"/>
                <a:gd name="connsiteY900" fmla="*/ 207093 h 1050628"/>
                <a:gd name="connsiteX901" fmla="*/ 1769671 w 2449768"/>
                <a:gd name="connsiteY901" fmla="*/ 201017 h 1050628"/>
                <a:gd name="connsiteX902" fmla="*/ 1782962 w 2449768"/>
                <a:gd name="connsiteY902" fmla="*/ 209751 h 1050628"/>
                <a:gd name="connsiteX903" fmla="*/ 1776886 w 2449768"/>
                <a:gd name="connsiteY903" fmla="*/ 234056 h 1050628"/>
                <a:gd name="connsiteX904" fmla="*/ 1752581 w 2449768"/>
                <a:gd name="connsiteY904" fmla="*/ 227980 h 1050628"/>
                <a:gd name="connsiteX905" fmla="*/ 1758657 w 2449768"/>
                <a:gd name="connsiteY905" fmla="*/ 203675 h 1050628"/>
                <a:gd name="connsiteX906" fmla="*/ 1769671 w 2449768"/>
                <a:gd name="connsiteY906" fmla="*/ 201017 h 1050628"/>
                <a:gd name="connsiteX907" fmla="*/ 1089145 w 2449768"/>
                <a:gd name="connsiteY907" fmla="*/ 197978 h 1050628"/>
                <a:gd name="connsiteX908" fmla="*/ 1102437 w 2449768"/>
                <a:gd name="connsiteY908" fmla="*/ 206712 h 1050628"/>
                <a:gd name="connsiteX909" fmla="*/ 1096361 w 2449768"/>
                <a:gd name="connsiteY909" fmla="*/ 231017 h 1050628"/>
                <a:gd name="connsiteX910" fmla="*/ 1072056 w 2449768"/>
                <a:gd name="connsiteY910" fmla="*/ 224941 h 1050628"/>
                <a:gd name="connsiteX911" fmla="*/ 1078132 w 2449768"/>
                <a:gd name="connsiteY911" fmla="*/ 200636 h 1050628"/>
                <a:gd name="connsiteX912" fmla="*/ 1089145 w 2449768"/>
                <a:gd name="connsiteY912" fmla="*/ 197978 h 1050628"/>
                <a:gd name="connsiteX913" fmla="*/ 1395989 w 2449768"/>
                <a:gd name="connsiteY913" fmla="*/ 161522 h 1050628"/>
                <a:gd name="connsiteX914" fmla="*/ 1409281 w 2449768"/>
                <a:gd name="connsiteY914" fmla="*/ 170256 h 1050628"/>
                <a:gd name="connsiteX915" fmla="*/ 1403205 w 2449768"/>
                <a:gd name="connsiteY915" fmla="*/ 194561 h 1050628"/>
                <a:gd name="connsiteX916" fmla="*/ 1378900 w 2449768"/>
                <a:gd name="connsiteY916" fmla="*/ 188485 h 1050628"/>
                <a:gd name="connsiteX917" fmla="*/ 1384976 w 2449768"/>
                <a:gd name="connsiteY917" fmla="*/ 164180 h 1050628"/>
                <a:gd name="connsiteX918" fmla="*/ 1395989 w 2449768"/>
                <a:gd name="connsiteY918" fmla="*/ 161522 h 1050628"/>
                <a:gd name="connsiteX919" fmla="*/ 1967145 w 2449768"/>
                <a:gd name="connsiteY919" fmla="*/ 140255 h 1050628"/>
                <a:gd name="connsiteX920" fmla="*/ 1980436 w 2449768"/>
                <a:gd name="connsiteY920" fmla="*/ 148989 h 1050628"/>
                <a:gd name="connsiteX921" fmla="*/ 1974360 w 2449768"/>
                <a:gd name="connsiteY921" fmla="*/ 173294 h 1050628"/>
                <a:gd name="connsiteX922" fmla="*/ 1950055 w 2449768"/>
                <a:gd name="connsiteY922" fmla="*/ 170256 h 1050628"/>
                <a:gd name="connsiteX923" fmla="*/ 1956131 w 2449768"/>
                <a:gd name="connsiteY923" fmla="*/ 142913 h 1050628"/>
                <a:gd name="connsiteX924" fmla="*/ 1967145 w 2449768"/>
                <a:gd name="connsiteY924" fmla="*/ 140255 h 1050628"/>
                <a:gd name="connsiteX925" fmla="*/ 1234971 w 2449768"/>
                <a:gd name="connsiteY925" fmla="*/ 131141 h 1050628"/>
                <a:gd name="connsiteX926" fmla="*/ 1248263 w 2449768"/>
                <a:gd name="connsiteY926" fmla="*/ 139875 h 1050628"/>
                <a:gd name="connsiteX927" fmla="*/ 1242187 w 2449768"/>
                <a:gd name="connsiteY927" fmla="*/ 164180 h 1050628"/>
                <a:gd name="connsiteX928" fmla="*/ 1217882 w 2449768"/>
                <a:gd name="connsiteY928" fmla="*/ 158104 h 1050628"/>
                <a:gd name="connsiteX929" fmla="*/ 1223958 w 2449768"/>
                <a:gd name="connsiteY929" fmla="*/ 133799 h 1050628"/>
                <a:gd name="connsiteX930" fmla="*/ 1234971 w 2449768"/>
                <a:gd name="connsiteY930" fmla="*/ 131141 h 1050628"/>
                <a:gd name="connsiteX931" fmla="*/ 1149906 w 2449768"/>
                <a:gd name="connsiteY931" fmla="*/ 131141 h 1050628"/>
                <a:gd name="connsiteX932" fmla="*/ 1163198 w 2449768"/>
                <a:gd name="connsiteY932" fmla="*/ 139875 h 1050628"/>
                <a:gd name="connsiteX933" fmla="*/ 1157122 w 2449768"/>
                <a:gd name="connsiteY933" fmla="*/ 164180 h 1050628"/>
                <a:gd name="connsiteX934" fmla="*/ 1132817 w 2449768"/>
                <a:gd name="connsiteY934" fmla="*/ 158104 h 1050628"/>
                <a:gd name="connsiteX935" fmla="*/ 1138893 w 2449768"/>
                <a:gd name="connsiteY935" fmla="*/ 133799 h 1050628"/>
                <a:gd name="connsiteX936" fmla="*/ 1149906 w 2449768"/>
                <a:gd name="connsiteY936" fmla="*/ 131141 h 1050628"/>
                <a:gd name="connsiteX937" fmla="*/ 2064362 w 2449768"/>
                <a:gd name="connsiteY937" fmla="*/ 128103 h 1050628"/>
                <a:gd name="connsiteX938" fmla="*/ 2077654 w 2449768"/>
                <a:gd name="connsiteY938" fmla="*/ 136837 h 1050628"/>
                <a:gd name="connsiteX939" fmla="*/ 2071578 w 2449768"/>
                <a:gd name="connsiteY939" fmla="*/ 161142 h 1050628"/>
                <a:gd name="connsiteX940" fmla="*/ 2047273 w 2449768"/>
                <a:gd name="connsiteY940" fmla="*/ 155066 h 1050628"/>
                <a:gd name="connsiteX941" fmla="*/ 2053349 w 2449768"/>
                <a:gd name="connsiteY941" fmla="*/ 130761 h 1050628"/>
                <a:gd name="connsiteX942" fmla="*/ 2064362 w 2449768"/>
                <a:gd name="connsiteY942" fmla="*/ 128103 h 1050628"/>
                <a:gd name="connsiteX943" fmla="*/ 1496245 w 2449768"/>
                <a:gd name="connsiteY943" fmla="*/ 120887 h 1050628"/>
                <a:gd name="connsiteX944" fmla="*/ 1509537 w 2449768"/>
                <a:gd name="connsiteY944" fmla="*/ 130761 h 1050628"/>
                <a:gd name="connsiteX945" fmla="*/ 1503461 w 2449768"/>
                <a:gd name="connsiteY945" fmla="*/ 155066 h 1050628"/>
                <a:gd name="connsiteX946" fmla="*/ 1479156 w 2449768"/>
                <a:gd name="connsiteY946" fmla="*/ 148990 h 1050628"/>
                <a:gd name="connsiteX947" fmla="*/ 1485232 w 2449768"/>
                <a:gd name="connsiteY947" fmla="*/ 124685 h 1050628"/>
                <a:gd name="connsiteX948" fmla="*/ 1496245 w 2449768"/>
                <a:gd name="connsiteY948" fmla="*/ 120887 h 1050628"/>
                <a:gd name="connsiteX949" fmla="*/ 1599539 w 2449768"/>
                <a:gd name="connsiteY949" fmla="*/ 112913 h 1050628"/>
                <a:gd name="connsiteX950" fmla="*/ 1612831 w 2449768"/>
                <a:gd name="connsiteY950" fmla="*/ 121647 h 1050628"/>
                <a:gd name="connsiteX951" fmla="*/ 1606754 w 2449768"/>
                <a:gd name="connsiteY951" fmla="*/ 145952 h 1050628"/>
                <a:gd name="connsiteX952" fmla="*/ 1582450 w 2449768"/>
                <a:gd name="connsiteY952" fmla="*/ 139876 h 1050628"/>
                <a:gd name="connsiteX953" fmla="*/ 1588526 w 2449768"/>
                <a:gd name="connsiteY953" fmla="*/ 115571 h 1050628"/>
                <a:gd name="connsiteX954" fmla="*/ 1599539 w 2449768"/>
                <a:gd name="connsiteY954" fmla="*/ 112913 h 1050628"/>
                <a:gd name="connsiteX955" fmla="*/ 1836508 w 2449768"/>
                <a:gd name="connsiteY955" fmla="*/ 109875 h 1050628"/>
                <a:gd name="connsiteX956" fmla="*/ 1849800 w 2449768"/>
                <a:gd name="connsiteY956" fmla="*/ 118609 h 1050628"/>
                <a:gd name="connsiteX957" fmla="*/ 1843724 w 2449768"/>
                <a:gd name="connsiteY957" fmla="*/ 142914 h 1050628"/>
                <a:gd name="connsiteX958" fmla="*/ 1819419 w 2449768"/>
                <a:gd name="connsiteY958" fmla="*/ 136838 h 1050628"/>
                <a:gd name="connsiteX959" fmla="*/ 1825495 w 2449768"/>
                <a:gd name="connsiteY959" fmla="*/ 112533 h 1050628"/>
                <a:gd name="connsiteX960" fmla="*/ 1836508 w 2449768"/>
                <a:gd name="connsiteY960" fmla="*/ 109875 h 1050628"/>
                <a:gd name="connsiteX961" fmla="*/ 1708529 w 2449768"/>
                <a:gd name="connsiteY961" fmla="*/ 106837 h 1050628"/>
                <a:gd name="connsiteX962" fmla="*/ 1722201 w 2449768"/>
                <a:gd name="connsiteY962" fmla="*/ 115571 h 1050628"/>
                <a:gd name="connsiteX963" fmla="*/ 1716124 w 2449768"/>
                <a:gd name="connsiteY963" fmla="*/ 139876 h 1050628"/>
                <a:gd name="connsiteX964" fmla="*/ 1691820 w 2449768"/>
                <a:gd name="connsiteY964" fmla="*/ 133800 h 1050628"/>
                <a:gd name="connsiteX965" fmla="*/ 1694858 w 2449768"/>
                <a:gd name="connsiteY965" fmla="*/ 109495 h 1050628"/>
                <a:gd name="connsiteX966" fmla="*/ 1708529 w 2449768"/>
                <a:gd name="connsiteY966" fmla="*/ 106837 h 1050628"/>
                <a:gd name="connsiteX967" fmla="*/ 1301429 w 2449768"/>
                <a:gd name="connsiteY967" fmla="*/ 60126 h 1050628"/>
                <a:gd name="connsiteX968" fmla="*/ 1315101 w 2449768"/>
                <a:gd name="connsiteY968" fmla="*/ 70000 h 1050628"/>
                <a:gd name="connsiteX969" fmla="*/ 1309024 w 2449768"/>
                <a:gd name="connsiteY969" fmla="*/ 94305 h 1050628"/>
                <a:gd name="connsiteX970" fmla="*/ 1284720 w 2449768"/>
                <a:gd name="connsiteY970" fmla="*/ 88229 h 1050628"/>
                <a:gd name="connsiteX971" fmla="*/ 1287758 w 2449768"/>
                <a:gd name="connsiteY971" fmla="*/ 63924 h 1050628"/>
                <a:gd name="connsiteX972" fmla="*/ 1301429 w 2449768"/>
                <a:gd name="connsiteY972" fmla="*/ 60126 h 1050628"/>
                <a:gd name="connsiteX973" fmla="*/ 1930687 w 2449768"/>
                <a:gd name="connsiteY973" fmla="*/ 49113 h 1050628"/>
                <a:gd name="connsiteX974" fmla="*/ 1943979 w 2449768"/>
                <a:gd name="connsiteY974" fmla="*/ 57847 h 1050628"/>
                <a:gd name="connsiteX975" fmla="*/ 1937903 w 2449768"/>
                <a:gd name="connsiteY975" fmla="*/ 82152 h 1050628"/>
                <a:gd name="connsiteX976" fmla="*/ 1913598 w 2449768"/>
                <a:gd name="connsiteY976" fmla="*/ 76076 h 1050628"/>
                <a:gd name="connsiteX977" fmla="*/ 1919674 w 2449768"/>
                <a:gd name="connsiteY977" fmla="*/ 51771 h 1050628"/>
                <a:gd name="connsiteX978" fmla="*/ 1930687 w 2449768"/>
                <a:gd name="connsiteY978" fmla="*/ 49113 h 1050628"/>
                <a:gd name="connsiteX979" fmla="*/ 1402065 w 2449768"/>
                <a:gd name="connsiteY979" fmla="*/ 43037 h 1050628"/>
                <a:gd name="connsiteX980" fmla="*/ 1415357 w 2449768"/>
                <a:gd name="connsiteY980" fmla="*/ 51771 h 1050628"/>
                <a:gd name="connsiteX981" fmla="*/ 1409281 w 2449768"/>
                <a:gd name="connsiteY981" fmla="*/ 76076 h 1050628"/>
                <a:gd name="connsiteX982" fmla="*/ 1384976 w 2449768"/>
                <a:gd name="connsiteY982" fmla="*/ 70000 h 1050628"/>
                <a:gd name="connsiteX983" fmla="*/ 1391052 w 2449768"/>
                <a:gd name="connsiteY983" fmla="*/ 45695 h 1050628"/>
                <a:gd name="connsiteX984" fmla="*/ 1402065 w 2449768"/>
                <a:gd name="connsiteY984" fmla="*/ 43037 h 1050628"/>
                <a:gd name="connsiteX985" fmla="*/ 1806127 w 2449768"/>
                <a:gd name="connsiteY985" fmla="*/ 15695 h 1050628"/>
                <a:gd name="connsiteX986" fmla="*/ 1819419 w 2449768"/>
                <a:gd name="connsiteY986" fmla="*/ 24429 h 1050628"/>
                <a:gd name="connsiteX987" fmla="*/ 1813343 w 2449768"/>
                <a:gd name="connsiteY987" fmla="*/ 48734 h 1050628"/>
                <a:gd name="connsiteX988" fmla="*/ 1789038 w 2449768"/>
                <a:gd name="connsiteY988" fmla="*/ 42658 h 1050628"/>
                <a:gd name="connsiteX989" fmla="*/ 1795114 w 2449768"/>
                <a:gd name="connsiteY989" fmla="*/ 18353 h 1050628"/>
                <a:gd name="connsiteX990" fmla="*/ 1806127 w 2449768"/>
                <a:gd name="connsiteY990" fmla="*/ 15695 h 1050628"/>
                <a:gd name="connsiteX991" fmla="*/ 1499283 w 2449768"/>
                <a:gd name="connsiteY991" fmla="*/ 9619 h 1050628"/>
                <a:gd name="connsiteX992" fmla="*/ 1512575 w 2449768"/>
                <a:gd name="connsiteY992" fmla="*/ 18353 h 1050628"/>
                <a:gd name="connsiteX993" fmla="*/ 1506499 w 2449768"/>
                <a:gd name="connsiteY993" fmla="*/ 45696 h 1050628"/>
                <a:gd name="connsiteX994" fmla="*/ 1482194 w 2449768"/>
                <a:gd name="connsiteY994" fmla="*/ 39620 h 1050628"/>
                <a:gd name="connsiteX995" fmla="*/ 1488270 w 2449768"/>
                <a:gd name="connsiteY995" fmla="*/ 12277 h 1050628"/>
                <a:gd name="connsiteX996" fmla="*/ 1499283 w 2449768"/>
                <a:gd name="connsiteY996" fmla="*/ 9619 h 1050628"/>
                <a:gd name="connsiteX997" fmla="*/ 1699795 w 2449768"/>
                <a:gd name="connsiteY997" fmla="*/ 3543 h 1050628"/>
                <a:gd name="connsiteX998" fmla="*/ 1713087 w 2449768"/>
                <a:gd name="connsiteY998" fmla="*/ 12277 h 1050628"/>
                <a:gd name="connsiteX999" fmla="*/ 1707011 w 2449768"/>
                <a:gd name="connsiteY999" fmla="*/ 36582 h 1050628"/>
                <a:gd name="connsiteX1000" fmla="*/ 1682706 w 2449768"/>
                <a:gd name="connsiteY1000" fmla="*/ 30506 h 1050628"/>
                <a:gd name="connsiteX1001" fmla="*/ 1688782 w 2449768"/>
                <a:gd name="connsiteY1001" fmla="*/ 6201 h 1050628"/>
                <a:gd name="connsiteX1002" fmla="*/ 1699795 w 2449768"/>
                <a:gd name="connsiteY1002" fmla="*/ 3543 h 1050628"/>
                <a:gd name="connsiteX1003" fmla="*/ 1599539 w 2449768"/>
                <a:gd name="connsiteY1003" fmla="*/ 504 h 1050628"/>
                <a:gd name="connsiteX1004" fmla="*/ 1612831 w 2449768"/>
                <a:gd name="connsiteY1004" fmla="*/ 9238 h 1050628"/>
                <a:gd name="connsiteX1005" fmla="*/ 1606754 w 2449768"/>
                <a:gd name="connsiteY1005" fmla="*/ 33543 h 1050628"/>
                <a:gd name="connsiteX1006" fmla="*/ 1582450 w 2449768"/>
                <a:gd name="connsiteY1006" fmla="*/ 27467 h 1050628"/>
                <a:gd name="connsiteX1007" fmla="*/ 1588526 w 2449768"/>
                <a:gd name="connsiteY1007" fmla="*/ 3162 h 1050628"/>
                <a:gd name="connsiteX1008" fmla="*/ 1599539 w 2449768"/>
                <a:gd name="connsiteY1008" fmla="*/ 504 h 1050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Lst>
              <a:rect l="l" t="t" r="r" b="b"/>
              <a:pathLst>
                <a:path w="2449768" h="1050628">
                  <a:moveTo>
                    <a:pt x="1553968" y="1045598"/>
                  </a:moveTo>
                  <a:lnTo>
                    <a:pt x="1561623" y="1050628"/>
                  </a:lnTo>
                  <a:lnTo>
                    <a:pt x="1540857" y="1050628"/>
                  </a:lnTo>
                  <a:lnTo>
                    <a:pt x="1542955" y="1048256"/>
                  </a:lnTo>
                  <a:cubicBezTo>
                    <a:pt x="1545993" y="1045218"/>
                    <a:pt x="1549791" y="1044458"/>
                    <a:pt x="1553968" y="1045598"/>
                  </a:cubicBezTo>
                  <a:close/>
                  <a:moveTo>
                    <a:pt x="490647" y="1036483"/>
                  </a:moveTo>
                  <a:cubicBezTo>
                    <a:pt x="494825" y="1037622"/>
                    <a:pt x="499382" y="1040660"/>
                    <a:pt x="503939" y="1045217"/>
                  </a:cubicBezTo>
                  <a:lnTo>
                    <a:pt x="505485" y="1050628"/>
                  </a:lnTo>
                  <a:lnTo>
                    <a:pt x="470645" y="1050628"/>
                  </a:lnTo>
                  <a:lnTo>
                    <a:pt x="469761" y="1046736"/>
                  </a:lnTo>
                  <a:cubicBezTo>
                    <a:pt x="470520" y="1042939"/>
                    <a:pt x="473558" y="1040660"/>
                    <a:pt x="479634" y="1039141"/>
                  </a:cubicBezTo>
                  <a:cubicBezTo>
                    <a:pt x="482672" y="1036103"/>
                    <a:pt x="486470" y="1035343"/>
                    <a:pt x="490647" y="1036483"/>
                  </a:cubicBezTo>
                  <a:close/>
                  <a:moveTo>
                    <a:pt x="326591" y="1030407"/>
                  </a:moveTo>
                  <a:cubicBezTo>
                    <a:pt x="330769" y="1031546"/>
                    <a:pt x="335326" y="1034584"/>
                    <a:pt x="339883" y="1039141"/>
                  </a:cubicBezTo>
                  <a:lnTo>
                    <a:pt x="341999" y="1050628"/>
                  </a:lnTo>
                  <a:lnTo>
                    <a:pt x="308260" y="1050628"/>
                  </a:lnTo>
                  <a:lnTo>
                    <a:pt x="306844" y="1042939"/>
                  </a:lnTo>
                  <a:cubicBezTo>
                    <a:pt x="307983" y="1039141"/>
                    <a:pt x="311021" y="1036103"/>
                    <a:pt x="315578" y="1033065"/>
                  </a:cubicBezTo>
                  <a:cubicBezTo>
                    <a:pt x="318616" y="1030027"/>
                    <a:pt x="322414" y="1029267"/>
                    <a:pt x="326591" y="1030407"/>
                  </a:cubicBezTo>
                  <a:close/>
                  <a:moveTo>
                    <a:pt x="20886" y="1026229"/>
                  </a:moveTo>
                  <a:cubicBezTo>
                    <a:pt x="24684" y="1026989"/>
                    <a:pt x="28482" y="1030027"/>
                    <a:pt x="33039" y="1036103"/>
                  </a:cubicBezTo>
                  <a:cubicBezTo>
                    <a:pt x="37596" y="1040660"/>
                    <a:pt x="38356" y="1045218"/>
                    <a:pt x="36837" y="1049395"/>
                  </a:cubicBezTo>
                  <a:lnTo>
                    <a:pt x="35731" y="1050628"/>
                  </a:lnTo>
                  <a:lnTo>
                    <a:pt x="1976" y="1050628"/>
                  </a:lnTo>
                  <a:lnTo>
                    <a:pt x="0" y="1039901"/>
                  </a:lnTo>
                  <a:cubicBezTo>
                    <a:pt x="1139" y="1036103"/>
                    <a:pt x="4177" y="1033065"/>
                    <a:pt x="8734" y="1030027"/>
                  </a:cubicBezTo>
                  <a:cubicBezTo>
                    <a:pt x="13291" y="1026989"/>
                    <a:pt x="17089" y="1025470"/>
                    <a:pt x="20886" y="1026229"/>
                  </a:cubicBezTo>
                  <a:close/>
                  <a:moveTo>
                    <a:pt x="2100819" y="1024331"/>
                  </a:moveTo>
                  <a:cubicBezTo>
                    <a:pt x="2104997" y="1025470"/>
                    <a:pt x="2109554" y="1028508"/>
                    <a:pt x="2114111" y="1033065"/>
                  </a:cubicBezTo>
                  <a:cubicBezTo>
                    <a:pt x="2118668" y="1037622"/>
                    <a:pt x="2119428" y="1042180"/>
                    <a:pt x="2117909" y="1046357"/>
                  </a:cubicBezTo>
                  <a:lnTo>
                    <a:pt x="2114079" y="1050628"/>
                  </a:lnTo>
                  <a:lnTo>
                    <a:pt x="2083616" y="1050628"/>
                  </a:lnTo>
                  <a:lnTo>
                    <a:pt x="2081072" y="1035724"/>
                  </a:lnTo>
                  <a:cubicBezTo>
                    <a:pt x="2082211" y="1031546"/>
                    <a:pt x="2085249" y="1028508"/>
                    <a:pt x="2089806" y="1026989"/>
                  </a:cubicBezTo>
                  <a:cubicBezTo>
                    <a:pt x="2092844" y="1023951"/>
                    <a:pt x="2096642" y="1023191"/>
                    <a:pt x="2100819" y="1024331"/>
                  </a:cubicBezTo>
                  <a:close/>
                  <a:moveTo>
                    <a:pt x="1192439" y="1024331"/>
                  </a:moveTo>
                  <a:cubicBezTo>
                    <a:pt x="1196617" y="1025470"/>
                    <a:pt x="1201174" y="1028508"/>
                    <a:pt x="1205731" y="1033065"/>
                  </a:cubicBezTo>
                  <a:cubicBezTo>
                    <a:pt x="1210288" y="1037622"/>
                    <a:pt x="1211048" y="1042180"/>
                    <a:pt x="1209529" y="1046357"/>
                  </a:cubicBezTo>
                  <a:lnTo>
                    <a:pt x="1205699" y="1050628"/>
                  </a:lnTo>
                  <a:lnTo>
                    <a:pt x="1175227" y="1050628"/>
                  </a:lnTo>
                  <a:lnTo>
                    <a:pt x="1172692" y="1036863"/>
                  </a:lnTo>
                  <a:cubicBezTo>
                    <a:pt x="1173831" y="1033065"/>
                    <a:pt x="1176869" y="1030027"/>
                    <a:pt x="1181426" y="1026989"/>
                  </a:cubicBezTo>
                  <a:cubicBezTo>
                    <a:pt x="1184464" y="1023951"/>
                    <a:pt x="1188262" y="1023191"/>
                    <a:pt x="1192439" y="1024331"/>
                  </a:cubicBezTo>
                  <a:close/>
                  <a:moveTo>
                    <a:pt x="788376" y="1024331"/>
                  </a:moveTo>
                  <a:cubicBezTo>
                    <a:pt x="792554" y="1025470"/>
                    <a:pt x="797111" y="1028508"/>
                    <a:pt x="801668" y="1033065"/>
                  </a:cubicBezTo>
                  <a:cubicBezTo>
                    <a:pt x="806225" y="1037622"/>
                    <a:pt x="806985" y="1042180"/>
                    <a:pt x="805466" y="1046357"/>
                  </a:cubicBezTo>
                  <a:lnTo>
                    <a:pt x="801636" y="1050628"/>
                  </a:lnTo>
                  <a:lnTo>
                    <a:pt x="771181" y="1050628"/>
                  </a:lnTo>
                  <a:lnTo>
                    <a:pt x="768629" y="1034584"/>
                  </a:lnTo>
                  <a:cubicBezTo>
                    <a:pt x="769768" y="1030787"/>
                    <a:pt x="772806" y="1028508"/>
                    <a:pt x="777363" y="1026989"/>
                  </a:cubicBezTo>
                  <a:cubicBezTo>
                    <a:pt x="780401" y="1023951"/>
                    <a:pt x="784199" y="1023191"/>
                    <a:pt x="788376" y="1024331"/>
                  </a:cubicBezTo>
                  <a:close/>
                  <a:moveTo>
                    <a:pt x="138231" y="1024331"/>
                  </a:moveTo>
                  <a:cubicBezTo>
                    <a:pt x="142409" y="1025470"/>
                    <a:pt x="146966" y="1028508"/>
                    <a:pt x="151523" y="1033065"/>
                  </a:cubicBezTo>
                  <a:cubicBezTo>
                    <a:pt x="156080" y="1037622"/>
                    <a:pt x="156080" y="1042939"/>
                    <a:pt x="154181" y="1047496"/>
                  </a:cubicBezTo>
                  <a:lnTo>
                    <a:pt x="151411" y="1050628"/>
                  </a:lnTo>
                  <a:lnTo>
                    <a:pt x="121019" y="1050628"/>
                  </a:lnTo>
                  <a:lnTo>
                    <a:pt x="118484" y="1036863"/>
                  </a:lnTo>
                  <a:cubicBezTo>
                    <a:pt x="119623" y="1033065"/>
                    <a:pt x="122661" y="1030027"/>
                    <a:pt x="127218" y="1026989"/>
                  </a:cubicBezTo>
                  <a:cubicBezTo>
                    <a:pt x="130256" y="1023951"/>
                    <a:pt x="134054" y="1023191"/>
                    <a:pt x="138231" y="1024331"/>
                  </a:cubicBezTo>
                  <a:close/>
                  <a:moveTo>
                    <a:pt x="894709" y="1021293"/>
                  </a:moveTo>
                  <a:cubicBezTo>
                    <a:pt x="898887" y="1022432"/>
                    <a:pt x="903444" y="1025470"/>
                    <a:pt x="908001" y="1030027"/>
                  </a:cubicBezTo>
                  <a:cubicBezTo>
                    <a:pt x="912558" y="1034584"/>
                    <a:pt x="913318" y="1039142"/>
                    <a:pt x="911799" y="1043319"/>
                  </a:cubicBezTo>
                  <a:lnTo>
                    <a:pt x="905246" y="1050628"/>
                  </a:lnTo>
                  <a:lnTo>
                    <a:pt x="880920" y="1050628"/>
                  </a:lnTo>
                  <a:lnTo>
                    <a:pt x="877620" y="1048256"/>
                  </a:lnTo>
                  <a:cubicBezTo>
                    <a:pt x="871544" y="1033065"/>
                    <a:pt x="871544" y="1026989"/>
                    <a:pt x="883696" y="1023951"/>
                  </a:cubicBezTo>
                  <a:cubicBezTo>
                    <a:pt x="886734" y="1020913"/>
                    <a:pt x="890532" y="1020153"/>
                    <a:pt x="894709" y="1021293"/>
                  </a:cubicBezTo>
                  <a:close/>
                  <a:moveTo>
                    <a:pt x="694197" y="1021293"/>
                  </a:moveTo>
                  <a:cubicBezTo>
                    <a:pt x="698374" y="1022432"/>
                    <a:pt x="702931" y="1025470"/>
                    <a:pt x="707488" y="1030027"/>
                  </a:cubicBezTo>
                  <a:cubicBezTo>
                    <a:pt x="712046" y="1034584"/>
                    <a:pt x="712805" y="1039142"/>
                    <a:pt x="711286" y="1043319"/>
                  </a:cubicBezTo>
                  <a:lnTo>
                    <a:pt x="704733" y="1050628"/>
                  </a:lnTo>
                  <a:lnTo>
                    <a:pt x="680408" y="1050628"/>
                  </a:lnTo>
                  <a:lnTo>
                    <a:pt x="677108" y="1048256"/>
                  </a:lnTo>
                  <a:cubicBezTo>
                    <a:pt x="671032" y="1036103"/>
                    <a:pt x="677108" y="1030027"/>
                    <a:pt x="683184" y="1023951"/>
                  </a:cubicBezTo>
                  <a:cubicBezTo>
                    <a:pt x="686222" y="1020913"/>
                    <a:pt x="690020" y="1020153"/>
                    <a:pt x="694197" y="1021293"/>
                  </a:cubicBezTo>
                  <a:close/>
                  <a:moveTo>
                    <a:pt x="596979" y="1021293"/>
                  </a:moveTo>
                  <a:cubicBezTo>
                    <a:pt x="601157" y="1022432"/>
                    <a:pt x="605714" y="1025470"/>
                    <a:pt x="610271" y="1030027"/>
                  </a:cubicBezTo>
                  <a:cubicBezTo>
                    <a:pt x="614828" y="1034584"/>
                    <a:pt x="615588" y="1039142"/>
                    <a:pt x="614069" y="1043319"/>
                  </a:cubicBezTo>
                  <a:lnTo>
                    <a:pt x="607516" y="1050628"/>
                  </a:lnTo>
                  <a:lnTo>
                    <a:pt x="583190" y="1050628"/>
                  </a:lnTo>
                  <a:lnTo>
                    <a:pt x="579890" y="1048256"/>
                  </a:lnTo>
                  <a:cubicBezTo>
                    <a:pt x="573814" y="1033065"/>
                    <a:pt x="576852" y="1026989"/>
                    <a:pt x="585966" y="1023951"/>
                  </a:cubicBezTo>
                  <a:cubicBezTo>
                    <a:pt x="589004" y="1020913"/>
                    <a:pt x="592802" y="1020153"/>
                    <a:pt x="596979" y="1021293"/>
                  </a:cubicBezTo>
                  <a:close/>
                  <a:moveTo>
                    <a:pt x="1086106" y="1015217"/>
                  </a:moveTo>
                  <a:cubicBezTo>
                    <a:pt x="1090284" y="1016356"/>
                    <a:pt x="1094841" y="1019394"/>
                    <a:pt x="1099398" y="1023951"/>
                  </a:cubicBezTo>
                  <a:cubicBezTo>
                    <a:pt x="1108512" y="1033065"/>
                    <a:pt x="1099398" y="1045218"/>
                    <a:pt x="1093322" y="1048256"/>
                  </a:cubicBezTo>
                  <a:lnTo>
                    <a:pt x="1082478" y="1050628"/>
                  </a:lnTo>
                  <a:lnTo>
                    <a:pt x="1080771" y="1050628"/>
                  </a:lnTo>
                  <a:lnTo>
                    <a:pt x="1069017" y="1042180"/>
                  </a:lnTo>
                  <a:cubicBezTo>
                    <a:pt x="1062941" y="1030027"/>
                    <a:pt x="1065979" y="1023951"/>
                    <a:pt x="1075093" y="1017875"/>
                  </a:cubicBezTo>
                  <a:cubicBezTo>
                    <a:pt x="1078131" y="1014837"/>
                    <a:pt x="1081929" y="1014077"/>
                    <a:pt x="1086106" y="1015217"/>
                  </a:cubicBezTo>
                  <a:close/>
                  <a:moveTo>
                    <a:pt x="1313961" y="1009141"/>
                  </a:moveTo>
                  <a:cubicBezTo>
                    <a:pt x="1318139" y="1010280"/>
                    <a:pt x="1322696" y="1013318"/>
                    <a:pt x="1327253" y="1017875"/>
                  </a:cubicBezTo>
                  <a:cubicBezTo>
                    <a:pt x="1336367" y="1026989"/>
                    <a:pt x="1327253" y="1039142"/>
                    <a:pt x="1321177" y="1042180"/>
                  </a:cubicBezTo>
                  <a:cubicBezTo>
                    <a:pt x="1315101" y="1045218"/>
                    <a:pt x="1302948" y="1048256"/>
                    <a:pt x="1296872" y="1036104"/>
                  </a:cubicBezTo>
                  <a:cubicBezTo>
                    <a:pt x="1290796" y="1023951"/>
                    <a:pt x="1293834" y="1017875"/>
                    <a:pt x="1302948" y="1011799"/>
                  </a:cubicBezTo>
                  <a:cubicBezTo>
                    <a:pt x="1305986" y="1008761"/>
                    <a:pt x="1309784" y="1008001"/>
                    <a:pt x="1313961" y="1009141"/>
                  </a:cubicBezTo>
                  <a:close/>
                  <a:moveTo>
                    <a:pt x="2337788" y="996989"/>
                  </a:moveTo>
                  <a:cubicBezTo>
                    <a:pt x="2341966" y="998128"/>
                    <a:pt x="2346523" y="1001166"/>
                    <a:pt x="2351080" y="1005723"/>
                  </a:cubicBezTo>
                  <a:cubicBezTo>
                    <a:pt x="2360194" y="1014837"/>
                    <a:pt x="2354118" y="1023952"/>
                    <a:pt x="2345004" y="1030028"/>
                  </a:cubicBezTo>
                  <a:cubicBezTo>
                    <a:pt x="2338927" y="1033066"/>
                    <a:pt x="2326775" y="1036104"/>
                    <a:pt x="2320699" y="1023952"/>
                  </a:cubicBezTo>
                  <a:cubicBezTo>
                    <a:pt x="2314623" y="1008761"/>
                    <a:pt x="2317661" y="1002685"/>
                    <a:pt x="2326775" y="999647"/>
                  </a:cubicBezTo>
                  <a:cubicBezTo>
                    <a:pt x="2329813" y="996609"/>
                    <a:pt x="2333611" y="995849"/>
                    <a:pt x="2337788" y="996989"/>
                  </a:cubicBezTo>
                  <a:close/>
                  <a:moveTo>
                    <a:pt x="1429407" y="990912"/>
                  </a:moveTo>
                  <a:cubicBezTo>
                    <a:pt x="1433585" y="992051"/>
                    <a:pt x="1438142" y="995089"/>
                    <a:pt x="1442699" y="999646"/>
                  </a:cubicBezTo>
                  <a:cubicBezTo>
                    <a:pt x="1451813" y="1008760"/>
                    <a:pt x="1445737" y="1017875"/>
                    <a:pt x="1436623" y="1023951"/>
                  </a:cubicBezTo>
                  <a:cubicBezTo>
                    <a:pt x="1430547" y="1026989"/>
                    <a:pt x="1418394" y="1030027"/>
                    <a:pt x="1412318" y="1017875"/>
                  </a:cubicBezTo>
                  <a:cubicBezTo>
                    <a:pt x="1406242" y="1005722"/>
                    <a:pt x="1409280" y="996608"/>
                    <a:pt x="1418394" y="993570"/>
                  </a:cubicBezTo>
                  <a:cubicBezTo>
                    <a:pt x="1421432" y="990532"/>
                    <a:pt x="1425230" y="989772"/>
                    <a:pt x="1429407" y="990912"/>
                  </a:cubicBezTo>
                  <a:close/>
                  <a:moveTo>
                    <a:pt x="1672452" y="987874"/>
                  </a:moveTo>
                  <a:cubicBezTo>
                    <a:pt x="1676630" y="989013"/>
                    <a:pt x="1681187" y="992051"/>
                    <a:pt x="1685744" y="996608"/>
                  </a:cubicBezTo>
                  <a:cubicBezTo>
                    <a:pt x="1694858" y="1005722"/>
                    <a:pt x="1688782" y="1014837"/>
                    <a:pt x="1679668" y="1020913"/>
                  </a:cubicBezTo>
                  <a:cubicBezTo>
                    <a:pt x="1673592" y="1023951"/>
                    <a:pt x="1661439" y="1026989"/>
                    <a:pt x="1655363" y="1014837"/>
                  </a:cubicBezTo>
                  <a:cubicBezTo>
                    <a:pt x="1649287" y="1002684"/>
                    <a:pt x="1649287" y="993570"/>
                    <a:pt x="1661439" y="990532"/>
                  </a:cubicBezTo>
                  <a:cubicBezTo>
                    <a:pt x="1664477" y="987494"/>
                    <a:pt x="1668275" y="986734"/>
                    <a:pt x="1672452" y="987874"/>
                  </a:cubicBezTo>
                  <a:close/>
                  <a:moveTo>
                    <a:pt x="1803089" y="975722"/>
                  </a:moveTo>
                  <a:cubicBezTo>
                    <a:pt x="1807266" y="976861"/>
                    <a:pt x="1811824" y="979899"/>
                    <a:pt x="1816381" y="984456"/>
                  </a:cubicBezTo>
                  <a:cubicBezTo>
                    <a:pt x="1825495" y="993570"/>
                    <a:pt x="1819419" y="1002685"/>
                    <a:pt x="1810305" y="1008761"/>
                  </a:cubicBezTo>
                  <a:cubicBezTo>
                    <a:pt x="1804228" y="1011799"/>
                    <a:pt x="1792076" y="1014837"/>
                    <a:pt x="1786000" y="1002685"/>
                  </a:cubicBezTo>
                  <a:cubicBezTo>
                    <a:pt x="1779924" y="987494"/>
                    <a:pt x="1782962" y="981418"/>
                    <a:pt x="1792076" y="978380"/>
                  </a:cubicBezTo>
                  <a:cubicBezTo>
                    <a:pt x="1795114" y="975342"/>
                    <a:pt x="1798912" y="974582"/>
                    <a:pt x="1803089" y="975722"/>
                  </a:cubicBezTo>
                  <a:close/>
                  <a:moveTo>
                    <a:pt x="2030944" y="969646"/>
                  </a:moveTo>
                  <a:cubicBezTo>
                    <a:pt x="2035121" y="970785"/>
                    <a:pt x="2039679" y="973823"/>
                    <a:pt x="2044236" y="978380"/>
                  </a:cubicBezTo>
                  <a:cubicBezTo>
                    <a:pt x="2053350" y="987494"/>
                    <a:pt x="2047274" y="996609"/>
                    <a:pt x="2038160" y="1002685"/>
                  </a:cubicBezTo>
                  <a:cubicBezTo>
                    <a:pt x="2032083" y="1005723"/>
                    <a:pt x="2019931" y="1008761"/>
                    <a:pt x="2013855" y="996609"/>
                  </a:cubicBezTo>
                  <a:cubicBezTo>
                    <a:pt x="2007779" y="981418"/>
                    <a:pt x="2010817" y="975342"/>
                    <a:pt x="2019931" y="972304"/>
                  </a:cubicBezTo>
                  <a:cubicBezTo>
                    <a:pt x="2022969" y="969266"/>
                    <a:pt x="2026767" y="968506"/>
                    <a:pt x="2030944" y="969646"/>
                  </a:cubicBezTo>
                  <a:close/>
                  <a:moveTo>
                    <a:pt x="405581" y="966608"/>
                  </a:moveTo>
                  <a:cubicBezTo>
                    <a:pt x="409759" y="967747"/>
                    <a:pt x="414316" y="970785"/>
                    <a:pt x="418873" y="975342"/>
                  </a:cubicBezTo>
                  <a:cubicBezTo>
                    <a:pt x="427987" y="984456"/>
                    <a:pt x="418873" y="996609"/>
                    <a:pt x="412797" y="999647"/>
                  </a:cubicBezTo>
                  <a:cubicBezTo>
                    <a:pt x="406721" y="1002685"/>
                    <a:pt x="394568" y="1005723"/>
                    <a:pt x="388492" y="993571"/>
                  </a:cubicBezTo>
                  <a:cubicBezTo>
                    <a:pt x="382416" y="978380"/>
                    <a:pt x="385454" y="972304"/>
                    <a:pt x="394568" y="969266"/>
                  </a:cubicBezTo>
                  <a:cubicBezTo>
                    <a:pt x="397606" y="966228"/>
                    <a:pt x="401404" y="965468"/>
                    <a:pt x="405581" y="966608"/>
                  </a:cubicBezTo>
                  <a:close/>
                  <a:moveTo>
                    <a:pt x="2225380" y="957494"/>
                  </a:moveTo>
                  <a:cubicBezTo>
                    <a:pt x="2229557" y="958633"/>
                    <a:pt x="2234114" y="961671"/>
                    <a:pt x="2238671" y="966228"/>
                  </a:cubicBezTo>
                  <a:cubicBezTo>
                    <a:pt x="2247785" y="975342"/>
                    <a:pt x="2241709" y="984457"/>
                    <a:pt x="2232595" y="990533"/>
                  </a:cubicBezTo>
                  <a:cubicBezTo>
                    <a:pt x="2226519" y="993571"/>
                    <a:pt x="2214366" y="996609"/>
                    <a:pt x="2208290" y="984457"/>
                  </a:cubicBezTo>
                  <a:cubicBezTo>
                    <a:pt x="2202214" y="969266"/>
                    <a:pt x="2202214" y="963190"/>
                    <a:pt x="2214366" y="960152"/>
                  </a:cubicBezTo>
                  <a:cubicBezTo>
                    <a:pt x="2217405" y="957114"/>
                    <a:pt x="2221202" y="956354"/>
                    <a:pt x="2225380" y="957494"/>
                  </a:cubicBezTo>
                  <a:close/>
                  <a:moveTo>
                    <a:pt x="1927649" y="954456"/>
                  </a:moveTo>
                  <a:cubicBezTo>
                    <a:pt x="1931827" y="955595"/>
                    <a:pt x="1936384" y="958633"/>
                    <a:pt x="1940941" y="963190"/>
                  </a:cubicBezTo>
                  <a:cubicBezTo>
                    <a:pt x="1950055" y="972304"/>
                    <a:pt x="1940941" y="984457"/>
                    <a:pt x="1934865" y="987495"/>
                  </a:cubicBezTo>
                  <a:cubicBezTo>
                    <a:pt x="1928788" y="990533"/>
                    <a:pt x="1916636" y="993571"/>
                    <a:pt x="1910560" y="981419"/>
                  </a:cubicBezTo>
                  <a:cubicBezTo>
                    <a:pt x="1904484" y="969266"/>
                    <a:pt x="1907522" y="963190"/>
                    <a:pt x="1916636" y="957114"/>
                  </a:cubicBezTo>
                  <a:cubicBezTo>
                    <a:pt x="1919674" y="954076"/>
                    <a:pt x="1923472" y="953316"/>
                    <a:pt x="1927649" y="954456"/>
                  </a:cubicBezTo>
                  <a:close/>
                  <a:moveTo>
                    <a:pt x="244564" y="954456"/>
                  </a:moveTo>
                  <a:cubicBezTo>
                    <a:pt x="248742" y="955595"/>
                    <a:pt x="253299" y="958633"/>
                    <a:pt x="257856" y="963190"/>
                  </a:cubicBezTo>
                  <a:cubicBezTo>
                    <a:pt x="266970" y="972304"/>
                    <a:pt x="257856" y="984457"/>
                    <a:pt x="251780" y="987495"/>
                  </a:cubicBezTo>
                  <a:cubicBezTo>
                    <a:pt x="245703" y="990533"/>
                    <a:pt x="233551" y="993571"/>
                    <a:pt x="227475" y="981419"/>
                  </a:cubicBezTo>
                  <a:cubicBezTo>
                    <a:pt x="221399" y="969266"/>
                    <a:pt x="224437" y="963190"/>
                    <a:pt x="233551" y="957114"/>
                  </a:cubicBezTo>
                  <a:cubicBezTo>
                    <a:pt x="236589" y="954076"/>
                    <a:pt x="240387" y="953316"/>
                    <a:pt x="244564" y="954456"/>
                  </a:cubicBezTo>
                  <a:close/>
                  <a:moveTo>
                    <a:pt x="2431968" y="951418"/>
                  </a:moveTo>
                  <a:cubicBezTo>
                    <a:pt x="2436146" y="952557"/>
                    <a:pt x="2440703" y="955595"/>
                    <a:pt x="2445260" y="960152"/>
                  </a:cubicBezTo>
                  <a:cubicBezTo>
                    <a:pt x="2454374" y="969266"/>
                    <a:pt x="2448298" y="978381"/>
                    <a:pt x="2439184" y="984457"/>
                  </a:cubicBezTo>
                  <a:cubicBezTo>
                    <a:pt x="2433108" y="987495"/>
                    <a:pt x="2420955" y="990533"/>
                    <a:pt x="2414879" y="978381"/>
                  </a:cubicBezTo>
                  <a:cubicBezTo>
                    <a:pt x="2408803" y="963190"/>
                    <a:pt x="2411841" y="957114"/>
                    <a:pt x="2420955" y="954076"/>
                  </a:cubicBezTo>
                  <a:cubicBezTo>
                    <a:pt x="2423993" y="951038"/>
                    <a:pt x="2427791" y="950278"/>
                    <a:pt x="2431968" y="951418"/>
                  </a:cubicBezTo>
                  <a:close/>
                  <a:moveTo>
                    <a:pt x="1553968" y="948380"/>
                  </a:moveTo>
                  <a:cubicBezTo>
                    <a:pt x="1558145" y="949519"/>
                    <a:pt x="1562702" y="952557"/>
                    <a:pt x="1567259" y="957114"/>
                  </a:cubicBezTo>
                  <a:cubicBezTo>
                    <a:pt x="1576374" y="966228"/>
                    <a:pt x="1570298" y="975343"/>
                    <a:pt x="1561183" y="981419"/>
                  </a:cubicBezTo>
                  <a:cubicBezTo>
                    <a:pt x="1555107" y="984457"/>
                    <a:pt x="1542955" y="987495"/>
                    <a:pt x="1536879" y="975343"/>
                  </a:cubicBezTo>
                  <a:cubicBezTo>
                    <a:pt x="1530803" y="963190"/>
                    <a:pt x="1536879" y="957114"/>
                    <a:pt x="1542955" y="951038"/>
                  </a:cubicBezTo>
                  <a:cubicBezTo>
                    <a:pt x="1545993" y="948000"/>
                    <a:pt x="1549791" y="947240"/>
                    <a:pt x="1553968" y="948380"/>
                  </a:cubicBezTo>
                  <a:close/>
                  <a:moveTo>
                    <a:pt x="1222819" y="933189"/>
                  </a:moveTo>
                  <a:cubicBezTo>
                    <a:pt x="1226997" y="934328"/>
                    <a:pt x="1231554" y="937366"/>
                    <a:pt x="1236111" y="941923"/>
                  </a:cubicBezTo>
                  <a:cubicBezTo>
                    <a:pt x="1245225" y="951037"/>
                    <a:pt x="1239149" y="960152"/>
                    <a:pt x="1230035" y="966228"/>
                  </a:cubicBezTo>
                  <a:cubicBezTo>
                    <a:pt x="1223959" y="969266"/>
                    <a:pt x="1211806" y="972304"/>
                    <a:pt x="1205730" y="960152"/>
                  </a:cubicBezTo>
                  <a:cubicBezTo>
                    <a:pt x="1199654" y="947999"/>
                    <a:pt x="1202692" y="938885"/>
                    <a:pt x="1211806" y="935847"/>
                  </a:cubicBezTo>
                  <a:cubicBezTo>
                    <a:pt x="1214844" y="932809"/>
                    <a:pt x="1218642" y="932049"/>
                    <a:pt x="1222819" y="933189"/>
                  </a:cubicBezTo>
                  <a:close/>
                  <a:moveTo>
                    <a:pt x="1031421" y="930151"/>
                  </a:moveTo>
                  <a:cubicBezTo>
                    <a:pt x="1035599" y="931290"/>
                    <a:pt x="1040156" y="934328"/>
                    <a:pt x="1044713" y="938885"/>
                  </a:cubicBezTo>
                  <a:cubicBezTo>
                    <a:pt x="1053827" y="947999"/>
                    <a:pt x="1047751" y="957114"/>
                    <a:pt x="1038637" y="963190"/>
                  </a:cubicBezTo>
                  <a:cubicBezTo>
                    <a:pt x="1032561" y="966228"/>
                    <a:pt x="1020408" y="969266"/>
                    <a:pt x="1014332" y="957114"/>
                  </a:cubicBezTo>
                  <a:cubicBezTo>
                    <a:pt x="1008256" y="941923"/>
                    <a:pt x="1011294" y="935847"/>
                    <a:pt x="1020408" y="932809"/>
                  </a:cubicBezTo>
                  <a:cubicBezTo>
                    <a:pt x="1023446" y="929771"/>
                    <a:pt x="1027244" y="929011"/>
                    <a:pt x="1031421" y="930151"/>
                  </a:cubicBezTo>
                  <a:close/>
                  <a:moveTo>
                    <a:pt x="931165" y="930151"/>
                  </a:moveTo>
                  <a:cubicBezTo>
                    <a:pt x="935343" y="931290"/>
                    <a:pt x="939900" y="934328"/>
                    <a:pt x="944457" y="938885"/>
                  </a:cubicBezTo>
                  <a:cubicBezTo>
                    <a:pt x="953571" y="947999"/>
                    <a:pt x="947495" y="957114"/>
                    <a:pt x="938381" y="963190"/>
                  </a:cubicBezTo>
                  <a:cubicBezTo>
                    <a:pt x="932305" y="966228"/>
                    <a:pt x="920152" y="969266"/>
                    <a:pt x="914076" y="957114"/>
                  </a:cubicBezTo>
                  <a:cubicBezTo>
                    <a:pt x="908000" y="944961"/>
                    <a:pt x="911038" y="935847"/>
                    <a:pt x="920152" y="932809"/>
                  </a:cubicBezTo>
                  <a:cubicBezTo>
                    <a:pt x="923190" y="929771"/>
                    <a:pt x="926988" y="929011"/>
                    <a:pt x="931165" y="930151"/>
                  </a:cubicBezTo>
                  <a:close/>
                  <a:moveTo>
                    <a:pt x="123041" y="930151"/>
                  </a:moveTo>
                  <a:cubicBezTo>
                    <a:pt x="127219" y="931290"/>
                    <a:pt x="131776" y="934328"/>
                    <a:pt x="136333" y="938885"/>
                  </a:cubicBezTo>
                  <a:cubicBezTo>
                    <a:pt x="145447" y="947999"/>
                    <a:pt x="139371" y="957114"/>
                    <a:pt x="130257" y="963190"/>
                  </a:cubicBezTo>
                  <a:cubicBezTo>
                    <a:pt x="124181" y="966228"/>
                    <a:pt x="112028" y="969266"/>
                    <a:pt x="105952" y="957114"/>
                  </a:cubicBezTo>
                  <a:cubicBezTo>
                    <a:pt x="99876" y="944961"/>
                    <a:pt x="99876" y="935847"/>
                    <a:pt x="112028" y="932809"/>
                  </a:cubicBezTo>
                  <a:cubicBezTo>
                    <a:pt x="115066" y="929771"/>
                    <a:pt x="118864" y="929011"/>
                    <a:pt x="123041" y="930151"/>
                  </a:cubicBezTo>
                  <a:close/>
                  <a:moveTo>
                    <a:pt x="524065" y="917999"/>
                  </a:moveTo>
                  <a:cubicBezTo>
                    <a:pt x="528243" y="919138"/>
                    <a:pt x="532800" y="922176"/>
                    <a:pt x="537357" y="926733"/>
                  </a:cubicBezTo>
                  <a:cubicBezTo>
                    <a:pt x="546471" y="935847"/>
                    <a:pt x="540395" y="944962"/>
                    <a:pt x="531281" y="951038"/>
                  </a:cubicBezTo>
                  <a:cubicBezTo>
                    <a:pt x="525204" y="954076"/>
                    <a:pt x="513052" y="957114"/>
                    <a:pt x="506976" y="944962"/>
                  </a:cubicBezTo>
                  <a:cubicBezTo>
                    <a:pt x="500900" y="932809"/>
                    <a:pt x="500900" y="926733"/>
                    <a:pt x="513052" y="920657"/>
                  </a:cubicBezTo>
                  <a:cubicBezTo>
                    <a:pt x="516090" y="917619"/>
                    <a:pt x="519888" y="916859"/>
                    <a:pt x="524065" y="917999"/>
                  </a:cubicBezTo>
                  <a:close/>
                  <a:moveTo>
                    <a:pt x="824833" y="911923"/>
                  </a:moveTo>
                  <a:cubicBezTo>
                    <a:pt x="829011" y="913062"/>
                    <a:pt x="833568" y="916100"/>
                    <a:pt x="838125" y="920657"/>
                  </a:cubicBezTo>
                  <a:cubicBezTo>
                    <a:pt x="847239" y="929771"/>
                    <a:pt x="841163" y="938886"/>
                    <a:pt x="832049" y="944962"/>
                  </a:cubicBezTo>
                  <a:cubicBezTo>
                    <a:pt x="825973" y="948000"/>
                    <a:pt x="813820" y="951038"/>
                    <a:pt x="807744" y="938886"/>
                  </a:cubicBezTo>
                  <a:cubicBezTo>
                    <a:pt x="801668" y="926733"/>
                    <a:pt x="801668" y="920657"/>
                    <a:pt x="813820" y="914581"/>
                  </a:cubicBezTo>
                  <a:cubicBezTo>
                    <a:pt x="816858" y="911543"/>
                    <a:pt x="820656" y="910783"/>
                    <a:pt x="824833" y="911923"/>
                  </a:cubicBezTo>
                  <a:close/>
                  <a:moveTo>
                    <a:pt x="2137276" y="905847"/>
                  </a:moveTo>
                  <a:cubicBezTo>
                    <a:pt x="2141453" y="906986"/>
                    <a:pt x="2146010" y="910024"/>
                    <a:pt x="2150567" y="914581"/>
                  </a:cubicBezTo>
                  <a:cubicBezTo>
                    <a:pt x="2159682" y="923695"/>
                    <a:pt x="2153605" y="932810"/>
                    <a:pt x="2144491" y="938886"/>
                  </a:cubicBezTo>
                  <a:cubicBezTo>
                    <a:pt x="2138415" y="941924"/>
                    <a:pt x="2126263" y="944962"/>
                    <a:pt x="2120187" y="932810"/>
                  </a:cubicBezTo>
                  <a:cubicBezTo>
                    <a:pt x="2114111" y="917619"/>
                    <a:pt x="2120187" y="914581"/>
                    <a:pt x="2126263" y="908505"/>
                  </a:cubicBezTo>
                  <a:cubicBezTo>
                    <a:pt x="2129301" y="905467"/>
                    <a:pt x="2133099" y="904707"/>
                    <a:pt x="2137276" y="905847"/>
                  </a:cubicBezTo>
                  <a:close/>
                  <a:moveTo>
                    <a:pt x="630397" y="905847"/>
                  </a:moveTo>
                  <a:cubicBezTo>
                    <a:pt x="634575" y="906986"/>
                    <a:pt x="639132" y="910024"/>
                    <a:pt x="643689" y="914581"/>
                  </a:cubicBezTo>
                  <a:cubicBezTo>
                    <a:pt x="652803" y="923695"/>
                    <a:pt x="646727" y="932810"/>
                    <a:pt x="637613" y="938886"/>
                  </a:cubicBezTo>
                  <a:cubicBezTo>
                    <a:pt x="631537" y="941924"/>
                    <a:pt x="619384" y="944962"/>
                    <a:pt x="613308" y="932810"/>
                  </a:cubicBezTo>
                  <a:cubicBezTo>
                    <a:pt x="607232" y="917619"/>
                    <a:pt x="610270" y="911543"/>
                    <a:pt x="619384" y="908505"/>
                  </a:cubicBezTo>
                  <a:cubicBezTo>
                    <a:pt x="622422" y="905467"/>
                    <a:pt x="626220" y="904707"/>
                    <a:pt x="630397" y="905847"/>
                  </a:cubicBezTo>
                  <a:close/>
                  <a:moveTo>
                    <a:pt x="1332189" y="896733"/>
                  </a:moveTo>
                  <a:cubicBezTo>
                    <a:pt x="1336367" y="897872"/>
                    <a:pt x="1340924" y="900910"/>
                    <a:pt x="1345481" y="905467"/>
                  </a:cubicBezTo>
                  <a:cubicBezTo>
                    <a:pt x="1354595" y="914581"/>
                    <a:pt x="1348519" y="923696"/>
                    <a:pt x="1339405" y="929772"/>
                  </a:cubicBezTo>
                  <a:cubicBezTo>
                    <a:pt x="1333328" y="932810"/>
                    <a:pt x="1321176" y="935848"/>
                    <a:pt x="1315100" y="923696"/>
                  </a:cubicBezTo>
                  <a:cubicBezTo>
                    <a:pt x="1309024" y="911543"/>
                    <a:pt x="1312062" y="902429"/>
                    <a:pt x="1321176" y="899391"/>
                  </a:cubicBezTo>
                  <a:cubicBezTo>
                    <a:pt x="1324214" y="896353"/>
                    <a:pt x="1328012" y="895593"/>
                    <a:pt x="1332189" y="896733"/>
                  </a:cubicBezTo>
                  <a:close/>
                  <a:moveTo>
                    <a:pt x="724577" y="890656"/>
                  </a:moveTo>
                  <a:cubicBezTo>
                    <a:pt x="728755" y="891795"/>
                    <a:pt x="733312" y="894833"/>
                    <a:pt x="737869" y="899390"/>
                  </a:cubicBezTo>
                  <a:cubicBezTo>
                    <a:pt x="746983" y="908504"/>
                    <a:pt x="740907" y="917619"/>
                    <a:pt x="731793" y="923695"/>
                  </a:cubicBezTo>
                  <a:cubicBezTo>
                    <a:pt x="725716" y="926733"/>
                    <a:pt x="713564" y="929771"/>
                    <a:pt x="707488" y="917619"/>
                  </a:cubicBezTo>
                  <a:cubicBezTo>
                    <a:pt x="701412" y="902428"/>
                    <a:pt x="704450" y="896352"/>
                    <a:pt x="713564" y="893314"/>
                  </a:cubicBezTo>
                  <a:cubicBezTo>
                    <a:pt x="716602" y="890276"/>
                    <a:pt x="720400" y="889516"/>
                    <a:pt x="724577" y="890656"/>
                  </a:cubicBezTo>
                  <a:close/>
                  <a:moveTo>
                    <a:pt x="1435484" y="884580"/>
                  </a:moveTo>
                  <a:cubicBezTo>
                    <a:pt x="1439662" y="885719"/>
                    <a:pt x="1444219" y="888757"/>
                    <a:pt x="1448776" y="893314"/>
                  </a:cubicBezTo>
                  <a:cubicBezTo>
                    <a:pt x="1457890" y="902428"/>
                    <a:pt x="1451814" y="911543"/>
                    <a:pt x="1442700" y="917619"/>
                  </a:cubicBezTo>
                  <a:cubicBezTo>
                    <a:pt x="1436624" y="920657"/>
                    <a:pt x="1424471" y="923695"/>
                    <a:pt x="1418395" y="911543"/>
                  </a:cubicBezTo>
                  <a:cubicBezTo>
                    <a:pt x="1412319" y="899390"/>
                    <a:pt x="1415357" y="890276"/>
                    <a:pt x="1424471" y="887238"/>
                  </a:cubicBezTo>
                  <a:cubicBezTo>
                    <a:pt x="1427509" y="884200"/>
                    <a:pt x="1431307" y="883440"/>
                    <a:pt x="1435484" y="884580"/>
                  </a:cubicBezTo>
                  <a:close/>
                  <a:moveTo>
                    <a:pt x="1131677" y="884580"/>
                  </a:moveTo>
                  <a:cubicBezTo>
                    <a:pt x="1135855" y="885719"/>
                    <a:pt x="1140412" y="888757"/>
                    <a:pt x="1144969" y="893314"/>
                  </a:cubicBezTo>
                  <a:cubicBezTo>
                    <a:pt x="1154083" y="902428"/>
                    <a:pt x="1144969" y="914581"/>
                    <a:pt x="1138893" y="917619"/>
                  </a:cubicBezTo>
                  <a:cubicBezTo>
                    <a:pt x="1132817" y="920657"/>
                    <a:pt x="1120664" y="923695"/>
                    <a:pt x="1114588" y="911543"/>
                  </a:cubicBezTo>
                  <a:cubicBezTo>
                    <a:pt x="1108512" y="896352"/>
                    <a:pt x="1111550" y="890276"/>
                    <a:pt x="1120664" y="887238"/>
                  </a:cubicBezTo>
                  <a:cubicBezTo>
                    <a:pt x="1123702" y="884200"/>
                    <a:pt x="1127500" y="883440"/>
                    <a:pt x="1131677" y="884580"/>
                  </a:cubicBezTo>
                  <a:close/>
                  <a:moveTo>
                    <a:pt x="1757518" y="881542"/>
                  </a:moveTo>
                  <a:cubicBezTo>
                    <a:pt x="1761695" y="882681"/>
                    <a:pt x="1766253" y="885719"/>
                    <a:pt x="1770810" y="890276"/>
                  </a:cubicBezTo>
                  <a:cubicBezTo>
                    <a:pt x="1779924" y="899390"/>
                    <a:pt x="1773848" y="908505"/>
                    <a:pt x="1764734" y="914581"/>
                  </a:cubicBezTo>
                  <a:cubicBezTo>
                    <a:pt x="1758657" y="917619"/>
                    <a:pt x="1746505" y="920657"/>
                    <a:pt x="1740429" y="908505"/>
                  </a:cubicBezTo>
                  <a:cubicBezTo>
                    <a:pt x="1734353" y="896352"/>
                    <a:pt x="1734353" y="890276"/>
                    <a:pt x="1746505" y="884200"/>
                  </a:cubicBezTo>
                  <a:cubicBezTo>
                    <a:pt x="1749543" y="881162"/>
                    <a:pt x="1753341" y="880402"/>
                    <a:pt x="1757518" y="881542"/>
                  </a:cubicBezTo>
                  <a:close/>
                  <a:moveTo>
                    <a:pt x="1654224" y="881542"/>
                  </a:moveTo>
                  <a:cubicBezTo>
                    <a:pt x="1658402" y="882681"/>
                    <a:pt x="1662959" y="885719"/>
                    <a:pt x="1667516" y="890276"/>
                  </a:cubicBezTo>
                  <a:cubicBezTo>
                    <a:pt x="1676630" y="899390"/>
                    <a:pt x="1670554" y="908505"/>
                    <a:pt x="1661440" y="914581"/>
                  </a:cubicBezTo>
                  <a:cubicBezTo>
                    <a:pt x="1655364" y="917619"/>
                    <a:pt x="1643211" y="920657"/>
                    <a:pt x="1637135" y="908505"/>
                  </a:cubicBezTo>
                  <a:cubicBezTo>
                    <a:pt x="1631059" y="896352"/>
                    <a:pt x="1634097" y="890276"/>
                    <a:pt x="1643211" y="884200"/>
                  </a:cubicBezTo>
                  <a:cubicBezTo>
                    <a:pt x="1646249" y="881162"/>
                    <a:pt x="1650047" y="880402"/>
                    <a:pt x="1654224" y="881542"/>
                  </a:cubicBezTo>
                  <a:close/>
                  <a:moveTo>
                    <a:pt x="2346903" y="878504"/>
                  </a:moveTo>
                  <a:cubicBezTo>
                    <a:pt x="2351080" y="879643"/>
                    <a:pt x="2355637" y="882681"/>
                    <a:pt x="2360194" y="887238"/>
                  </a:cubicBezTo>
                  <a:cubicBezTo>
                    <a:pt x="2369308" y="896352"/>
                    <a:pt x="2363232" y="905467"/>
                    <a:pt x="2354118" y="911543"/>
                  </a:cubicBezTo>
                  <a:cubicBezTo>
                    <a:pt x="2348042" y="914581"/>
                    <a:pt x="2335889" y="917619"/>
                    <a:pt x="2329813" y="905467"/>
                  </a:cubicBezTo>
                  <a:cubicBezTo>
                    <a:pt x="2323737" y="893314"/>
                    <a:pt x="2326775" y="887238"/>
                    <a:pt x="2335889" y="881162"/>
                  </a:cubicBezTo>
                  <a:cubicBezTo>
                    <a:pt x="2338928" y="878124"/>
                    <a:pt x="2342725" y="877364"/>
                    <a:pt x="2346903" y="878504"/>
                  </a:cubicBezTo>
                  <a:close/>
                  <a:moveTo>
                    <a:pt x="320515" y="872428"/>
                  </a:moveTo>
                  <a:cubicBezTo>
                    <a:pt x="324693" y="873567"/>
                    <a:pt x="329250" y="876605"/>
                    <a:pt x="333807" y="881162"/>
                  </a:cubicBezTo>
                  <a:cubicBezTo>
                    <a:pt x="342921" y="890276"/>
                    <a:pt x="336845" y="899391"/>
                    <a:pt x="327731" y="905467"/>
                  </a:cubicBezTo>
                  <a:cubicBezTo>
                    <a:pt x="321654" y="908505"/>
                    <a:pt x="309502" y="911543"/>
                    <a:pt x="303426" y="899391"/>
                  </a:cubicBezTo>
                  <a:cubicBezTo>
                    <a:pt x="297350" y="887238"/>
                    <a:pt x="300388" y="881162"/>
                    <a:pt x="309502" y="875086"/>
                  </a:cubicBezTo>
                  <a:cubicBezTo>
                    <a:pt x="312540" y="872048"/>
                    <a:pt x="316338" y="871288"/>
                    <a:pt x="320515" y="872428"/>
                  </a:cubicBezTo>
                  <a:close/>
                  <a:moveTo>
                    <a:pt x="1876003" y="866352"/>
                  </a:moveTo>
                  <a:cubicBezTo>
                    <a:pt x="1880180" y="867491"/>
                    <a:pt x="1884737" y="870529"/>
                    <a:pt x="1889294" y="875086"/>
                  </a:cubicBezTo>
                  <a:cubicBezTo>
                    <a:pt x="1898408" y="884200"/>
                    <a:pt x="1889294" y="896353"/>
                    <a:pt x="1883218" y="899391"/>
                  </a:cubicBezTo>
                  <a:cubicBezTo>
                    <a:pt x="1877142" y="902429"/>
                    <a:pt x="1864989" y="905467"/>
                    <a:pt x="1858913" y="893315"/>
                  </a:cubicBezTo>
                  <a:cubicBezTo>
                    <a:pt x="1852837" y="878124"/>
                    <a:pt x="1855875" y="872048"/>
                    <a:pt x="1864989" y="869010"/>
                  </a:cubicBezTo>
                  <a:cubicBezTo>
                    <a:pt x="1868028" y="865972"/>
                    <a:pt x="1871825" y="865212"/>
                    <a:pt x="1876003" y="866352"/>
                  </a:cubicBezTo>
                  <a:close/>
                  <a:moveTo>
                    <a:pt x="2000563" y="857238"/>
                  </a:moveTo>
                  <a:cubicBezTo>
                    <a:pt x="2004740" y="858377"/>
                    <a:pt x="2009298" y="861415"/>
                    <a:pt x="2013855" y="865972"/>
                  </a:cubicBezTo>
                  <a:cubicBezTo>
                    <a:pt x="2022969" y="875086"/>
                    <a:pt x="2013855" y="887239"/>
                    <a:pt x="2007779" y="890277"/>
                  </a:cubicBezTo>
                  <a:cubicBezTo>
                    <a:pt x="2001702" y="893315"/>
                    <a:pt x="1989550" y="896353"/>
                    <a:pt x="1983474" y="884201"/>
                  </a:cubicBezTo>
                  <a:cubicBezTo>
                    <a:pt x="1977398" y="872048"/>
                    <a:pt x="1980436" y="865972"/>
                    <a:pt x="1989550" y="859896"/>
                  </a:cubicBezTo>
                  <a:cubicBezTo>
                    <a:pt x="1992588" y="856858"/>
                    <a:pt x="1996386" y="856098"/>
                    <a:pt x="2000563" y="857238"/>
                  </a:cubicBezTo>
                  <a:close/>
                  <a:moveTo>
                    <a:pt x="420771" y="857238"/>
                  </a:moveTo>
                  <a:cubicBezTo>
                    <a:pt x="424948" y="858377"/>
                    <a:pt x="429505" y="861415"/>
                    <a:pt x="434062" y="865972"/>
                  </a:cubicBezTo>
                  <a:cubicBezTo>
                    <a:pt x="443177" y="875086"/>
                    <a:pt x="437101" y="884201"/>
                    <a:pt x="427986" y="890277"/>
                  </a:cubicBezTo>
                  <a:cubicBezTo>
                    <a:pt x="421910" y="893315"/>
                    <a:pt x="409758" y="896353"/>
                    <a:pt x="403682" y="884201"/>
                  </a:cubicBezTo>
                  <a:cubicBezTo>
                    <a:pt x="397606" y="872048"/>
                    <a:pt x="403682" y="865972"/>
                    <a:pt x="409758" y="859896"/>
                  </a:cubicBezTo>
                  <a:cubicBezTo>
                    <a:pt x="412796" y="856858"/>
                    <a:pt x="416594" y="856098"/>
                    <a:pt x="420771" y="857238"/>
                  </a:cubicBezTo>
                  <a:close/>
                  <a:moveTo>
                    <a:pt x="2237532" y="848124"/>
                  </a:moveTo>
                  <a:cubicBezTo>
                    <a:pt x="2241710" y="849263"/>
                    <a:pt x="2246267" y="852301"/>
                    <a:pt x="2250824" y="856858"/>
                  </a:cubicBezTo>
                  <a:cubicBezTo>
                    <a:pt x="2259938" y="865972"/>
                    <a:pt x="2250824" y="878125"/>
                    <a:pt x="2244748" y="881163"/>
                  </a:cubicBezTo>
                  <a:cubicBezTo>
                    <a:pt x="2238672" y="884201"/>
                    <a:pt x="2226519" y="887239"/>
                    <a:pt x="2220443" y="875087"/>
                  </a:cubicBezTo>
                  <a:cubicBezTo>
                    <a:pt x="2214367" y="859896"/>
                    <a:pt x="2217405" y="853820"/>
                    <a:pt x="2226519" y="850782"/>
                  </a:cubicBezTo>
                  <a:cubicBezTo>
                    <a:pt x="2229557" y="847744"/>
                    <a:pt x="2233355" y="846984"/>
                    <a:pt x="2237532" y="848124"/>
                  </a:cubicBezTo>
                  <a:close/>
                  <a:moveTo>
                    <a:pt x="211145" y="848124"/>
                  </a:moveTo>
                  <a:cubicBezTo>
                    <a:pt x="215322" y="849263"/>
                    <a:pt x="219879" y="852301"/>
                    <a:pt x="224436" y="856858"/>
                  </a:cubicBezTo>
                  <a:cubicBezTo>
                    <a:pt x="233551" y="865972"/>
                    <a:pt x="227475" y="875087"/>
                    <a:pt x="218360" y="881163"/>
                  </a:cubicBezTo>
                  <a:cubicBezTo>
                    <a:pt x="212284" y="884201"/>
                    <a:pt x="200132" y="887239"/>
                    <a:pt x="194056" y="875087"/>
                  </a:cubicBezTo>
                  <a:cubicBezTo>
                    <a:pt x="187980" y="859896"/>
                    <a:pt x="194056" y="856858"/>
                    <a:pt x="200132" y="850782"/>
                  </a:cubicBezTo>
                  <a:cubicBezTo>
                    <a:pt x="203170" y="847744"/>
                    <a:pt x="206967" y="846984"/>
                    <a:pt x="211145" y="848124"/>
                  </a:cubicBezTo>
                  <a:close/>
                  <a:moveTo>
                    <a:pt x="1511435" y="839009"/>
                  </a:moveTo>
                  <a:cubicBezTo>
                    <a:pt x="1515613" y="840148"/>
                    <a:pt x="1520170" y="843186"/>
                    <a:pt x="1524727" y="847743"/>
                  </a:cubicBezTo>
                  <a:cubicBezTo>
                    <a:pt x="1533841" y="856857"/>
                    <a:pt x="1527765" y="865972"/>
                    <a:pt x="1518651" y="872048"/>
                  </a:cubicBezTo>
                  <a:cubicBezTo>
                    <a:pt x="1512575" y="875086"/>
                    <a:pt x="1500422" y="878124"/>
                    <a:pt x="1494346" y="865972"/>
                  </a:cubicBezTo>
                  <a:cubicBezTo>
                    <a:pt x="1488270" y="850781"/>
                    <a:pt x="1491308" y="844705"/>
                    <a:pt x="1500422" y="841667"/>
                  </a:cubicBezTo>
                  <a:cubicBezTo>
                    <a:pt x="1503460" y="838629"/>
                    <a:pt x="1507258" y="837869"/>
                    <a:pt x="1511435" y="839009"/>
                  </a:cubicBezTo>
                  <a:close/>
                  <a:moveTo>
                    <a:pt x="1253200" y="826857"/>
                  </a:moveTo>
                  <a:cubicBezTo>
                    <a:pt x="1257378" y="827996"/>
                    <a:pt x="1261935" y="831034"/>
                    <a:pt x="1266492" y="835591"/>
                  </a:cubicBezTo>
                  <a:cubicBezTo>
                    <a:pt x="1275606" y="844705"/>
                    <a:pt x="1269530" y="853820"/>
                    <a:pt x="1260416" y="859896"/>
                  </a:cubicBezTo>
                  <a:cubicBezTo>
                    <a:pt x="1254340" y="862934"/>
                    <a:pt x="1242187" y="865972"/>
                    <a:pt x="1236111" y="853820"/>
                  </a:cubicBezTo>
                  <a:cubicBezTo>
                    <a:pt x="1230035" y="841667"/>
                    <a:pt x="1233073" y="832553"/>
                    <a:pt x="1242187" y="829515"/>
                  </a:cubicBezTo>
                  <a:cubicBezTo>
                    <a:pt x="1245225" y="826477"/>
                    <a:pt x="1249023" y="825717"/>
                    <a:pt x="1253200" y="826857"/>
                  </a:cubicBezTo>
                  <a:close/>
                  <a:moveTo>
                    <a:pt x="2428930" y="814705"/>
                  </a:moveTo>
                  <a:cubicBezTo>
                    <a:pt x="2433107" y="815844"/>
                    <a:pt x="2437664" y="818882"/>
                    <a:pt x="2442221" y="823439"/>
                  </a:cubicBezTo>
                  <a:cubicBezTo>
                    <a:pt x="2451336" y="832553"/>
                    <a:pt x="2445259" y="841668"/>
                    <a:pt x="2436145" y="847744"/>
                  </a:cubicBezTo>
                  <a:cubicBezTo>
                    <a:pt x="2430069" y="850782"/>
                    <a:pt x="2417917" y="853820"/>
                    <a:pt x="2411841" y="841668"/>
                  </a:cubicBezTo>
                  <a:cubicBezTo>
                    <a:pt x="2405765" y="829515"/>
                    <a:pt x="2411841" y="823439"/>
                    <a:pt x="2417917" y="817363"/>
                  </a:cubicBezTo>
                  <a:cubicBezTo>
                    <a:pt x="2420955" y="814325"/>
                    <a:pt x="2424753" y="813565"/>
                    <a:pt x="2428930" y="814705"/>
                  </a:cubicBezTo>
                  <a:close/>
                  <a:moveTo>
                    <a:pt x="991927" y="814705"/>
                  </a:moveTo>
                  <a:cubicBezTo>
                    <a:pt x="996104" y="815844"/>
                    <a:pt x="1000661" y="818882"/>
                    <a:pt x="1005218" y="823439"/>
                  </a:cubicBezTo>
                  <a:cubicBezTo>
                    <a:pt x="1014333" y="832553"/>
                    <a:pt x="1005218" y="844706"/>
                    <a:pt x="999142" y="847744"/>
                  </a:cubicBezTo>
                  <a:cubicBezTo>
                    <a:pt x="993066" y="850782"/>
                    <a:pt x="980914" y="853820"/>
                    <a:pt x="974838" y="841668"/>
                  </a:cubicBezTo>
                  <a:cubicBezTo>
                    <a:pt x="968762" y="829515"/>
                    <a:pt x="974838" y="823439"/>
                    <a:pt x="980914" y="817363"/>
                  </a:cubicBezTo>
                  <a:cubicBezTo>
                    <a:pt x="983952" y="814325"/>
                    <a:pt x="987750" y="813565"/>
                    <a:pt x="991927" y="814705"/>
                  </a:cubicBezTo>
                  <a:close/>
                  <a:moveTo>
                    <a:pt x="894709" y="814705"/>
                  </a:moveTo>
                  <a:cubicBezTo>
                    <a:pt x="898887" y="815844"/>
                    <a:pt x="903444" y="818882"/>
                    <a:pt x="908001" y="823439"/>
                  </a:cubicBezTo>
                  <a:cubicBezTo>
                    <a:pt x="917115" y="832553"/>
                    <a:pt x="911039" y="841668"/>
                    <a:pt x="901925" y="847744"/>
                  </a:cubicBezTo>
                  <a:cubicBezTo>
                    <a:pt x="895849" y="850782"/>
                    <a:pt x="883696" y="853820"/>
                    <a:pt x="877620" y="841668"/>
                  </a:cubicBezTo>
                  <a:cubicBezTo>
                    <a:pt x="871544" y="829515"/>
                    <a:pt x="874582" y="823439"/>
                    <a:pt x="883696" y="817363"/>
                  </a:cubicBezTo>
                  <a:cubicBezTo>
                    <a:pt x="886734" y="814325"/>
                    <a:pt x="890532" y="813565"/>
                    <a:pt x="894709" y="814705"/>
                  </a:cubicBezTo>
                  <a:close/>
                  <a:moveTo>
                    <a:pt x="2088668" y="805591"/>
                  </a:moveTo>
                  <a:cubicBezTo>
                    <a:pt x="2092845" y="806730"/>
                    <a:pt x="2097402" y="809768"/>
                    <a:pt x="2101959" y="814325"/>
                  </a:cubicBezTo>
                  <a:cubicBezTo>
                    <a:pt x="2111073" y="823439"/>
                    <a:pt x="2104997" y="832554"/>
                    <a:pt x="2095883" y="838630"/>
                  </a:cubicBezTo>
                  <a:cubicBezTo>
                    <a:pt x="2089807" y="841668"/>
                    <a:pt x="2077654" y="844706"/>
                    <a:pt x="2071578" y="832554"/>
                  </a:cubicBezTo>
                  <a:cubicBezTo>
                    <a:pt x="2065502" y="817363"/>
                    <a:pt x="2068540" y="811287"/>
                    <a:pt x="2077654" y="808249"/>
                  </a:cubicBezTo>
                  <a:cubicBezTo>
                    <a:pt x="2080693" y="805211"/>
                    <a:pt x="2084490" y="804451"/>
                    <a:pt x="2088668" y="805591"/>
                  </a:cubicBezTo>
                  <a:close/>
                  <a:moveTo>
                    <a:pt x="575712" y="802553"/>
                  </a:moveTo>
                  <a:cubicBezTo>
                    <a:pt x="579890" y="803692"/>
                    <a:pt x="584447" y="806730"/>
                    <a:pt x="589004" y="811287"/>
                  </a:cubicBezTo>
                  <a:cubicBezTo>
                    <a:pt x="598118" y="820401"/>
                    <a:pt x="589004" y="832554"/>
                    <a:pt x="582928" y="835592"/>
                  </a:cubicBezTo>
                  <a:cubicBezTo>
                    <a:pt x="576852" y="838630"/>
                    <a:pt x="564699" y="841668"/>
                    <a:pt x="558623" y="829516"/>
                  </a:cubicBezTo>
                  <a:cubicBezTo>
                    <a:pt x="552547" y="817363"/>
                    <a:pt x="555585" y="811287"/>
                    <a:pt x="564699" y="805211"/>
                  </a:cubicBezTo>
                  <a:cubicBezTo>
                    <a:pt x="567737" y="802173"/>
                    <a:pt x="571535" y="801413"/>
                    <a:pt x="575712" y="802553"/>
                  </a:cubicBezTo>
                  <a:close/>
                  <a:moveTo>
                    <a:pt x="1602577" y="796477"/>
                  </a:moveTo>
                  <a:cubicBezTo>
                    <a:pt x="1606755" y="797616"/>
                    <a:pt x="1611312" y="800654"/>
                    <a:pt x="1615869" y="805211"/>
                  </a:cubicBezTo>
                  <a:cubicBezTo>
                    <a:pt x="1624983" y="814325"/>
                    <a:pt x="1615869" y="826478"/>
                    <a:pt x="1609793" y="829516"/>
                  </a:cubicBezTo>
                  <a:cubicBezTo>
                    <a:pt x="1603717" y="832554"/>
                    <a:pt x="1591564" y="835592"/>
                    <a:pt x="1585488" y="823440"/>
                  </a:cubicBezTo>
                  <a:cubicBezTo>
                    <a:pt x="1579412" y="811287"/>
                    <a:pt x="1582450" y="805211"/>
                    <a:pt x="1591564" y="799135"/>
                  </a:cubicBezTo>
                  <a:cubicBezTo>
                    <a:pt x="1594602" y="796097"/>
                    <a:pt x="1598400" y="795337"/>
                    <a:pt x="1602577" y="796477"/>
                  </a:cubicBezTo>
                  <a:close/>
                  <a:moveTo>
                    <a:pt x="1104335" y="793438"/>
                  </a:moveTo>
                  <a:cubicBezTo>
                    <a:pt x="1108513" y="794577"/>
                    <a:pt x="1113070" y="797615"/>
                    <a:pt x="1117627" y="802172"/>
                  </a:cubicBezTo>
                  <a:cubicBezTo>
                    <a:pt x="1126741" y="811286"/>
                    <a:pt x="1117627" y="823439"/>
                    <a:pt x="1111551" y="826477"/>
                  </a:cubicBezTo>
                  <a:cubicBezTo>
                    <a:pt x="1105474" y="829515"/>
                    <a:pt x="1093322" y="832553"/>
                    <a:pt x="1087246" y="820401"/>
                  </a:cubicBezTo>
                  <a:cubicBezTo>
                    <a:pt x="1081170" y="805210"/>
                    <a:pt x="1084208" y="799134"/>
                    <a:pt x="1093322" y="796096"/>
                  </a:cubicBezTo>
                  <a:cubicBezTo>
                    <a:pt x="1096360" y="793058"/>
                    <a:pt x="1100158" y="792298"/>
                    <a:pt x="1104335" y="793438"/>
                  </a:cubicBezTo>
                  <a:close/>
                  <a:moveTo>
                    <a:pt x="791415" y="793438"/>
                  </a:moveTo>
                  <a:cubicBezTo>
                    <a:pt x="795593" y="794577"/>
                    <a:pt x="800150" y="797615"/>
                    <a:pt x="804707" y="802172"/>
                  </a:cubicBezTo>
                  <a:cubicBezTo>
                    <a:pt x="813821" y="811286"/>
                    <a:pt x="807745" y="820401"/>
                    <a:pt x="798631" y="826477"/>
                  </a:cubicBezTo>
                  <a:cubicBezTo>
                    <a:pt x="792555" y="829515"/>
                    <a:pt x="780402" y="832553"/>
                    <a:pt x="774326" y="820401"/>
                  </a:cubicBezTo>
                  <a:cubicBezTo>
                    <a:pt x="768250" y="805210"/>
                    <a:pt x="771288" y="799134"/>
                    <a:pt x="780402" y="796096"/>
                  </a:cubicBezTo>
                  <a:cubicBezTo>
                    <a:pt x="783440" y="793058"/>
                    <a:pt x="787238" y="792298"/>
                    <a:pt x="791415" y="793438"/>
                  </a:cubicBezTo>
                  <a:close/>
                  <a:moveTo>
                    <a:pt x="1371684" y="784324"/>
                  </a:moveTo>
                  <a:cubicBezTo>
                    <a:pt x="1375862" y="785463"/>
                    <a:pt x="1380419" y="788501"/>
                    <a:pt x="1384976" y="793058"/>
                  </a:cubicBezTo>
                  <a:cubicBezTo>
                    <a:pt x="1394090" y="802172"/>
                    <a:pt x="1384976" y="814325"/>
                    <a:pt x="1378900" y="817363"/>
                  </a:cubicBezTo>
                  <a:cubicBezTo>
                    <a:pt x="1372824" y="820401"/>
                    <a:pt x="1360671" y="823439"/>
                    <a:pt x="1354595" y="811287"/>
                  </a:cubicBezTo>
                  <a:cubicBezTo>
                    <a:pt x="1348519" y="796096"/>
                    <a:pt x="1351557" y="790020"/>
                    <a:pt x="1360671" y="786982"/>
                  </a:cubicBezTo>
                  <a:cubicBezTo>
                    <a:pt x="1363709" y="783944"/>
                    <a:pt x="1367507" y="783184"/>
                    <a:pt x="1371684" y="784324"/>
                  </a:cubicBezTo>
                  <a:close/>
                  <a:moveTo>
                    <a:pt x="472418" y="781286"/>
                  </a:moveTo>
                  <a:cubicBezTo>
                    <a:pt x="476596" y="782425"/>
                    <a:pt x="481153" y="785463"/>
                    <a:pt x="485710" y="790020"/>
                  </a:cubicBezTo>
                  <a:cubicBezTo>
                    <a:pt x="494824" y="799134"/>
                    <a:pt x="488748" y="808249"/>
                    <a:pt x="479634" y="814325"/>
                  </a:cubicBezTo>
                  <a:cubicBezTo>
                    <a:pt x="473557" y="817363"/>
                    <a:pt x="461405" y="820401"/>
                    <a:pt x="455329" y="808249"/>
                  </a:cubicBezTo>
                  <a:cubicBezTo>
                    <a:pt x="449253" y="796096"/>
                    <a:pt x="452291" y="790020"/>
                    <a:pt x="461405" y="783944"/>
                  </a:cubicBezTo>
                  <a:cubicBezTo>
                    <a:pt x="464443" y="780906"/>
                    <a:pt x="468241" y="780146"/>
                    <a:pt x="472418" y="781286"/>
                  </a:cubicBezTo>
                  <a:close/>
                  <a:moveTo>
                    <a:pt x="1803089" y="778248"/>
                  </a:moveTo>
                  <a:cubicBezTo>
                    <a:pt x="1807266" y="779387"/>
                    <a:pt x="1811824" y="782425"/>
                    <a:pt x="1816381" y="786982"/>
                  </a:cubicBezTo>
                  <a:cubicBezTo>
                    <a:pt x="1825495" y="796096"/>
                    <a:pt x="1816381" y="808249"/>
                    <a:pt x="1810305" y="811287"/>
                  </a:cubicBezTo>
                  <a:cubicBezTo>
                    <a:pt x="1804228" y="814325"/>
                    <a:pt x="1792076" y="817363"/>
                    <a:pt x="1786000" y="805211"/>
                  </a:cubicBezTo>
                  <a:cubicBezTo>
                    <a:pt x="1779924" y="793058"/>
                    <a:pt x="1779924" y="786982"/>
                    <a:pt x="1792076" y="780906"/>
                  </a:cubicBezTo>
                  <a:cubicBezTo>
                    <a:pt x="1795114" y="777868"/>
                    <a:pt x="1798912" y="777108"/>
                    <a:pt x="1803089" y="778248"/>
                  </a:cubicBezTo>
                  <a:close/>
                  <a:moveTo>
                    <a:pt x="675968" y="772172"/>
                  </a:moveTo>
                  <a:cubicBezTo>
                    <a:pt x="680146" y="773311"/>
                    <a:pt x="684703" y="776349"/>
                    <a:pt x="689260" y="780906"/>
                  </a:cubicBezTo>
                  <a:cubicBezTo>
                    <a:pt x="698374" y="790020"/>
                    <a:pt x="689260" y="802173"/>
                    <a:pt x="683184" y="805211"/>
                  </a:cubicBezTo>
                  <a:cubicBezTo>
                    <a:pt x="677107" y="808249"/>
                    <a:pt x="664955" y="811287"/>
                    <a:pt x="658879" y="799135"/>
                  </a:cubicBezTo>
                  <a:cubicBezTo>
                    <a:pt x="652803" y="786982"/>
                    <a:pt x="652803" y="780906"/>
                    <a:pt x="664955" y="774830"/>
                  </a:cubicBezTo>
                  <a:cubicBezTo>
                    <a:pt x="667993" y="771792"/>
                    <a:pt x="671791" y="771032"/>
                    <a:pt x="675968" y="772172"/>
                  </a:cubicBezTo>
                  <a:close/>
                  <a:moveTo>
                    <a:pt x="302287" y="769134"/>
                  </a:moveTo>
                  <a:cubicBezTo>
                    <a:pt x="306465" y="770273"/>
                    <a:pt x="311022" y="773311"/>
                    <a:pt x="315579" y="777868"/>
                  </a:cubicBezTo>
                  <a:cubicBezTo>
                    <a:pt x="324693" y="786982"/>
                    <a:pt x="318617" y="796097"/>
                    <a:pt x="309503" y="802173"/>
                  </a:cubicBezTo>
                  <a:cubicBezTo>
                    <a:pt x="303427" y="805211"/>
                    <a:pt x="291274" y="808249"/>
                    <a:pt x="285198" y="796097"/>
                  </a:cubicBezTo>
                  <a:cubicBezTo>
                    <a:pt x="279122" y="780906"/>
                    <a:pt x="282160" y="774830"/>
                    <a:pt x="291274" y="771792"/>
                  </a:cubicBezTo>
                  <a:cubicBezTo>
                    <a:pt x="294312" y="768754"/>
                    <a:pt x="298110" y="767994"/>
                    <a:pt x="302287" y="769134"/>
                  </a:cubicBezTo>
                  <a:close/>
                  <a:moveTo>
                    <a:pt x="2313484" y="766096"/>
                  </a:moveTo>
                  <a:cubicBezTo>
                    <a:pt x="2317661" y="767235"/>
                    <a:pt x="2322218" y="770273"/>
                    <a:pt x="2326775" y="774830"/>
                  </a:cubicBezTo>
                  <a:cubicBezTo>
                    <a:pt x="2335890" y="783944"/>
                    <a:pt x="2329814" y="793059"/>
                    <a:pt x="2320699" y="799135"/>
                  </a:cubicBezTo>
                  <a:cubicBezTo>
                    <a:pt x="2314623" y="802173"/>
                    <a:pt x="2302471" y="805211"/>
                    <a:pt x="2296395" y="793059"/>
                  </a:cubicBezTo>
                  <a:cubicBezTo>
                    <a:pt x="2290319" y="780906"/>
                    <a:pt x="2296395" y="774830"/>
                    <a:pt x="2302471" y="768754"/>
                  </a:cubicBezTo>
                  <a:cubicBezTo>
                    <a:pt x="2305509" y="765716"/>
                    <a:pt x="2309307" y="764956"/>
                    <a:pt x="2313484" y="766096"/>
                  </a:cubicBezTo>
                  <a:close/>
                  <a:moveTo>
                    <a:pt x="1921574" y="766096"/>
                  </a:moveTo>
                  <a:cubicBezTo>
                    <a:pt x="1925751" y="767235"/>
                    <a:pt x="1930308" y="770273"/>
                    <a:pt x="1934865" y="774830"/>
                  </a:cubicBezTo>
                  <a:cubicBezTo>
                    <a:pt x="1943980" y="783944"/>
                    <a:pt x="1934865" y="796097"/>
                    <a:pt x="1928789" y="799135"/>
                  </a:cubicBezTo>
                  <a:cubicBezTo>
                    <a:pt x="1922713" y="802173"/>
                    <a:pt x="1910561" y="805211"/>
                    <a:pt x="1904485" y="793059"/>
                  </a:cubicBezTo>
                  <a:cubicBezTo>
                    <a:pt x="1898409" y="780906"/>
                    <a:pt x="1904485" y="774830"/>
                    <a:pt x="1910561" y="768754"/>
                  </a:cubicBezTo>
                  <a:cubicBezTo>
                    <a:pt x="1913599" y="765716"/>
                    <a:pt x="1917397" y="764956"/>
                    <a:pt x="1921574" y="766096"/>
                  </a:cubicBezTo>
                  <a:close/>
                  <a:moveTo>
                    <a:pt x="2176771" y="756982"/>
                  </a:moveTo>
                  <a:cubicBezTo>
                    <a:pt x="2180948" y="758121"/>
                    <a:pt x="2185505" y="761159"/>
                    <a:pt x="2190062" y="765716"/>
                  </a:cubicBezTo>
                  <a:cubicBezTo>
                    <a:pt x="2199177" y="774830"/>
                    <a:pt x="2190062" y="786983"/>
                    <a:pt x="2183986" y="790021"/>
                  </a:cubicBezTo>
                  <a:cubicBezTo>
                    <a:pt x="2177910" y="793059"/>
                    <a:pt x="2165758" y="796097"/>
                    <a:pt x="2159682" y="783945"/>
                  </a:cubicBezTo>
                  <a:cubicBezTo>
                    <a:pt x="2153606" y="771792"/>
                    <a:pt x="2159682" y="765716"/>
                    <a:pt x="2165758" y="759640"/>
                  </a:cubicBezTo>
                  <a:cubicBezTo>
                    <a:pt x="2168796" y="756602"/>
                    <a:pt x="2172594" y="755842"/>
                    <a:pt x="2176771" y="756982"/>
                  </a:cubicBezTo>
                  <a:close/>
                  <a:moveTo>
                    <a:pt x="1702833" y="750906"/>
                  </a:moveTo>
                  <a:cubicBezTo>
                    <a:pt x="1707011" y="752045"/>
                    <a:pt x="1711568" y="755083"/>
                    <a:pt x="1716125" y="759640"/>
                  </a:cubicBezTo>
                  <a:cubicBezTo>
                    <a:pt x="1725239" y="768754"/>
                    <a:pt x="1716125" y="780907"/>
                    <a:pt x="1710049" y="783945"/>
                  </a:cubicBezTo>
                  <a:cubicBezTo>
                    <a:pt x="1703973" y="786983"/>
                    <a:pt x="1691820" y="790021"/>
                    <a:pt x="1685744" y="777869"/>
                  </a:cubicBezTo>
                  <a:cubicBezTo>
                    <a:pt x="1679668" y="765716"/>
                    <a:pt x="1682706" y="759640"/>
                    <a:pt x="1691820" y="753564"/>
                  </a:cubicBezTo>
                  <a:cubicBezTo>
                    <a:pt x="1694858" y="750526"/>
                    <a:pt x="1698656" y="749766"/>
                    <a:pt x="1702833" y="750906"/>
                  </a:cubicBezTo>
                  <a:close/>
                  <a:moveTo>
                    <a:pt x="1210667" y="741791"/>
                  </a:moveTo>
                  <a:cubicBezTo>
                    <a:pt x="1214845" y="742930"/>
                    <a:pt x="1219402" y="745968"/>
                    <a:pt x="1223959" y="750525"/>
                  </a:cubicBezTo>
                  <a:cubicBezTo>
                    <a:pt x="1233073" y="759639"/>
                    <a:pt x="1226997" y="768754"/>
                    <a:pt x="1217883" y="774830"/>
                  </a:cubicBezTo>
                  <a:cubicBezTo>
                    <a:pt x="1211806" y="777868"/>
                    <a:pt x="1199654" y="780906"/>
                    <a:pt x="1193578" y="768754"/>
                  </a:cubicBezTo>
                  <a:cubicBezTo>
                    <a:pt x="1187502" y="753563"/>
                    <a:pt x="1190540" y="747487"/>
                    <a:pt x="1199654" y="744449"/>
                  </a:cubicBezTo>
                  <a:cubicBezTo>
                    <a:pt x="1202692" y="741411"/>
                    <a:pt x="1206490" y="740651"/>
                    <a:pt x="1210667" y="741791"/>
                  </a:cubicBezTo>
                  <a:close/>
                  <a:moveTo>
                    <a:pt x="1450674" y="723563"/>
                  </a:moveTo>
                  <a:cubicBezTo>
                    <a:pt x="1454852" y="724702"/>
                    <a:pt x="1459409" y="727740"/>
                    <a:pt x="1463966" y="732297"/>
                  </a:cubicBezTo>
                  <a:cubicBezTo>
                    <a:pt x="1473080" y="741411"/>
                    <a:pt x="1463966" y="753564"/>
                    <a:pt x="1457890" y="756602"/>
                  </a:cubicBezTo>
                  <a:cubicBezTo>
                    <a:pt x="1451814" y="759640"/>
                    <a:pt x="1439661" y="762678"/>
                    <a:pt x="1433585" y="750526"/>
                  </a:cubicBezTo>
                  <a:cubicBezTo>
                    <a:pt x="1427509" y="738373"/>
                    <a:pt x="1430547" y="732297"/>
                    <a:pt x="1439661" y="726221"/>
                  </a:cubicBezTo>
                  <a:cubicBezTo>
                    <a:pt x="1442699" y="723183"/>
                    <a:pt x="1446497" y="722423"/>
                    <a:pt x="1450674" y="723563"/>
                  </a:cubicBezTo>
                  <a:close/>
                  <a:moveTo>
                    <a:pt x="2021829" y="720525"/>
                  </a:moveTo>
                  <a:cubicBezTo>
                    <a:pt x="2026007" y="721664"/>
                    <a:pt x="2030564" y="724702"/>
                    <a:pt x="2035121" y="729259"/>
                  </a:cubicBezTo>
                  <a:cubicBezTo>
                    <a:pt x="2044235" y="738373"/>
                    <a:pt x="2038159" y="747488"/>
                    <a:pt x="2029045" y="753564"/>
                  </a:cubicBezTo>
                  <a:cubicBezTo>
                    <a:pt x="2022969" y="756602"/>
                    <a:pt x="2010816" y="759640"/>
                    <a:pt x="2004740" y="747488"/>
                  </a:cubicBezTo>
                  <a:cubicBezTo>
                    <a:pt x="1998664" y="735335"/>
                    <a:pt x="2001702" y="726221"/>
                    <a:pt x="2010816" y="723183"/>
                  </a:cubicBezTo>
                  <a:cubicBezTo>
                    <a:pt x="2013854" y="720145"/>
                    <a:pt x="2017652" y="719385"/>
                    <a:pt x="2021829" y="720525"/>
                  </a:cubicBezTo>
                  <a:close/>
                  <a:moveTo>
                    <a:pt x="387352" y="720525"/>
                  </a:moveTo>
                  <a:cubicBezTo>
                    <a:pt x="391530" y="721664"/>
                    <a:pt x="396087" y="724702"/>
                    <a:pt x="400644" y="729259"/>
                  </a:cubicBezTo>
                  <a:cubicBezTo>
                    <a:pt x="409758" y="738373"/>
                    <a:pt x="403682" y="747488"/>
                    <a:pt x="394568" y="753564"/>
                  </a:cubicBezTo>
                  <a:cubicBezTo>
                    <a:pt x="388492" y="756602"/>
                    <a:pt x="376339" y="759640"/>
                    <a:pt x="370263" y="747488"/>
                  </a:cubicBezTo>
                  <a:cubicBezTo>
                    <a:pt x="364187" y="732297"/>
                    <a:pt x="367225" y="726221"/>
                    <a:pt x="376339" y="723183"/>
                  </a:cubicBezTo>
                  <a:cubicBezTo>
                    <a:pt x="379377" y="720145"/>
                    <a:pt x="383175" y="719385"/>
                    <a:pt x="387352" y="720525"/>
                  </a:cubicBezTo>
                  <a:close/>
                  <a:moveTo>
                    <a:pt x="1049650" y="702297"/>
                  </a:moveTo>
                  <a:cubicBezTo>
                    <a:pt x="1053828" y="703436"/>
                    <a:pt x="1058385" y="706474"/>
                    <a:pt x="1062942" y="711031"/>
                  </a:cubicBezTo>
                  <a:cubicBezTo>
                    <a:pt x="1072056" y="720145"/>
                    <a:pt x="1062942" y="732298"/>
                    <a:pt x="1056866" y="735336"/>
                  </a:cubicBezTo>
                  <a:cubicBezTo>
                    <a:pt x="1050790" y="738374"/>
                    <a:pt x="1038637" y="741412"/>
                    <a:pt x="1032561" y="729260"/>
                  </a:cubicBezTo>
                  <a:cubicBezTo>
                    <a:pt x="1026485" y="717107"/>
                    <a:pt x="1029523" y="707993"/>
                    <a:pt x="1038637" y="704955"/>
                  </a:cubicBezTo>
                  <a:cubicBezTo>
                    <a:pt x="1041675" y="701917"/>
                    <a:pt x="1045473" y="701157"/>
                    <a:pt x="1049650" y="702297"/>
                  </a:cubicBezTo>
                  <a:close/>
                  <a:moveTo>
                    <a:pt x="931165" y="702297"/>
                  </a:moveTo>
                  <a:cubicBezTo>
                    <a:pt x="935343" y="703436"/>
                    <a:pt x="939900" y="706474"/>
                    <a:pt x="944457" y="711031"/>
                  </a:cubicBezTo>
                  <a:cubicBezTo>
                    <a:pt x="953571" y="720145"/>
                    <a:pt x="947495" y="729260"/>
                    <a:pt x="938381" y="735336"/>
                  </a:cubicBezTo>
                  <a:cubicBezTo>
                    <a:pt x="932305" y="738374"/>
                    <a:pt x="920152" y="741412"/>
                    <a:pt x="914076" y="729260"/>
                  </a:cubicBezTo>
                  <a:cubicBezTo>
                    <a:pt x="908000" y="717107"/>
                    <a:pt x="911038" y="711031"/>
                    <a:pt x="920152" y="704955"/>
                  </a:cubicBezTo>
                  <a:cubicBezTo>
                    <a:pt x="923190" y="701917"/>
                    <a:pt x="926988" y="701157"/>
                    <a:pt x="931165" y="702297"/>
                  </a:cubicBezTo>
                  <a:close/>
                  <a:moveTo>
                    <a:pt x="1547892" y="699259"/>
                  </a:moveTo>
                  <a:cubicBezTo>
                    <a:pt x="1552070" y="700398"/>
                    <a:pt x="1556627" y="703436"/>
                    <a:pt x="1561184" y="707993"/>
                  </a:cubicBezTo>
                  <a:cubicBezTo>
                    <a:pt x="1570298" y="717107"/>
                    <a:pt x="1561184" y="729260"/>
                    <a:pt x="1555108" y="732298"/>
                  </a:cubicBezTo>
                  <a:cubicBezTo>
                    <a:pt x="1549032" y="735336"/>
                    <a:pt x="1536879" y="738374"/>
                    <a:pt x="1530803" y="726222"/>
                  </a:cubicBezTo>
                  <a:cubicBezTo>
                    <a:pt x="1524727" y="711031"/>
                    <a:pt x="1527765" y="704955"/>
                    <a:pt x="1536879" y="701917"/>
                  </a:cubicBezTo>
                  <a:cubicBezTo>
                    <a:pt x="1539917" y="698879"/>
                    <a:pt x="1543715" y="698119"/>
                    <a:pt x="1547892" y="699259"/>
                  </a:cubicBezTo>
                  <a:close/>
                  <a:moveTo>
                    <a:pt x="1313961" y="699259"/>
                  </a:moveTo>
                  <a:cubicBezTo>
                    <a:pt x="1318139" y="700398"/>
                    <a:pt x="1322696" y="703436"/>
                    <a:pt x="1327253" y="707993"/>
                  </a:cubicBezTo>
                  <a:cubicBezTo>
                    <a:pt x="1336367" y="717107"/>
                    <a:pt x="1330291" y="726222"/>
                    <a:pt x="1321177" y="732298"/>
                  </a:cubicBezTo>
                  <a:cubicBezTo>
                    <a:pt x="1315101" y="735336"/>
                    <a:pt x="1302948" y="738374"/>
                    <a:pt x="1296872" y="726222"/>
                  </a:cubicBezTo>
                  <a:cubicBezTo>
                    <a:pt x="1290796" y="714069"/>
                    <a:pt x="1293834" y="707993"/>
                    <a:pt x="1302948" y="701917"/>
                  </a:cubicBezTo>
                  <a:cubicBezTo>
                    <a:pt x="1305986" y="698879"/>
                    <a:pt x="1309784" y="698119"/>
                    <a:pt x="1313961" y="699259"/>
                  </a:cubicBezTo>
                  <a:close/>
                  <a:moveTo>
                    <a:pt x="2413739" y="696220"/>
                  </a:moveTo>
                  <a:cubicBezTo>
                    <a:pt x="2417917" y="697359"/>
                    <a:pt x="2422474" y="700397"/>
                    <a:pt x="2427031" y="704954"/>
                  </a:cubicBezTo>
                  <a:cubicBezTo>
                    <a:pt x="2436145" y="714068"/>
                    <a:pt x="2430069" y="723183"/>
                    <a:pt x="2420955" y="729259"/>
                  </a:cubicBezTo>
                  <a:cubicBezTo>
                    <a:pt x="2414878" y="732297"/>
                    <a:pt x="2402726" y="735335"/>
                    <a:pt x="2396650" y="723183"/>
                  </a:cubicBezTo>
                  <a:cubicBezTo>
                    <a:pt x="2390574" y="711030"/>
                    <a:pt x="2390574" y="701916"/>
                    <a:pt x="2402726" y="698878"/>
                  </a:cubicBezTo>
                  <a:cubicBezTo>
                    <a:pt x="2405764" y="695840"/>
                    <a:pt x="2409562" y="695080"/>
                    <a:pt x="2413739" y="696220"/>
                  </a:cubicBezTo>
                  <a:close/>
                  <a:moveTo>
                    <a:pt x="551408" y="690144"/>
                  </a:moveTo>
                  <a:cubicBezTo>
                    <a:pt x="555585" y="691283"/>
                    <a:pt x="560142" y="694321"/>
                    <a:pt x="564699" y="698878"/>
                  </a:cubicBezTo>
                  <a:cubicBezTo>
                    <a:pt x="573814" y="707992"/>
                    <a:pt x="567737" y="717107"/>
                    <a:pt x="558623" y="723183"/>
                  </a:cubicBezTo>
                  <a:cubicBezTo>
                    <a:pt x="552547" y="726221"/>
                    <a:pt x="540395" y="729259"/>
                    <a:pt x="534319" y="717107"/>
                  </a:cubicBezTo>
                  <a:cubicBezTo>
                    <a:pt x="528243" y="704954"/>
                    <a:pt x="534319" y="698878"/>
                    <a:pt x="540395" y="692802"/>
                  </a:cubicBezTo>
                  <a:cubicBezTo>
                    <a:pt x="543433" y="689764"/>
                    <a:pt x="547231" y="689004"/>
                    <a:pt x="551408" y="690144"/>
                  </a:cubicBezTo>
                  <a:close/>
                  <a:moveTo>
                    <a:pt x="830909" y="684068"/>
                  </a:moveTo>
                  <a:cubicBezTo>
                    <a:pt x="835087" y="685207"/>
                    <a:pt x="839644" y="688245"/>
                    <a:pt x="844201" y="692802"/>
                  </a:cubicBezTo>
                  <a:cubicBezTo>
                    <a:pt x="853315" y="701916"/>
                    <a:pt x="844201" y="714069"/>
                    <a:pt x="838125" y="717107"/>
                  </a:cubicBezTo>
                  <a:cubicBezTo>
                    <a:pt x="832048" y="720145"/>
                    <a:pt x="819896" y="723183"/>
                    <a:pt x="813820" y="711031"/>
                  </a:cubicBezTo>
                  <a:cubicBezTo>
                    <a:pt x="807744" y="698878"/>
                    <a:pt x="810782" y="692802"/>
                    <a:pt x="819896" y="686726"/>
                  </a:cubicBezTo>
                  <a:cubicBezTo>
                    <a:pt x="822934" y="683688"/>
                    <a:pt x="826732" y="682928"/>
                    <a:pt x="830909" y="684068"/>
                  </a:cubicBezTo>
                  <a:close/>
                  <a:moveTo>
                    <a:pt x="730653" y="677992"/>
                  </a:moveTo>
                  <a:cubicBezTo>
                    <a:pt x="734831" y="679131"/>
                    <a:pt x="739388" y="682169"/>
                    <a:pt x="743945" y="686726"/>
                  </a:cubicBezTo>
                  <a:cubicBezTo>
                    <a:pt x="753059" y="695840"/>
                    <a:pt x="743945" y="707993"/>
                    <a:pt x="737869" y="711031"/>
                  </a:cubicBezTo>
                  <a:cubicBezTo>
                    <a:pt x="731793" y="714069"/>
                    <a:pt x="719640" y="717107"/>
                    <a:pt x="713564" y="704955"/>
                  </a:cubicBezTo>
                  <a:cubicBezTo>
                    <a:pt x="707488" y="692802"/>
                    <a:pt x="710526" y="686726"/>
                    <a:pt x="719640" y="680650"/>
                  </a:cubicBezTo>
                  <a:cubicBezTo>
                    <a:pt x="722678" y="677612"/>
                    <a:pt x="726476" y="676852"/>
                    <a:pt x="730653" y="677992"/>
                  </a:cubicBezTo>
                  <a:close/>
                  <a:moveTo>
                    <a:pt x="2228418" y="671916"/>
                  </a:moveTo>
                  <a:cubicBezTo>
                    <a:pt x="2232595" y="673055"/>
                    <a:pt x="2237153" y="676093"/>
                    <a:pt x="2241710" y="680650"/>
                  </a:cubicBezTo>
                  <a:cubicBezTo>
                    <a:pt x="2250824" y="689764"/>
                    <a:pt x="2244748" y="698879"/>
                    <a:pt x="2235634" y="704955"/>
                  </a:cubicBezTo>
                  <a:cubicBezTo>
                    <a:pt x="2229557" y="707993"/>
                    <a:pt x="2217405" y="711031"/>
                    <a:pt x="2211329" y="698879"/>
                  </a:cubicBezTo>
                  <a:cubicBezTo>
                    <a:pt x="2205253" y="686726"/>
                    <a:pt x="2208291" y="680650"/>
                    <a:pt x="2217405" y="674574"/>
                  </a:cubicBezTo>
                  <a:cubicBezTo>
                    <a:pt x="2220443" y="671536"/>
                    <a:pt x="2224241" y="670776"/>
                    <a:pt x="2228418" y="671916"/>
                  </a:cubicBezTo>
                  <a:close/>
                  <a:moveTo>
                    <a:pt x="1839546" y="671916"/>
                  </a:moveTo>
                  <a:cubicBezTo>
                    <a:pt x="1843724" y="673055"/>
                    <a:pt x="1848281" y="676093"/>
                    <a:pt x="1852838" y="680650"/>
                  </a:cubicBezTo>
                  <a:cubicBezTo>
                    <a:pt x="1861952" y="689764"/>
                    <a:pt x="1855876" y="698879"/>
                    <a:pt x="1846762" y="704955"/>
                  </a:cubicBezTo>
                  <a:cubicBezTo>
                    <a:pt x="1840686" y="707993"/>
                    <a:pt x="1828533" y="711031"/>
                    <a:pt x="1822457" y="698879"/>
                  </a:cubicBezTo>
                  <a:cubicBezTo>
                    <a:pt x="1816381" y="686726"/>
                    <a:pt x="1819419" y="677612"/>
                    <a:pt x="1828533" y="674574"/>
                  </a:cubicBezTo>
                  <a:cubicBezTo>
                    <a:pt x="1831571" y="671536"/>
                    <a:pt x="1835369" y="670776"/>
                    <a:pt x="1839546" y="671916"/>
                  </a:cubicBezTo>
                  <a:close/>
                  <a:moveTo>
                    <a:pt x="2109933" y="656726"/>
                  </a:moveTo>
                  <a:cubicBezTo>
                    <a:pt x="2114111" y="657865"/>
                    <a:pt x="2118668" y="660903"/>
                    <a:pt x="2123225" y="665460"/>
                  </a:cubicBezTo>
                  <a:cubicBezTo>
                    <a:pt x="2132339" y="674574"/>
                    <a:pt x="2126263" y="683689"/>
                    <a:pt x="2117149" y="689765"/>
                  </a:cubicBezTo>
                  <a:cubicBezTo>
                    <a:pt x="2111072" y="692803"/>
                    <a:pt x="2098920" y="695841"/>
                    <a:pt x="2092844" y="683689"/>
                  </a:cubicBezTo>
                  <a:cubicBezTo>
                    <a:pt x="2086768" y="671536"/>
                    <a:pt x="2089806" y="665460"/>
                    <a:pt x="2098920" y="659384"/>
                  </a:cubicBezTo>
                  <a:cubicBezTo>
                    <a:pt x="2101958" y="656346"/>
                    <a:pt x="2105756" y="655586"/>
                    <a:pt x="2109933" y="656726"/>
                  </a:cubicBezTo>
                  <a:close/>
                  <a:moveTo>
                    <a:pt x="1632957" y="656726"/>
                  </a:moveTo>
                  <a:cubicBezTo>
                    <a:pt x="1637135" y="657865"/>
                    <a:pt x="1641692" y="660903"/>
                    <a:pt x="1646249" y="665460"/>
                  </a:cubicBezTo>
                  <a:cubicBezTo>
                    <a:pt x="1655363" y="674574"/>
                    <a:pt x="1649287" y="683689"/>
                    <a:pt x="1640173" y="689765"/>
                  </a:cubicBezTo>
                  <a:cubicBezTo>
                    <a:pt x="1634097" y="692803"/>
                    <a:pt x="1621944" y="695841"/>
                    <a:pt x="1615868" y="683689"/>
                  </a:cubicBezTo>
                  <a:cubicBezTo>
                    <a:pt x="1609792" y="668498"/>
                    <a:pt x="1612830" y="662422"/>
                    <a:pt x="1621944" y="659384"/>
                  </a:cubicBezTo>
                  <a:cubicBezTo>
                    <a:pt x="1624982" y="656346"/>
                    <a:pt x="1628780" y="655586"/>
                    <a:pt x="1632957" y="656726"/>
                  </a:cubicBezTo>
                  <a:close/>
                  <a:moveTo>
                    <a:pt x="1165096" y="656726"/>
                  </a:moveTo>
                  <a:cubicBezTo>
                    <a:pt x="1169273" y="657865"/>
                    <a:pt x="1173830" y="660903"/>
                    <a:pt x="1178387" y="665460"/>
                  </a:cubicBezTo>
                  <a:cubicBezTo>
                    <a:pt x="1187502" y="674574"/>
                    <a:pt x="1178387" y="686727"/>
                    <a:pt x="1172311" y="689765"/>
                  </a:cubicBezTo>
                  <a:cubicBezTo>
                    <a:pt x="1166235" y="692803"/>
                    <a:pt x="1154083" y="695841"/>
                    <a:pt x="1148007" y="683689"/>
                  </a:cubicBezTo>
                  <a:cubicBezTo>
                    <a:pt x="1141931" y="671536"/>
                    <a:pt x="1148007" y="665460"/>
                    <a:pt x="1154083" y="659384"/>
                  </a:cubicBezTo>
                  <a:cubicBezTo>
                    <a:pt x="1157121" y="656346"/>
                    <a:pt x="1160919" y="655586"/>
                    <a:pt x="1165096" y="656726"/>
                  </a:cubicBezTo>
                  <a:close/>
                  <a:moveTo>
                    <a:pt x="1948916" y="653688"/>
                  </a:moveTo>
                  <a:cubicBezTo>
                    <a:pt x="1953094" y="654827"/>
                    <a:pt x="1957651" y="657865"/>
                    <a:pt x="1962208" y="662422"/>
                  </a:cubicBezTo>
                  <a:cubicBezTo>
                    <a:pt x="1971322" y="671536"/>
                    <a:pt x="1965246" y="680651"/>
                    <a:pt x="1956132" y="686727"/>
                  </a:cubicBezTo>
                  <a:cubicBezTo>
                    <a:pt x="1950056" y="689765"/>
                    <a:pt x="1937903" y="692803"/>
                    <a:pt x="1931827" y="680651"/>
                  </a:cubicBezTo>
                  <a:cubicBezTo>
                    <a:pt x="1925751" y="665460"/>
                    <a:pt x="1928789" y="659384"/>
                    <a:pt x="1937903" y="656346"/>
                  </a:cubicBezTo>
                  <a:cubicBezTo>
                    <a:pt x="1940941" y="653308"/>
                    <a:pt x="1944739" y="652548"/>
                    <a:pt x="1948916" y="653688"/>
                  </a:cubicBezTo>
                  <a:close/>
                  <a:moveTo>
                    <a:pt x="2328673" y="647611"/>
                  </a:moveTo>
                  <a:cubicBezTo>
                    <a:pt x="2332851" y="648750"/>
                    <a:pt x="2337408" y="651788"/>
                    <a:pt x="2341965" y="656345"/>
                  </a:cubicBezTo>
                  <a:cubicBezTo>
                    <a:pt x="2351079" y="665459"/>
                    <a:pt x="2345003" y="674574"/>
                    <a:pt x="2335889" y="680650"/>
                  </a:cubicBezTo>
                  <a:cubicBezTo>
                    <a:pt x="2329813" y="683688"/>
                    <a:pt x="2317660" y="686726"/>
                    <a:pt x="2311584" y="674574"/>
                  </a:cubicBezTo>
                  <a:cubicBezTo>
                    <a:pt x="2305508" y="662421"/>
                    <a:pt x="2308546" y="656345"/>
                    <a:pt x="2317660" y="650269"/>
                  </a:cubicBezTo>
                  <a:cubicBezTo>
                    <a:pt x="2320698" y="647231"/>
                    <a:pt x="2324496" y="646471"/>
                    <a:pt x="2328673" y="647611"/>
                  </a:cubicBezTo>
                  <a:close/>
                  <a:moveTo>
                    <a:pt x="639512" y="641535"/>
                  </a:moveTo>
                  <a:cubicBezTo>
                    <a:pt x="643690" y="642674"/>
                    <a:pt x="648247" y="645712"/>
                    <a:pt x="652804" y="650269"/>
                  </a:cubicBezTo>
                  <a:cubicBezTo>
                    <a:pt x="661918" y="659383"/>
                    <a:pt x="655842" y="668498"/>
                    <a:pt x="646728" y="674574"/>
                  </a:cubicBezTo>
                  <a:cubicBezTo>
                    <a:pt x="640651" y="677612"/>
                    <a:pt x="628499" y="680650"/>
                    <a:pt x="622423" y="668498"/>
                  </a:cubicBezTo>
                  <a:cubicBezTo>
                    <a:pt x="616347" y="653307"/>
                    <a:pt x="619385" y="647231"/>
                    <a:pt x="628499" y="644193"/>
                  </a:cubicBezTo>
                  <a:cubicBezTo>
                    <a:pt x="631537" y="641155"/>
                    <a:pt x="635335" y="640395"/>
                    <a:pt x="639512" y="641535"/>
                  </a:cubicBezTo>
                  <a:close/>
                  <a:moveTo>
                    <a:pt x="451152" y="641535"/>
                  </a:moveTo>
                  <a:cubicBezTo>
                    <a:pt x="455330" y="642674"/>
                    <a:pt x="459887" y="645712"/>
                    <a:pt x="464444" y="650269"/>
                  </a:cubicBezTo>
                  <a:cubicBezTo>
                    <a:pt x="473558" y="659383"/>
                    <a:pt x="464444" y="671536"/>
                    <a:pt x="458368" y="674574"/>
                  </a:cubicBezTo>
                  <a:cubicBezTo>
                    <a:pt x="452292" y="677612"/>
                    <a:pt x="440139" y="680650"/>
                    <a:pt x="434063" y="668498"/>
                  </a:cubicBezTo>
                  <a:cubicBezTo>
                    <a:pt x="427987" y="656345"/>
                    <a:pt x="431025" y="647231"/>
                    <a:pt x="440139" y="644193"/>
                  </a:cubicBezTo>
                  <a:cubicBezTo>
                    <a:pt x="443177" y="641155"/>
                    <a:pt x="446975" y="640395"/>
                    <a:pt x="451152" y="641535"/>
                  </a:cubicBezTo>
                  <a:close/>
                  <a:moveTo>
                    <a:pt x="1739291" y="638497"/>
                  </a:moveTo>
                  <a:cubicBezTo>
                    <a:pt x="1743468" y="639636"/>
                    <a:pt x="1748025" y="642674"/>
                    <a:pt x="1752582" y="647231"/>
                  </a:cubicBezTo>
                  <a:cubicBezTo>
                    <a:pt x="1761696" y="656345"/>
                    <a:pt x="1755620" y="665460"/>
                    <a:pt x="1746506" y="671536"/>
                  </a:cubicBezTo>
                  <a:cubicBezTo>
                    <a:pt x="1740430" y="674574"/>
                    <a:pt x="1728277" y="677612"/>
                    <a:pt x="1722201" y="665460"/>
                  </a:cubicBezTo>
                  <a:cubicBezTo>
                    <a:pt x="1716125" y="650269"/>
                    <a:pt x="1719163" y="644193"/>
                    <a:pt x="1728277" y="641155"/>
                  </a:cubicBezTo>
                  <a:cubicBezTo>
                    <a:pt x="1731316" y="638117"/>
                    <a:pt x="1735113" y="637357"/>
                    <a:pt x="1739291" y="638497"/>
                  </a:cubicBezTo>
                  <a:close/>
                  <a:moveTo>
                    <a:pt x="1429407" y="623307"/>
                  </a:moveTo>
                  <a:cubicBezTo>
                    <a:pt x="1433585" y="624446"/>
                    <a:pt x="1438142" y="627484"/>
                    <a:pt x="1442699" y="632041"/>
                  </a:cubicBezTo>
                  <a:cubicBezTo>
                    <a:pt x="1451813" y="641155"/>
                    <a:pt x="1445737" y="650270"/>
                    <a:pt x="1436623" y="656346"/>
                  </a:cubicBezTo>
                  <a:cubicBezTo>
                    <a:pt x="1430547" y="659384"/>
                    <a:pt x="1418394" y="662422"/>
                    <a:pt x="1412318" y="650270"/>
                  </a:cubicBezTo>
                  <a:cubicBezTo>
                    <a:pt x="1406242" y="638117"/>
                    <a:pt x="1409280" y="629003"/>
                    <a:pt x="1418394" y="625965"/>
                  </a:cubicBezTo>
                  <a:cubicBezTo>
                    <a:pt x="1421432" y="622927"/>
                    <a:pt x="1425230" y="622167"/>
                    <a:pt x="1429407" y="623307"/>
                  </a:cubicBezTo>
                  <a:close/>
                  <a:moveTo>
                    <a:pt x="991927" y="614193"/>
                  </a:moveTo>
                  <a:cubicBezTo>
                    <a:pt x="996105" y="615332"/>
                    <a:pt x="1000662" y="618370"/>
                    <a:pt x="1005219" y="622927"/>
                  </a:cubicBezTo>
                  <a:cubicBezTo>
                    <a:pt x="1014333" y="632041"/>
                    <a:pt x="1008257" y="641156"/>
                    <a:pt x="999143" y="647232"/>
                  </a:cubicBezTo>
                  <a:cubicBezTo>
                    <a:pt x="993067" y="650270"/>
                    <a:pt x="980914" y="653308"/>
                    <a:pt x="974838" y="641156"/>
                  </a:cubicBezTo>
                  <a:cubicBezTo>
                    <a:pt x="968762" y="629003"/>
                    <a:pt x="971800" y="619889"/>
                    <a:pt x="980914" y="616851"/>
                  </a:cubicBezTo>
                  <a:cubicBezTo>
                    <a:pt x="983952" y="613813"/>
                    <a:pt x="987750" y="613053"/>
                    <a:pt x="991927" y="614193"/>
                  </a:cubicBezTo>
                  <a:close/>
                  <a:moveTo>
                    <a:pt x="1244086" y="589888"/>
                  </a:moveTo>
                  <a:cubicBezTo>
                    <a:pt x="1248264" y="591027"/>
                    <a:pt x="1252821" y="594065"/>
                    <a:pt x="1257378" y="598622"/>
                  </a:cubicBezTo>
                  <a:cubicBezTo>
                    <a:pt x="1266492" y="607736"/>
                    <a:pt x="1260416" y="616851"/>
                    <a:pt x="1251302" y="622927"/>
                  </a:cubicBezTo>
                  <a:cubicBezTo>
                    <a:pt x="1245226" y="625965"/>
                    <a:pt x="1233073" y="629003"/>
                    <a:pt x="1226997" y="616851"/>
                  </a:cubicBezTo>
                  <a:cubicBezTo>
                    <a:pt x="1220921" y="601660"/>
                    <a:pt x="1223959" y="595584"/>
                    <a:pt x="1233073" y="592546"/>
                  </a:cubicBezTo>
                  <a:cubicBezTo>
                    <a:pt x="1236111" y="589508"/>
                    <a:pt x="1239909" y="588748"/>
                    <a:pt x="1244086" y="589888"/>
                  </a:cubicBezTo>
                  <a:close/>
                  <a:moveTo>
                    <a:pt x="1332189" y="586850"/>
                  </a:moveTo>
                  <a:cubicBezTo>
                    <a:pt x="1336367" y="587989"/>
                    <a:pt x="1340924" y="591027"/>
                    <a:pt x="1345481" y="595584"/>
                  </a:cubicBezTo>
                  <a:cubicBezTo>
                    <a:pt x="1354595" y="604698"/>
                    <a:pt x="1345481" y="616851"/>
                    <a:pt x="1339405" y="619889"/>
                  </a:cubicBezTo>
                  <a:cubicBezTo>
                    <a:pt x="1333328" y="622927"/>
                    <a:pt x="1321176" y="625965"/>
                    <a:pt x="1315100" y="613813"/>
                  </a:cubicBezTo>
                  <a:cubicBezTo>
                    <a:pt x="1309024" y="601660"/>
                    <a:pt x="1312062" y="595584"/>
                    <a:pt x="1321176" y="589508"/>
                  </a:cubicBezTo>
                  <a:cubicBezTo>
                    <a:pt x="1324214" y="586470"/>
                    <a:pt x="1328012" y="585710"/>
                    <a:pt x="1332189" y="586850"/>
                  </a:cubicBezTo>
                  <a:close/>
                  <a:moveTo>
                    <a:pt x="867366" y="583812"/>
                  </a:moveTo>
                  <a:cubicBezTo>
                    <a:pt x="871544" y="584951"/>
                    <a:pt x="876101" y="587989"/>
                    <a:pt x="880658" y="592546"/>
                  </a:cubicBezTo>
                  <a:cubicBezTo>
                    <a:pt x="889772" y="601660"/>
                    <a:pt x="880658" y="613813"/>
                    <a:pt x="874582" y="616851"/>
                  </a:cubicBezTo>
                  <a:cubicBezTo>
                    <a:pt x="868506" y="619889"/>
                    <a:pt x="856353" y="622927"/>
                    <a:pt x="850277" y="610775"/>
                  </a:cubicBezTo>
                  <a:cubicBezTo>
                    <a:pt x="844201" y="595584"/>
                    <a:pt x="847239" y="589508"/>
                    <a:pt x="856353" y="586470"/>
                  </a:cubicBezTo>
                  <a:cubicBezTo>
                    <a:pt x="859391" y="583432"/>
                    <a:pt x="863189" y="582672"/>
                    <a:pt x="867366" y="583812"/>
                  </a:cubicBezTo>
                  <a:close/>
                  <a:moveTo>
                    <a:pt x="2222342" y="576217"/>
                  </a:moveTo>
                  <a:cubicBezTo>
                    <a:pt x="2226519" y="577356"/>
                    <a:pt x="2231076" y="580394"/>
                    <a:pt x="2235633" y="586470"/>
                  </a:cubicBezTo>
                  <a:cubicBezTo>
                    <a:pt x="2244748" y="595584"/>
                    <a:pt x="2238672" y="604698"/>
                    <a:pt x="2229557" y="610775"/>
                  </a:cubicBezTo>
                  <a:cubicBezTo>
                    <a:pt x="2223481" y="613813"/>
                    <a:pt x="2211329" y="616851"/>
                    <a:pt x="2205253" y="604698"/>
                  </a:cubicBezTo>
                  <a:cubicBezTo>
                    <a:pt x="2199177" y="589508"/>
                    <a:pt x="2205253" y="580394"/>
                    <a:pt x="2211329" y="577356"/>
                  </a:cubicBezTo>
                  <a:cubicBezTo>
                    <a:pt x="2214367" y="575837"/>
                    <a:pt x="2218165" y="575077"/>
                    <a:pt x="2222342" y="576217"/>
                  </a:cubicBezTo>
                  <a:close/>
                  <a:moveTo>
                    <a:pt x="1092183" y="571660"/>
                  </a:moveTo>
                  <a:cubicBezTo>
                    <a:pt x="1096361" y="572799"/>
                    <a:pt x="1100918" y="575837"/>
                    <a:pt x="1105475" y="580394"/>
                  </a:cubicBezTo>
                  <a:cubicBezTo>
                    <a:pt x="1114589" y="589508"/>
                    <a:pt x="1108513" y="598623"/>
                    <a:pt x="1099399" y="604699"/>
                  </a:cubicBezTo>
                  <a:cubicBezTo>
                    <a:pt x="1093322" y="607737"/>
                    <a:pt x="1081170" y="610775"/>
                    <a:pt x="1075094" y="598623"/>
                  </a:cubicBezTo>
                  <a:cubicBezTo>
                    <a:pt x="1069018" y="586470"/>
                    <a:pt x="1069018" y="580394"/>
                    <a:pt x="1081170" y="574318"/>
                  </a:cubicBezTo>
                  <a:cubicBezTo>
                    <a:pt x="1084208" y="571280"/>
                    <a:pt x="1088006" y="570520"/>
                    <a:pt x="1092183" y="571660"/>
                  </a:cubicBezTo>
                  <a:close/>
                  <a:moveTo>
                    <a:pt x="2000563" y="568622"/>
                  </a:moveTo>
                  <a:cubicBezTo>
                    <a:pt x="2004740" y="569761"/>
                    <a:pt x="2009298" y="572799"/>
                    <a:pt x="2013855" y="577356"/>
                  </a:cubicBezTo>
                  <a:cubicBezTo>
                    <a:pt x="2022969" y="586470"/>
                    <a:pt x="2016893" y="595585"/>
                    <a:pt x="2007779" y="601661"/>
                  </a:cubicBezTo>
                  <a:cubicBezTo>
                    <a:pt x="2001702" y="604699"/>
                    <a:pt x="1989550" y="607737"/>
                    <a:pt x="1983474" y="595585"/>
                  </a:cubicBezTo>
                  <a:cubicBezTo>
                    <a:pt x="1977398" y="583432"/>
                    <a:pt x="1980436" y="577356"/>
                    <a:pt x="1989550" y="571280"/>
                  </a:cubicBezTo>
                  <a:cubicBezTo>
                    <a:pt x="1992588" y="568242"/>
                    <a:pt x="1996386" y="567482"/>
                    <a:pt x="2000563" y="568622"/>
                  </a:cubicBezTo>
                  <a:close/>
                  <a:moveTo>
                    <a:pt x="745844" y="568622"/>
                  </a:moveTo>
                  <a:cubicBezTo>
                    <a:pt x="750022" y="569761"/>
                    <a:pt x="754579" y="572799"/>
                    <a:pt x="759136" y="577356"/>
                  </a:cubicBezTo>
                  <a:cubicBezTo>
                    <a:pt x="768250" y="586470"/>
                    <a:pt x="759136" y="598623"/>
                    <a:pt x="753060" y="601661"/>
                  </a:cubicBezTo>
                  <a:cubicBezTo>
                    <a:pt x="746984" y="604699"/>
                    <a:pt x="734831" y="607737"/>
                    <a:pt x="728755" y="595585"/>
                  </a:cubicBezTo>
                  <a:cubicBezTo>
                    <a:pt x="722679" y="580394"/>
                    <a:pt x="725717" y="574318"/>
                    <a:pt x="734831" y="571280"/>
                  </a:cubicBezTo>
                  <a:cubicBezTo>
                    <a:pt x="737869" y="568242"/>
                    <a:pt x="741667" y="567482"/>
                    <a:pt x="745844" y="568622"/>
                  </a:cubicBezTo>
                  <a:close/>
                  <a:moveTo>
                    <a:pt x="533179" y="568622"/>
                  </a:moveTo>
                  <a:cubicBezTo>
                    <a:pt x="537357" y="569761"/>
                    <a:pt x="541914" y="572799"/>
                    <a:pt x="546471" y="577356"/>
                  </a:cubicBezTo>
                  <a:cubicBezTo>
                    <a:pt x="555585" y="586470"/>
                    <a:pt x="549509" y="595585"/>
                    <a:pt x="540395" y="601661"/>
                  </a:cubicBezTo>
                  <a:cubicBezTo>
                    <a:pt x="534318" y="604699"/>
                    <a:pt x="522166" y="607737"/>
                    <a:pt x="516090" y="595585"/>
                  </a:cubicBezTo>
                  <a:cubicBezTo>
                    <a:pt x="510014" y="580394"/>
                    <a:pt x="513052" y="574318"/>
                    <a:pt x="522166" y="571280"/>
                  </a:cubicBezTo>
                  <a:cubicBezTo>
                    <a:pt x="525204" y="568242"/>
                    <a:pt x="529002" y="567482"/>
                    <a:pt x="533179" y="568622"/>
                  </a:cubicBezTo>
                  <a:close/>
                  <a:moveTo>
                    <a:pt x="1866889" y="565584"/>
                  </a:moveTo>
                  <a:cubicBezTo>
                    <a:pt x="1871066" y="566723"/>
                    <a:pt x="1875623" y="569761"/>
                    <a:pt x="1880180" y="574318"/>
                  </a:cubicBezTo>
                  <a:cubicBezTo>
                    <a:pt x="1889295" y="583432"/>
                    <a:pt x="1883218" y="592547"/>
                    <a:pt x="1874104" y="598623"/>
                  </a:cubicBezTo>
                  <a:cubicBezTo>
                    <a:pt x="1868028" y="601661"/>
                    <a:pt x="1855876" y="604699"/>
                    <a:pt x="1849800" y="592547"/>
                  </a:cubicBezTo>
                  <a:cubicBezTo>
                    <a:pt x="1843724" y="577356"/>
                    <a:pt x="1849800" y="574318"/>
                    <a:pt x="1855876" y="568242"/>
                  </a:cubicBezTo>
                  <a:cubicBezTo>
                    <a:pt x="1858914" y="565204"/>
                    <a:pt x="1862712" y="564444"/>
                    <a:pt x="1866889" y="565584"/>
                  </a:cubicBezTo>
                  <a:close/>
                  <a:moveTo>
                    <a:pt x="1508397" y="565584"/>
                  </a:moveTo>
                  <a:cubicBezTo>
                    <a:pt x="1512575" y="566723"/>
                    <a:pt x="1517132" y="569761"/>
                    <a:pt x="1521689" y="574318"/>
                  </a:cubicBezTo>
                  <a:cubicBezTo>
                    <a:pt x="1530803" y="583432"/>
                    <a:pt x="1524727" y="592547"/>
                    <a:pt x="1515613" y="598623"/>
                  </a:cubicBezTo>
                  <a:cubicBezTo>
                    <a:pt x="1509537" y="601661"/>
                    <a:pt x="1497384" y="604699"/>
                    <a:pt x="1491308" y="592547"/>
                  </a:cubicBezTo>
                  <a:cubicBezTo>
                    <a:pt x="1485232" y="577356"/>
                    <a:pt x="1488270" y="571280"/>
                    <a:pt x="1497384" y="568242"/>
                  </a:cubicBezTo>
                  <a:cubicBezTo>
                    <a:pt x="1500422" y="565204"/>
                    <a:pt x="1504220" y="564444"/>
                    <a:pt x="1508397" y="565584"/>
                  </a:cubicBezTo>
                  <a:close/>
                  <a:moveTo>
                    <a:pt x="2365130" y="556470"/>
                  </a:moveTo>
                  <a:cubicBezTo>
                    <a:pt x="2369307" y="557609"/>
                    <a:pt x="2373865" y="560647"/>
                    <a:pt x="2378422" y="565204"/>
                  </a:cubicBezTo>
                  <a:cubicBezTo>
                    <a:pt x="2387536" y="574318"/>
                    <a:pt x="2381460" y="583433"/>
                    <a:pt x="2372346" y="589509"/>
                  </a:cubicBezTo>
                  <a:cubicBezTo>
                    <a:pt x="2366269" y="592547"/>
                    <a:pt x="2354117" y="595585"/>
                    <a:pt x="2348041" y="583433"/>
                  </a:cubicBezTo>
                  <a:cubicBezTo>
                    <a:pt x="2341965" y="568242"/>
                    <a:pt x="2345003" y="562166"/>
                    <a:pt x="2354117" y="559128"/>
                  </a:cubicBezTo>
                  <a:cubicBezTo>
                    <a:pt x="2357155" y="556090"/>
                    <a:pt x="2360953" y="555330"/>
                    <a:pt x="2365130" y="556470"/>
                  </a:cubicBezTo>
                  <a:close/>
                  <a:moveTo>
                    <a:pt x="1620805" y="550394"/>
                  </a:moveTo>
                  <a:cubicBezTo>
                    <a:pt x="1624983" y="551533"/>
                    <a:pt x="1629540" y="554571"/>
                    <a:pt x="1634097" y="559128"/>
                  </a:cubicBezTo>
                  <a:cubicBezTo>
                    <a:pt x="1643211" y="568242"/>
                    <a:pt x="1637135" y="577357"/>
                    <a:pt x="1628021" y="583433"/>
                  </a:cubicBezTo>
                  <a:cubicBezTo>
                    <a:pt x="1621944" y="586471"/>
                    <a:pt x="1609792" y="589509"/>
                    <a:pt x="1603716" y="577357"/>
                  </a:cubicBezTo>
                  <a:cubicBezTo>
                    <a:pt x="1597640" y="562166"/>
                    <a:pt x="1597640" y="556090"/>
                    <a:pt x="1609792" y="553052"/>
                  </a:cubicBezTo>
                  <a:cubicBezTo>
                    <a:pt x="1612830" y="550014"/>
                    <a:pt x="1616628" y="549254"/>
                    <a:pt x="1620805" y="550394"/>
                  </a:cubicBezTo>
                  <a:close/>
                  <a:moveTo>
                    <a:pt x="2097781" y="544317"/>
                  </a:moveTo>
                  <a:cubicBezTo>
                    <a:pt x="2101959" y="545456"/>
                    <a:pt x="2106516" y="548494"/>
                    <a:pt x="2111073" y="553051"/>
                  </a:cubicBezTo>
                  <a:cubicBezTo>
                    <a:pt x="2120187" y="562165"/>
                    <a:pt x="2114111" y="571280"/>
                    <a:pt x="2104997" y="577356"/>
                  </a:cubicBezTo>
                  <a:cubicBezTo>
                    <a:pt x="2098921" y="580394"/>
                    <a:pt x="2086768" y="583432"/>
                    <a:pt x="2080692" y="571280"/>
                  </a:cubicBezTo>
                  <a:cubicBezTo>
                    <a:pt x="2074616" y="559127"/>
                    <a:pt x="2074616" y="553051"/>
                    <a:pt x="2086768" y="546975"/>
                  </a:cubicBezTo>
                  <a:cubicBezTo>
                    <a:pt x="2089806" y="543937"/>
                    <a:pt x="2093604" y="543177"/>
                    <a:pt x="2097781" y="544317"/>
                  </a:cubicBezTo>
                  <a:close/>
                  <a:moveTo>
                    <a:pt x="1745366" y="538241"/>
                  </a:moveTo>
                  <a:cubicBezTo>
                    <a:pt x="1749544" y="539380"/>
                    <a:pt x="1754101" y="542418"/>
                    <a:pt x="1758658" y="546975"/>
                  </a:cubicBezTo>
                  <a:cubicBezTo>
                    <a:pt x="1767772" y="556089"/>
                    <a:pt x="1761696" y="565204"/>
                    <a:pt x="1752582" y="571280"/>
                  </a:cubicBezTo>
                  <a:cubicBezTo>
                    <a:pt x="1746505" y="574318"/>
                    <a:pt x="1734353" y="577356"/>
                    <a:pt x="1728277" y="565204"/>
                  </a:cubicBezTo>
                  <a:cubicBezTo>
                    <a:pt x="1722201" y="553051"/>
                    <a:pt x="1725239" y="546975"/>
                    <a:pt x="1734353" y="540899"/>
                  </a:cubicBezTo>
                  <a:cubicBezTo>
                    <a:pt x="1737391" y="537861"/>
                    <a:pt x="1741189" y="537101"/>
                    <a:pt x="1745366" y="538241"/>
                  </a:cubicBezTo>
                  <a:close/>
                  <a:moveTo>
                    <a:pt x="624322" y="529127"/>
                  </a:moveTo>
                  <a:cubicBezTo>
                    <a:pt x="628499" y="530266"/>
                    <a:pt x="633056" y="533304"/>
                    <a:pt x="637613" y="537861"/>
                  </a:cubicBezTo>
                  <a:cubicBezTo>
                    <a:pt x="646728" y="546975"/>
                    <a:pt x="640651" y="556090"/>
                    <a:pt x="631537" y="562166"/>
                  </a:cubicBezTo>
                  <a:cubicBezTo>
                    <a:pt x="625461" y="565204"/>
                    <a:pt x="613309" y="568242"/>
                    <a:pt x="607233" y="556090"/>
                  </a:cubicBezTo>
                  <a:cubicBezTo>
                    <a:pt x="601157" y="540899"/>
                    <a:pt x="607233" y="537861"/>
                    <a:pt x="613309" y="531785"/>
                  </a:cubicBezTo>
                  <a:cubicBezTo>
                    <a:pt x="616347" y="528747"/>
                    <a:pt x="620145" y="527987"/>
                    <a:pt x="624322" y="529127"/>
                  </a:cubicBezTo>
                  <a:close/>
                  <a:moveTo>
                    <a:pt x="958508" y="523051"/>
                  </a:moveTo>
                  <a:cubicBezTo>
                    <a:pt x="962686" y="524190"/>
                    <a:pt x="967243" y="527228"/>
                    <a:pt x="971800" y="531785"/>
                  </a:cubicBezTo>
                  <a:cubicBezTo>
                    <a:pt x="980914" y="540899"/>
                    <a:pt x="974838" y="550014"/>
                    <a:pt x="965724" y="556090"/>
                  </a:cubicBezTo>
                  <a:cubicBezTo>
                    <a:pt x="959648" y="559128"/>
                    <a:pt x="947495" y="562166"/>
                    <a:pt x="941419" y="550014"/>
                  </a:cubicBezTo>
                  <a:cubicBezTo>
                    <a:pt x="935343" y="534823"/>
                    <a:pt x="938381" y="528747"/>
                    <a:pt x="947495" y="525709"/>
                  </a:cubicBezTo>
                  <a:cubicBezTo>
                    <a:pt x="950533" y="522671"/>
                    <a:pt x="954331" y="521911"/>
                    <a:pt x="958508" y="523051"/>
                  </a:cubicBezTo>
                  <a:close/>
                  <a:moveTo>
                    <a:pt x="1177248" y="507861"/>
                  </a:moveTo>
                  <a:cubicBezTo>
                    <a:pt x="1181426" y="509000"/>
                    <a:pt x="1185983" y="512038"/>
                    <a:pt x="1190540" y="516595"/>
                  </a:cubicBezTo>
                  <a:cubicBezTo>
                    <a:pt x="1199654" y="525709"/>
                    <a:pt x="1190540" y="537862"/>
                    <a:pt x="1184464" y="540900"/>
                  </a:cubicBezTo>
                  <a:cubicBezTo>
                    <a:pt x="1178388" y="543938"/>
                    <a:pt x="1166235" y="546976"/>
                    <a:pt x="1160159" y="534824"/>
                  </a:cubicBezTo>
                  <a:cubicBezTo>
                    <a:pt x="1154083" y="522671"/>
                    <a:pt x="1157121" y="516595"/>
                    <a:pt x="1166235" y="510519"/>
                  </a:cubicBezTo>
                  <a:cubicBezTo>
                    <a:pt x="1169273" y="507481"/>
                    <a:pt x="1173071" y="506721"/>
                    <a:pt x="1177248" y="507861"/>
                  </a:cubicBezTo>
                  <a:close/>
                  <a:moveTo>
                    <a:pt x="1399027" y="504823"/>
                  </a:moveTo>
                  <a:cubicBezTo>
                    <a:pt x="1403205" y="505962"/>
                    <a:pt x="1407762" y="509000"/>
                    <a:pt x="1412319" y="513557"/>
                  </a:cubicBezTo>
                  <a:cubicBezTo>
                    <a:pt x="1421433" y="522671"/>
                    <a:pt x="1412319" y="534824"/>
                    <a:pt x="1406243" y="537862"/>
                  </a:cubicBezTo>
                  <a:cubicBezTo>
                    <a:pt x="1400167" y="540900"/>
                    <a:pt x="1388014" y="543938"/>
                    <a:pt x="1381938" y="531786"/>
                  </a:cubicBezTo>
                  <a:cubicBezTo>
                    <a:pt x="1375862" y="516595"/>
                    <a:pt x="1378900" y="510519"/>
                    <a:pt x="1388014" y="507481"/>
                  </a:cubicBezTo>
                  <a:cubicBezTo>
                    <a:pt x="1391052" y="504443"/>
                    <a:pt x="1394850" y="503683"/>
                    <a:pt x="1399027" y="504823"/>
                  </a:cubicBezTo>
                  <a:close/>
                  <a:moveTo>
                    <a:pt x="2194999" y="492670"/>
                  </a:moveTo>
                  <a:cubicBezTo>
                    <a:pt x="2199176" y="493809"/>
                    <a:pt x="2203734" y="496847"/>
                    <a:pt x="2208291" y="501404"/>
                  </a:cubicBezTo>
                  <a:cubicBezTo>
                    <a:pt x="2217405" y="510518"/>
                    <a:pt x="2208291" y="522671"/>
                    <a:pt x="2202214" y="525709"/>
                  </a:cubicBezTo>
                  <a:cubicBezTo>
                    <a:pt x="2196138" y="528747"/>
                    <a:pt x="2183986" y="531785"/>
                    <a:pt x="2177910" y="519633"/>
                  </a:cubicBezTo>
                  <a:cubicBezTo>
                    <a:pt x="2174872" y="504442"/>
                    <a:pt x="2174872" y="498366"/>
                    <a:pt x="2183986" y="495328"/>
                  </a:cubicBezTo>
                  <a:cubicBezTo>
                    <a:pt x="2187024" y="492290"/>
                    <a:pt x="2190822" y="491530"/>
                    <a:pt x="2194999" y="492670"/>
                  </a:cubicBezTo>
                  <a:close/>
                  <a:moveTo>
                    <a:pt x="1912459" y="480518"/>
                  </a:moveTo>
                  <a:cubicBezTo>
                    <a:pt x="1916637" y="481657"/>
                    <a:pt x="1921194" y="484695"/>
                    <a:pt x="1925751" y="489252"/>
                  </a:cubicBezTo>
                  <a:cubicBezTo>
                    <a:pt x="1934865" y="498366"/>
                    <a:pt x="1925751" y="510519"/>
                    <a:pt x="1919675" y="513557"/>
                  </a:cubicBezTo>
                  <a:cubicBezTo>
                    <a:pt x="1913598" y="516595"/>
                    <a:pt x="1901446" y="519633"/>
                    <a:pt x="1895370" y="507481"/>
                  </a:cubicBezTo>
                  <a:cubicBezTo>
                    <a:pt x="1889294" y="495328"/>
                    <a:pt x="1892332" y="486214"/>
                    <a:pt x="1901446" y="483176"/>
                  </a:cubicBezTo>
                  <a:cubicBezTo>
                    <a:pt x="1904484" y="480138"/>
                    <a:pt x="1908282" y="479378"/>
                    <a:pt x="1912459" y="480518"/>
                  </a:cubicBezTo>
                  <a:close/>
                  <a:moveTo>
                    <a:pt x="803567" y="480518"/>
                  </a:moveTo>
                  <a:cubicBezTo>
                    <a:pt x="807745" y="481657"/>
                    <a:pt x="812302" y="484695"/>
                    <a:pt x="816859" y="489252"/>
                  </a:cubicBezTo>
                  <a:cubicBezTo>
                    <a:pt x="825973" y="498366"/>
                    <a:pt x="816859" y="510519"/>
                    <a:pt x="810783" y="513557"/>
                  </a:cubicBezTo>
                  <a:cubicBezTo>
                    <a:pt x="804706" y="516595"/>
                    <a:pt x="792554" y="519633"/>
                    <a:pt x="786478" y="507481"/>
                  </a:cubicBezTo>
                  <a:cubicBezTo>
                    <a:pt x="780402" y="495328"/>
                    <a:pt x="780402" y="489252"/>
                    <a:pt x="792554" y="483176"/>
                  </a:cubicBezTo>
                  <a:cubicBezTo>
                    <a:pt x="795592" y="480138"/>
                    <a:pt x="799390" y="479378"/>
                    <a:pt x="803567" y="480518"/>
                  </a:cubicBezTo>
                  <a:close/>
                  <a:moveTo>
                    <a:pt x="1550930" y="471404"/>
                  </a:moveTo>
                  <a:cubicBezTo>
                    <a:pt x="1555108" y="472543"/>
                    <a:pt x="1559665" y="475581"/>
                    <a:pt x="1564222" y="480138"/>
                  </a:cubicBezTo>
                  <a:cubicBezTo>
                    <a:pt x="1573336" y="489252"/>
                    <a:pt x="1564222" y="501405"/>
                    <a:pt x="1558146" y="504443"/>
                  </a:cubicBezTo>
                  <a:cubicBezTo>
                    <a:pt x="1552070" y="507481"/>
                    <a:pt x="1539917" y="510519"/>
                    <a:pt x="1533841" y="498367"/>
                  </a:cubicBezTo>
                  <a:cubicBezTo>
                    <a:pt x="1527765" y="486214"/>
                    <a:pt x="1530803" y="480138"/>
                    <a:pt x="1539917" y="474062"/>
                  </a:cubicBezTo>
                  <a:cubicBezTo>
                    <a:pt x="1542955" y="471024"/>
                    <a:pt x="1546753" y="470264"/>
                    <a:pt x="1550930" y="471404"/>
                  </a:cubicBezTo>
                  <a:close/>
                  <a:moveTo>
                    <a:pt x="2307407" y="465328"/>
                  </a:moveTo>
                  <a:cubicBezTo>
                    <a:pt x="2311584" y="466467"/>
                    <a:pt x="2316141" y="469505"/>
                    <a:pt x="2320698" y="474062"/>
                  </a:cubicBezTo>
                  <a:cubicBezTo>
                    <a:pt x="2329813" y="483176"/>
                    <a:pt x="2323736" y="492291"/>
                    <a:pt x="2314622" y="498367"/>
                  </a:cubicBezTo>
                  <a:cubicBezTo>
                    <a:pt x="2308546" y="501405"/>
                    <a:pt x="2296394" y="504443"/>
                    <a:pt x="2290318" y="492291"/>
                  </a:cubicBezTo>
                  <a:cubicBezTo>
                    <a:pt x="2284242" y="480138"/>
                    <a:pt x="2290318" y="474062"/>
                    <a:pt x="2296394" y="467986"/>
                  </a:cubicBezTo>
                  <a:cubicBezTo>
                    <a:pt x="2299432" y="464948"/>
                    <a:pt x="2303230" y="464188"/>
                    <a:pt x="2307407" y="465328"/>
                  </a:cubicBezTo>
                  <a:close/>
                  <a:moveTo>
                    <a:pt x="1076992" y="462290"/>
                  </a:moveTo>
                  <a:cubicBezTo>
                    <a:pt x="1081170" y="463429"/>
                    <a:pt x="1085727" y="466467"/>
                    <a:pt x="1090284" y="471024"/>
                  </a:cubicBezTo>
                  <a:cubicBezTo>
                    <a:pt x="1099398" y="480138"/>
                    <a:pt x="1093322" y="489253"/>
                    <a:pt x="1084208" y="495329"/>
                  </a:cubicBezTo>
                  <a:cubicBezTo>
                    <a:pt x="1078132" y="498367"/>
                    <a:pt x="1065979" y="501405"/>
                    <a:pt x="1059903" y="489253"/>
                  </a:cubicBezTo>
                  <a:cubicBezTo>
                    <a:pt x="1053827" y="474062"/>
                    <a:pt x="1056865" y="467986"/>
                    <a:pt x="1065979" y="464948"/>
                  </a:cubicBezTo>
                  <a:cubicBezTo>
                    <a:pt x="1069017" y="461910"/>
                    <a:pt x="1072815" y="461150"/>
                    <a:pt x="1076992" y="462290"/>
                  </a:cubicBezTo>
                  <a:close/>
                  <a:moveTo>
                    <a:pt x="2030944" y="456214"/>
                  </a:moveTo>
                  <a:cubicBezTo>
                    <a:pt x="2035121" y="457353"/>
                    <a:pt x="2039679" y="460391"/>
                    <a:pt x="2044236" y="464948"/>
                  </a:cubicBezTo>
                  <a:cubicBezTo>
                    <a:pt x="2053350" y="474062"/>
                    <a:pt x="2044236" y="486215"/>
                    <a:pt x="2038160" y="489253"/>
                  </a:cubicBezTo>
                  <a:cubicBezTo>
                    <a:pt x="2032083" y="492291"/>
                    <a:pt x="2019931" y="495329"/>
                    <a:pt x="2013855" y="483177"/>
                  </a:cubicBezTo>
                  <a:cubicBezTo>
                    <a:pt x="2007779" y="471024"/>
                    <a:pt x="2007779" y="464948"/>
                    <a:pt x="2019931" y="458872"/>
                  </a:cubicBezTo>
                  <a:cubicBezTo>
                    <a:pt x="2022969" y="455834"/>
                    <a:pt x="2026767" y="455074"/>
                    <a:pt x="2030944" y="456214"/>
                  </a:cubicBezTo>
                  <a:close/>
                  <a:moveTo>
                    <a:pt x="1280542" y="453176"/>
                  </a:moveTo>
                  <a:cubicBezTo>
                    <a:pt x="1284720" y="454315"/>
                    <a:pt x="1289277" y="457353"/>
                    <a:pt x="1293834" y="461910"/>
                  </a:cubicBezTo>
                  <a:cubicBezTo>
                    <a:pt x="1302948" y="471024"/>
                    <a:pt x="1296872" y="480139"/>
                    <a:pt x="1287758" y="486215"/>
                  </a:cubicBezTo>
                  <a:cubicBezTo>
                    <a:pt x="1281682" y="489253"/>
                    <a:pt x="1269529" y="492291"/>
                    <a:pt x="1263453" y="480139"/>
                  </a:cubicBezTo>
                  <a:cubicBezTo>
                    <a:pt x="1257377" y="467986"/>
                    <a:pt x="1257377" y="461910"/>
                    <a:pt x="1269529" y="455834"/>
                  </a:cubicBezTo>
                  <a:cubicBezTo>
                    <a:pt x="1272567" y="452796"/>
                    <a:pt x="1276365" y="452036"/>
                    <a:pt x="1280542" y="453176"/>
                  </a:cubicBezTo>
                  <a:close/>
                  <a:moveTo>
                    <a:pt x="679006" y="450138"/>
                  </a:moveTo>
                  <a:cubicBezTo>
                    <a:pt x="683184" y="451277"/>
                    <a:pt x="687741" y="454315"/>
                    <a:pt x="692298" y="458872"/>
                  </a:cubicBezTo>
                  <a:cubicBezTo>
                    <a:pt x="701412" y="467986"/>
                    <a:pt x="695336" y="477101"/>
                    <a:pt x="686222" y="483177"/>
                  </a:cubicBezTo>
                  <a:cubicBezTo>
                    <a:pt x="680146" y="486215"/>
                    <a:pt x="667993" y="489253"/>
                    <a:pt x="661917" y="477101"/>
                  </a:cubicBezTo>
                  <a:cubicBezTo>
                    <a:pt x="655841" y="464948"/>
                    <a:pt x="658879" y="458872"/>
                    <a:pt x="667993" y="452796"/>
                  </a:cubicBezTo>
                  <a:cubicBezTo>
                    <a:pt x="671031" y="449758"/>
                    <a:pt x="674829" y="448998"/>
                    <a:pt x="679006" y="450138"/>
                  </a:cubicBezTo>
                  <a:close/>
                  <a:moveTo>
                    <a:pt x="1815242" y="447099"/>
                  </a:moveTo>
                  <a:cubicBezTo>
                    <a:pt x="1819419" y="448238"/>
                    <a:pt x="1823976" y="451276"/>
                    <a:pt x="1828533" y="455833"/>
                  </a:cubicBezTo>
                  <a:cubicBezTo>
                    <a:pt x="1837647" y="464947"/>
                    <a:pt x="1828533" y="477100"/>
                    <a:pt x="1822457" y="480138"/>
                  </a:cubicBezTo>
                  <a:cubicBezTo>
                    <a:pt x="1816381" y="483176"/>
                    <a:pt x="1804228" y="486214"/>
                    <a:pt x="1798152" y="474062"/>
                  </a:cubicBezTo>
                  <a:cubicBezTo>
                    <a:pt x="1792076" y="458871"/>
                    <a:pt x="1795114" y="452795"/>
                    <a:pt x="1804228" y="449757"/>
                  </a:cubicBezTo>
                  <a:cubicBezTo>
                    <a:pt x="1807267" y="446719"/>
                    <a:pt x="1811064" y="445959"/>
                    <a:pt x="1815242" y="447099"/>
                  </a:cubicBezTo>
                  <a:close/>
                  <a:moveTo>
                    <a:pt x="1699795" y="444061"/>
                  </a:moveTo>
                  <a:cubicBezTo>
                    <a:pt x="1703973" y="445200"/>
                    <a:pt x="1708530" y="448238"/>
                    <a:pt x="1713087" y="452795"/>
                  </a:cubicBezTo>
                  <a:cubicBezTo>
                    <a:pt x="1722201" y="461909"/>
                    <a:pt x="1716125" y="471024"/>
                    <a:pt x="1707011" y="477100"/>
                  </a:cubicBezTo>
                  <a:cubicBezTo>
                    <a:pt x="1700934" y="480138"/>
                    <a:pt x="1688782" y="483176"/>
                    <a:pt x="1682706" y="471024"/>
                  </a:cubicBezTo>
                  <a:cubicBezTo>
                    <a:pt x="1676630" y="458871"/>
                    <a:pt x="1679668" y="449757"/>
                    <a:pt x="1688782" y="446719"/>
                  </a:cubicBezTo>
                  <a:cubicBezTo>
                    <a:pt x="1691820" y="443681"/>
                    <a:pt x="1695618" y="442921"/>
                    <a:pt x="1699795" y="444061"/>
                  </a:cubicBezTo>
                  <a:close/>
                  <a:moveTo>
                    <a:pt x="888633" y="434947"/>
                  </a:moveTo>
                  <a:cubicBezTo>
                    <a:pt x="892811" y="436086"/>
                    <a:pt x="897368" y="439124"/>
                    <a:pt x="901925" y="443681"/>
                  </a:cubicBezTo>
                  <a:cubicBezTo>
                    <a:pt x="911039" y="452795"/>
                    <a:pt x="901925" y="464948"/>
                    <a:pt x="895849" y="467986"/>
                  </a:cubicBezTo>
                  <a:cubicBezTo>
                    <a:pt x="889773" y="471024"/>
                    <a:pt x="877620" y="474062"/>
                    <a:pt x="871544" y="461910"/>
                  </a:cubicBezTo>
                  <a:cubicBezTo>
                    <a:pt x="865468" y="446719"/>
                    <a:pt x="868506" y="440643"/>
                    <a:pt x="877620" y="437605"/>
                  </a:cubicBezTo>
                  <a:cubicBezTo>
                    <a:pt x="880658" y="434567"/>
                    <a:pt x="884456" y="433807"/>
                    <a:pt x="888633" y="434947"/>
                  </a:cubicBezTo>
                  <a:close/>
                  <a:moveTo>
                    <a:pt x="2158542" y="407605"/>
                  </a:moveTo>
                  <a:cubicBezTo>
                    <a:pt x="2162719" y="408744"/>
                    <a:pt x="2167276" y="411782"/>
                    <a:pt x="2171833" y="416339"/>
                  </a:cubicBezTo>
                  <a:cubicBezTo>
                    <a:pt x="2180948" y="425453"/>
                    <a:pt x="2174872" y="434568"/>
                    <a:pt x="2165757" y="440644"/>
                  </a:cubicBezTo>
                  <a:cubicBezTo>
                    <a:pt x="2159681" y="443682"/>
                    <a:pt x="2147529" y="446720"/>
                    <a:pt x="2141453" y="434568"/>
                  </a:cubicBezTo>
                  <a:cubicBezTo>
                    <a:pt x="2135377" y="422415"/>
                    <a:pt x="2141453" y="416339"/>
                    <a:pt x="2147529" y="410263"/>
                  </a:cubicBezTo>
                  <a:cubicBezTo>
                    <a:pt x="2150567" y="407225"/>
                    <a:pt x="2154365" y="406465"/>
                    <a:pt x="2158542" y="407605"/>
                  </a:cubicBezTo>
                  <a:close/>
                  <a:moveTo>
                    <a:pt x="1484092" y="407605"/>
                  </a:moveTo>
                  <a:cubicBezTo>
                    <a:pt x="1488270" y="408744"/>
                    <a:pt x="1492827" y="411782"/>
                    <a:pt x="1497384" y="416339"/>
                  </a:cubicBezTo>
                  <a:cubicBezTo>
                    <a:pt x="1506498" y="425453"/>
                    <a:pt x="1500422" y="434568"/>
                    <a:pt x="1491308" y="440644"/>
                  </a:cubicBezTo>
                  <a:cubicBezTo>
                    <a:pt x="1485231" y="443682"/>
                    <a:pt x="1473079" y="446720"/>
                    <a:pt x="1467003" y="434568"/>
                  </a:cubicBezTo>
                  <a:cubicBezTo>
                    <a:pt x="1460927" y="422415"/>
                    <a:pt x="1463965" y="413301"/>
                    <a:pt x="1473079" y="410263"/>
                  </a:cubicBezTo>
                  <a:cubicBezTo>
                    <a:pt x="1476117" y="407225"/>
                    <a:pt x="1479915" y="406465"/>
                    <a:pt x="1484092" y="407605"/>
                  </a:cubicBezTo>
                  <a:close/>
                  <a:moveTo>
                    <a:pt x="1365608" y="404567"/>
                  </a:moveTo>
                  <a:cubicBezTo>
                    <a:pt x="1369786" y="405706"/>
                    <a:pt x="1374343" y="408744"/>
                    <a:pt x="1378900" y="413301"/>
                  </a:cubicBezTo>
                  <a:cubicBezTo>
                    <a:pt x="1388014" y="422415"/>
                    <a:pt x="1381938" y="431530"/>
                    <a:pt x="1372824" y="437606"/>
                  </a:cubicBezTo>
                  <a:cubicBezTo>
                    <a:pt x="1366748" y="440644"/>
                    <a:pt x="1354595" y="443682"/>
                    <a:pt x="1348519" y="431530"/>
                  </a:cubicBezTo>
                  <a:cubicBezTo>
                    <a:pt x="1342443" y="419377"/>
                    <a:pt x="1345481" y="410263"/>
                    <a:pt x="1354595" y="407225"/>
                  </a:cubicBezTo>
                  <a:cubicBezTo>
                    <a:pt x="1357633" y="404187"/>
                    <a:pt x="1361431" y="403427"/>
                    <a:pt x="1365608" y="404567"/>
                  </a:cubicBezTo>
                  <a:close/>
                  <a:moveTo>
                    <a:pt x="988889" y="404567"/>
                  </a:moveTo>
                  <a:cubicBezTo>
                    <a:pt x="993066" y="405706"/>
                    <a:pt x="997623" y="408744"/>
                    <a:pt x="1002180" y="413301"/>
                  </a:cubicBezTo>
                  <a:cubicBezTo>
                    <a:pt x="1011295" y="422415"/>
                    <a:pt x="1005218" y="431530"/>
                    <a:pt x="996104" y="437606"/>
                  </a:cubicBezTo>
                  <a:cubicBezTo>
                    <a:pt x="990028" y="440644"/>
                    <a:pt x="977876" y="443682"/>
                    <a:pt x="971800" y="431530"/>
                  </a:cubicBezTo>
                  <a:cubicBezTo>
                    <a:pt x="965724" y="419377"/>
                    <a:pt x="971800" y="413301"/>
                    <a:pt x="977876" y="407225"/>
                  </a:cubicBezTo>
                  <a:cubicBezTo>
                    <a:pt x="980914" y="404187"/>
                    <a:pt x="984712" y="403427"/>
                    <a:pt x="988889" y="404567"/>
                  </a:cubicBezTo>
                  <a:close/>
                  <a:moveTo>
                    <a:pt x="1182565" y="394312"/>
                  </a:moveTo>
                  <a:cubicBezTo>
                    <a:pt x="1186742" y="395072"/>
                    <a:pt x="1190540" y="398110"/>
                    <a:pt x="1193578" y="404186"/>
                  </a:cubicBezTo>
                  <a:cubicBezTo>
                    <a:pt x="1202692" y="413300"/>
                    <a:pt x="1196616" y="422415"/>
                    <a:pt x="1187502" y="428491"/>
                  </a:cubicBezTo>
                  <a:cubicBezTo>
                    <a:pt x="1181425" y="431529"/>
                    <a:pt x="1169273" y="434567"/>
                    <a:pt x="1163197" y="422415"/>
                  </a:cubicBezTo>
                  <a:cubicBezTo>
                    <a:pt x="1157121" y="410262"/>
                    <a:pt x="1160159" y="404186"/>
                    <a:pt x="1169273" y="398110"/>
                  </a:cubicBezTo>
                  <a:cubicBezTo>
                    <a:pt x="1173830" y="395072"/>
                    <a:pt x="1178387" y="393553"/>
                    <a:pt x="1182565" y="394312"/>
                  </a:cubicBezTo>
                  <a:close/>
                  <a:moveTo>
                    <a:pt x="1620805" y="389376"/>
                  </a:moveTo>
                  <a:cubicBezTo>
                    <a:pt x="1624983" y="390515"/>
                    <a:pt x="1629540" y="393553"/>
                    <a:pt x="1634097" y="398110"/>
                  </a:cubicBezTo>
                  <a:cubicBezTo>
                    <a:pt x="1643211" y="407224"/>
                    <a:pt x="1637135" y="416339"/>
                    <a:pt x="1628021" y="422415"/>
                  </a:cubicBezTo>
                  <a:cubicBezTo>
                    <a:pt x="1621944" y="425453"/>
                    <a:pt x="1609792" y="428491"/>
                    <a:pt x="1603716" y="416339"/>
                  </a:cubicBezTo>
                  <a:cubicBezTo>
                    <a:pt x="1597640" y="401148"/>
                    <a:pt x="1600678" y="395072"/>
                    <a:pt x="1609792" y="392034"/>
                  </a:cubicBezTo>
                  <a:cubicBezTo>
                    <a:pt x="1612830" y="388996"/>
                    <a:pt x="1616628" y="388236"/>
                    <a:pt x="1620805" y="389376"/>
                  </a:cubicBezTo>
                  <a:close/>
                  <a:moveTo>
                    <a:pt x="1961068" y="380262"/>
                  </a:moveTo>
                  <a:cubicBezTo>
                    <a:pt x="1965246" y="381401"/>
                    <a:pt x="1969803" y="384439"/>
                    <a:pt x="1974360" y="388996"/>
                  </a:cubicBezTo>
                  <a:cubicBezTo>
                    <a:pt x="1983474" y="398110"/>
                    <a:pt x="1974360" y="410263"/>
                    <a:pt x="1968284" y="413301"/>
                  </a:cubicBezTo>
                  <a:cubicBezTo>
                    <a:pt x="1962208" y="416339"/>
                    <a:pt x="1950055" y="419377"/>
                    <a:pt x="1943979" y="407225"/>
                  </a:cubicBezTo>
                  <a:cubicBezTo>
                    <a:pt x="1937903" y="395072"/>
                    <a:pt x="1940941" y="388996"/>
                    <a:pt x="1950055" y="382920"/>
                  </a:cubicBezTo>
                  <a:cubicBezTo>
                    <a:pt x="1953093" y="379882"/>
                    <a:pt x="1956891" y="379122"/>
                    <a:pt x="1961068" y="380262"/>
                  </a:cubicBezTo>
                  <a:close/>
                  <a:moveTo>
                    <a:pt x="770148" y="380262"/>
                  </a:moveTo>
                  <a:cubicBezTo>
                    <a:pt x="774326" y="381401"/>
                    <a:pt x="778883" y="384439"/>
                    <a:pt x="783440" y="388996"/>
                  </a:cubicBezTo>
                  <a:cubicBezTo>
                    <a:pt x="792554" y="398110"/>
                    <a:pt x="786478" y="407225"/>
                    <a:pt x="777364" y="413301"/>
                  </a:cubicBezTo>
                  <a:cubicBezTo>
                    <a:pt x="771287" y="416339"/>
                    <a:pt x="759135" y="419377"/>
                    <a:pt x="753059" y="407225"/>
                  </a:cubicBezTo>
                  <a:cubicBezTo>
                    <a:pt x="746983" y="395072"/>
                    <a:pt x="746983" y="385958"/>
                    <a:pt x="759135" y="382920"/>
                  </a:cubicBezTo>
                  <a:cubicBezTo>
                    <a:pt x="762173" y="379882"/>
                    <a:pt x="765971" y="379122"/>
                    <a:pt x="770148" y="380262"/>
                  </a:cubicBezTo>
                  <a:close/>
                  <a:moveTo>
                    <a:pt x="2240571" y="352920"/>
                  </a:moveTo>
                  <a:cubicBezTo>
                    <a:pt x="2244748" y="354059"/>
                    <a:pt x="2249305" y="357097"/>
                    <a:pt x="2253862" y="361654"/>
                  </a:cubicBezTo>
                  <a:cubicBezTo>
                    <a:pt x="2262976" y="370768"/>
                    <a:pt x="2256900" y="379883"/>
                    <a:pt x="2247786" y="385959"/>
                  </a:cubicBezTo>
                  <a:cubicBezTo>
                    <a:pt x="2241710" y="388997"/>
                    <a:pt x="2229557" y="392035"/>
                    <a:pt x="2223481" y="379883"/>
                  </a:cubicBezTo>
                  <a:cubicBezTo>
                    <a:pt x="2217405" y="367730"/>
                    <a:pt x="2220443" y="361654"/>
                    <a:pt x="2229557" y="355578"/>
                  </a:cubicBezTo>
                  <a:cubicBezTo>
                    <a:pt x="2232596" y="352540"/>
                    <a:pt x="2236393" y="351780"/>
                    <a:pt x="2240571" y="352920"/>
                  </a:cubicBezTo>
                  <a:close/>
                  <a:moveTo>
                    <a:pt x="2082590" y="352920"/>
                  </a:moveTo>
                  <a:cubicBezTo>
                    <a:pt x="2086768" y="354059"/>
                    <a:pt x="2091325" y="357097"/>
                    <a:pt x="2095882" y="361654"/>
                  </a:cubicBezTo>
                  <a:cubicBezTo>
                    <a:pt x="2104996" y="370768"/>
                    <a:pt x="2095882" y="382921"/>
                    <a:pt x="2089806" y="385959"/>
                  </a:cubicBezTo>
                  <a:cubicBezTo>
                    <a:pt x="2083730" y="388997"/>
                    <a:pt x="2071577" y="392035"/>
                    <a:pt x="2065501" y="379883"/>
                  </a:cubicBezTo>
                  <a:cubicBezTo>
                    <a:pt x="2059425" y="367730"/>
                    <a:pt x="2062463" y="361654"/>
                    <a:pt x="2071577" y="355578"/>
                  </a:cubicBezTo>
                  <a:cubicBezTo>
                    <a:pt x="2074615" y="352540"/>
                    <a:pt x="2078413" y="351780"/>
                    <a:pt x="2082590" y="352920"/>
                  </a:cubicBezTo>
                  <a:close/>
                  <a:moveTo>
                    <a:pt x="1080030" y="337729"/>
                  </a:moveTo>
                  <a:cubicBezTo>
                    <a:pt x="1084208" y="338868"/>
                    <a:pt x="1088765" y="341906"/>
                    <a:pt x="1093322" y="346463"/>
                  </a:cubicBezTo>
                  <a:cubicBezTo>
                    <a:pt x="1102436" y="355577"/>
                    <a:pt x="1093322" y="367730"/>
                    <a:pt x="1087246" y="370768"/>
                  </a:cubicBezTo>
                  <a:cubicBezTo>
                    <a:pt x="1081170" y="373806"/>
                    <a:pt x="1069017" y="376844"/>
                    <a:pt x="1062941" y="364692"/>
                  </a:cubicBezTo>
                  <a:cubicBezTo>
                    <a:pt x="1056865" y="352539"/>
                    <a:pt x="1059903" y="346463"/>
                    <a:pt x="1069017" y="340387"/>
                  </a:cubicBezTo>
                  <a:cubicBezTo>
                    <a:pt x="1072055" y="337349"/>
                    <a:pt x="1075853" y="336589"/>
                    <a:pt x="1080030" y="337729"/>
                  </a:cubicBezTo>
                  <a:close/>
                  <a:moveTo>
                    <a:pt x="1787899" y="331653"/>
                  </a:moveTo>
                  <a:cubicBezTo>
                    <a:pt x="1792076" y="332792"/>
                    <a:pt x="1796634" y="335830"/>
                    <a:pt x="1801191" y="340387"/>
                  </a:cubicBezTo>
                  <a:cubicBezTo>
                    <a:pt x="1810305" y="349501"/>
                    <a:pt x="1801191" y="361654"/>
                    <a:pt x="1795115" y="364692"/>
                  </a:cubicBezTo>
                  <a:cubicBezTo>
                    <a:pt x="1789038" y="367730"/>
                    <a:pt x="1776886" y="370768"/>
                    <a:pt x="1770810" y="358616"/>
                  </a:cubicBezTo>
                  <a:cubicBezTo>
                    <a:pt x="1764734" y="346463"/>
                    <a:pt x="1767772" y="340387"/>
                    <a:pt x="1776886" y="334311"/>
                  </a:cubicBezTo>
                  <a:cubicBezTo>
                    <a:pt x="1779924" y="331273"/>
                    <a:pt x="1783722" y="330513"/>
                    <a:pt x="1787899" y="331653"/>
                  </a:cubicBezTo>
                  <a:close/>
                  <a:moveTo>
                    <a:pt x="1879040" y="328615"/>
                  </a:moveTo>
                  <a:cubicBezTo>
                    <a:pt x="1883217" y="329754"/>
                    <a:pt x="1887775" y="332792"/>
                    <a:pt x="1892332" y="337349"/>
                  </a:cubicBezTo>
                  <a:cubicBezTo>
                    <a:pt x="1901446" y="346463"/>
                    <a:pt x="1895370" y="355578"/>
                    <a:pt x="1886256" y="361654"/>
                  </a:cubicBezTo>
                  <a:cubicBezTo>
                    <a:pt x="1880179" y="364692"/>
                    <a:pt x="1868027" y="367730"/>
                    <a:pt x="1861951" y="355578"/>
                  </a:cubicBezTo>
                  <a:cubicBezTo>
                    <a:pt x="1855875" y="343425"/>
                    <a:pt x="1858913" y="334311"/>
                    <a:pt x="1868027" y="331273"/>
                  </a:cubicBezTo>
                  <a:cubicBezTo>
                    <a:pt x="1871065" y="328235"/>
                    <a:pt x="1874863" y="327475"/>
                    <a:pt x="1879040" y="328615"/>
                  </a:cubicBezTo>
                  <a:close/>
                  <a:moveTo>
                    <a:pt x="1265352" y="325577"/>
                  </a:moveTo>
                  <a:cubicBezTo>
                    <a:pt x="1269530" y="326716"/>
                    <a:pt x="1274087" y="329754"/>
                    <a:pt x="1278644" y="334311"/>
                  </a:cubicBezTo>
                  <a:cubicBezTo>
                    <a:pt x="1287758" y="343425"/>
                    <a:pt x="1278644" y="355578"/>
                    <a:pt x="1272568" y="358616"/>
                  </a:cubicBezTo>
                  <a:cubicBezTo>
                    <a:pt x="1266492" y="361654"/>
                    <a:pt x="1254339" y="364692"/>
                    <a:pt x="1248263" y="352540"/>
                  </a:cubicBezTo>
                  <a:cubicBezTo>
                    <a:pt x="1242187" y="337349"/>
                    <a:pt x="1245225" y="331273"/>
                    <a:pt x="1254339" y="328235"/>
                  </a:cubicBezTo>
                  <a:cubicBezTo>
                    <a:pt x="1257377" y="325197"/>
                    <a:pt x="1261175" y="324437"/>
                    <a:pt x="1265352" y="325577"/>
                  </a:cubicBezTo>
                  <a:close/>
                  <a:moveTo>
                    <a:pt x="864328" y="319501"/>
                  </a:moveTo>
                  <a:cubicBezTo>
                    <a:pt x="868506" y="320640"/>
                    <a:pt x="873063" y="323678"/>
                    <a:pt x="877620" y="328235"/>
                  </a:cubicBezTo>
                  <a:cubicBezTo>
                    <a:pt x="886734" y="337349"/>
                    <a:pt x="877620" y="349502"/>
                    <a:pt x="871544" y="352540"/>
                  </a:cubicBezTo>
                  <a:cubicBezTo>
                    <a:pt x="865468" y="355578"/>
                    <a:pt x="853315" y="358616"/>
                    <a:pt x="847239" y="346464"/>
                  </a:cubicBezTo>
                  <a:cubicBezTo>
                    <a:pt x="841163" y="334311"/>
                    <a:pt x="844201" y="325197"/>
                    <a:pt x="853315" y="322159"/>
                  </a:cubicBezTo>
                  <a:cubicBezTo>
                    <a:pt x="856353" y="319121"/>
                    <a:pt x="860151" y="318361"/>
                    <a:pt x="864328" y="319501"/>
                  </a:cubicBezTo>
                  <a:close/>
                  <a:moveTo>
                    <a:pt x="1459788" y="316463"/>
                  </a:moveTo>
                  <a:cubicBezTo>
                    <a:pt x="1463966" y="317602"/>
                    <a:pt x="1468523" y="320640"/>
                    <a:pt x="1473080" y="325197"/>
                  </a:cubicBezTo>
                  <a:cubicBezTo>
                    <a:pt x="1482194" y="334311"/>
                    <a:pt x="1476118" y="343426"/>
                    <a:pt x="1467004" y="349502"/>
                  </a:cubicBezTo>
                  <a:cubicBezTo>
                    <a:pt x="1460928" y="352540"/>
                    <a:pt x="1448775" y="355578"/>
                    <a:pt x="1442699" y="343426"/>
                  </a:cubicBezTo>
                  <a:cubicBezTo>
                    <a:pt x="1436623" y="328235"/>
                    <a:pt x="1439661" y="322159"/>
                    <a:pt x="1448775" y="319121"/>
                  </a:cubicBezTo>
                  <a:cubicBezTo>
                    <a:pt x="1451813" y="316083"/>
                    <a:pt x="1455611" y="315323"/>
                    <a:pt x="1459788" y="316463"/>
                  </a:cubicBezTo>
                  <a:close/>
                  <a:moveTo>
                    <a:pt x="1702833" y="310387"/>
                  </a:moveTo>
                  <a:cubicBezTo>
                    <a:pt x="1707011" y="311526"/>
                    <a:pt x="1711568" y="314564"/>
                    <a:pt x="1716125" y="319121"/>
                  </a:cubicBezTo>
                  <a:cubicBezTo>
                    <a:pt x="1725239" y="328235"/>
                    <a:pt x="1716125" y="340388"/>
                    <a:pt x="1710049" y="343426"/>
                  </a:cubicBezTo>
                  <a:cubicBezTo>
                    <a:pt x="1703973" y="346464"/>
                    <a:pt x="1691820" y="349502"/>
                    <a:pt x="1685744" y="337350"/>
                  </a:cubicBezTo>
                  <a:cubicBezTo>
                    <a:pt x="1679668" y="322159"/>
                    <a:pt x="1682706" y="316083"/>
                    <a:pt x="1691820" y="313045"/>
                  </a:cubicBezTo>
                  <a:cubicBezTo>
                    <a:pt x="1694858" y="310007"/>
                    <a:pt x="1698656" y="309247"/>
                    <a:pt x="1702833" y="310387"/>
                  </a:cubicBezTo>
                  <a:close/>
                  <a:moveTo>
                    <a:pt x="1577893" y="297095"/>
                  </a:moveTo>
                  <a:cubicBezTo>
                    <a:pt x="1582450" y="297855"/>
                    <a:pt x="1587008" y="300893"/>
                    <a:pt x="1591565" y="306969"/>
                  </a:cubicBezTo>
                  <a:cubicBezTo>
                    <a:pt x="1600679" y="316083"/>
                    <a:pt x="1594603" y="325198"/>
                    <a:pt x="1585489" y="331274"/>
                  </a:cubicBezTo>
                  <a:cubicBezTo>
                    <a:pt x="1579412" y="334312"/>
                    <a:pt x="1567260" y="337350"/>
                    <a:pt x="1561184" y="325198"/>
                  </a:cubicBezTo>
                  <a:cubicBezTo>
                    <a:pt x="1555108" y="313045"/>
                    <a:pt x="1558146" y="303931"/>
                    <a:pt x="1564222" y="300893"/>
                  </a:cubicBezTo>
                  <a:cubicBezTo>
                    <a:pt x="1568779" y="297855"/>
                    <a:pt x="1573336" y="296336"/>
                    <a:pt x="1577893" y="297095"/>
                  </a:cubicBezTo>
                  <a:close/>
                  <a:moveTo>
                    <a:pt x="955470" y="295196"/>
                  </a:moveTo>
                  <a:cubicBezTo>
                    <a:pt x="959648" y="296335"/>
                    <a:pt x="964205" y="299373"/>
                    <a:pt x="968762" y="303930"/>
                  </a:cubicBezTo>
                  <a:cubicBezTo>
                    <a:pt x="977876" y="313044"/>
                    <a:pt x="971800" y="322159"/>
                    <a:pt x="962686" y="328235"/>
                  </a:cubicBezTo>
                  <a:cubicBezTo>
                    <a:pt x="956610" y="331273"/>
                    <a:pt x="944457" y="334311"/>
                    <a:pt x="938381" y="322159"/>
                  </a:cubicBezTo>
                  <a:cubicBezTo>
                    <a:pt x="932305" y="310006"/>
                    <a:pt x="935343" y="303930"/>
                    <a:pt x="944457" y="297854"/>
                  </a:cubicBezTo>
                  <a:cubicBezTo>
                    <a:pt x="947495" y="294816"/>
                    <a:pt x="951293" y="294056"/>
                    <a:pt x="955470" y="295196"/>
                  </a:cubicBezTo>
                  <a:close/>
                  <a:moveTo>
                    <a:pt x="1365608" y="283044"/>
                  </a:moveTo>
                  <a:cubicBezTo>
                    <a:pt x="1369786" y="284183"/>
                    <a:pt x="1374343" y="287221"/>
                    <a:pt x="1378900" y="291778"/>
                  </a:cubicBezTo>
                  <a:cubicBezTo>
                    <a:pt x="1388014" y="300892"/>
                    <a:pt x="1381938" y="310007"/>
                    <a:pt x="1372824" y="316083"/>
                  </a:cubicBezTo>
                  <a:cubicBezTo>
                    <a:pt x="1366748" y="319121"/>
                    <a:pt x="1354595" y="322159"/>
                    <a:pt x="1348519" y="310007"/>
                  </a:cubicBezTo>
                  <a:cubicBezTo>
                    <a:pt x="1342443" y="297854"/>
                    <a:pt x="1345481" y="291778"/>
                    <a:pt x="1354595" y="285702"/>
                  </a:cubicBezTo>
                  <a:cubicBezTo>
                    <a:pt x="1357633" y="282664"/>
                    <a:pt x="1361431" y="281904"/>
                    <a:pt x="1365608" y="283044"/>
                  </a:cubicBezTo>
                  <a:close/>
                  <a:moveTo>
                    <a:pt x="1979296" y="267854"/>
                  </a:moveTo>
                  <a:cubicBezTo>
                    <a:pt x="1983474" y="268993"/>
                    <a:pt x="1988031" y="272031"/>
                    <a:pt x="1992588" y="276588"/>
                  </a:cubicBezTo>
                  <a:cubicBezTo>
                    <a:pt x="2001702" y="285702"/>
                    <a:pt x="1995626" y="294817"/>
                    <a:pt x="1986512" y="300893"/>
                  </a:cubicBezTo>
                  <a:cubicBezTo>
                    <a:pt x="1980436" y="303931"/>
                    <a:pt x="1968283" y="306969"/>
                    <a:pt x="1962207" y="294817"/>
                  </a:cubicBezTo>
                  <a:cubicBezTo>
                    <a:pt x="1956131" y="279626"/>
                    <a:pt x="1959169" y="273550"/>
                    <a:pt x="1968283" y="270512"/>
                  </a:cubicBezTo>
                  <a:cubicBezTo>
                    <a:pt x="1971321" y="267474"/>
                    <a:pt x="1975119" y="266714"/>
                    <a:pt x="1979296" y="267854"/>
                  </a:cubicBezTo>
                  <a:close/>
                  <a:moveTo>
                    <a:pt x="1173830" y="266714"/>
                  </a:moveTo>
                  <a:cubicBezTo>
                    <a:pt x="1178387" y="267474"/>
                    <a:pt x="1182945" y="270512"/>
                    <a:pt x="1187502" y="276588"/>
                  </a:cubicBezTo>
                  <a:cubicBezTo>
                    <a:pt x="1196616" y="285702"/>
                    <a:pt x="1190540" y="294817"/>
                    <a:pt x="1181425" y="300893"/>
                  </a:cubicBezTo>
                  <a:cubicBezTo>
                    <a:pt x="1175349" y="303931"/>
                    <a:pt x="1163197" y="306969"/>
                    <a:pt x="1157121" y="294817"/>
                  </a:cubicBezTo>
                  <a:cubicBezTo>
                    <a:pt x="1151045" y="282664"/>
                    <a:pt x="1154083" y="273550"/>
                    <a:pt x="1160159" y="270512"/>
                  </a:cubicBezTo>
                  <a:cubicBezTo>
                    <a:pt x="1164716" y="267474"/>
                    <a:pt x="1169273" y="265955"/>
                    <a:pt x="1173830" y="266714"/>
                  </a:cubicBezTo>
                  <a:close/>
                  <a:moveTo>
                    <a:pt x="2167656" y="246587"/>
                  </a:moveTo>
                  <a:cubicBezTo>
                    <a:pt x="2171833" y="247726"/>
                    <a:pt x="2176391" y="250764"/>
                    <a:pt x="2180948" y="255321"/>
                  </a:cubicBezTo>
                  <a:cubicBezTo>
                    <a:pt x="2190062" y="264435"/>
                    <a:pt x="2183986" y="273550"/>
                    <a:pt x="2174872" y="279626"/>
                  </a:cubicBezTo>
                  <a:cubicBezTo>
                    <a:pt x="2168795" y="282664"/>
                    <a:pt x="2156643" y="285702"/>
                    <a:pt x="2150567" y="273550"/>
                  </a:cubicBezTo>
                  <a:cubicBezTo>
                    <a:pt x="2144491" y="258359"/>
                    <a:pt x="2147529" y="252283"/>
                    <a:pt x="2156643" y="249245"/>
                  </a:cubicBezTo>
                  <a:cubicBezTo>
                    <a:pt x="2159681" y="246207"/>
                    <a:pt x="2163479" y="245447"/>
                    <a:pt x="2167656" y="246587"/>
                  </a:cubicBezTo>
                  <a:close/>
                  <a:moveTo>
                    <a:pt x="2073477" y="240511"/>
                  </a:moveTo>
                  <a:cubicBezTo>
                    <a:pt x="2077654" y="241650"/>
                    <a:pt x="2082211" y="244688"/>
                    <a:pt x="2086768" y="249245"/>
                  </a:cubicBezTo>
                  <a:cubicBezTo>
                    <a:pt x="2095882" y="258359"/>
                    <a:pt x="2089806" y="267474"/>
                    <a:pt x="2080692" y="273550"/>
                  </a:cubicBezTo>
                  <a:cubicBezTo>
                    <a:pt x="2074616" y="276588"/>
                    <a:pt x="2062463" y="279626"/>
                    <a:pt x="2056387" y="267474"/>
                  </a:cubicBezTo>
                  <a:cubicBezTo>
                    <a:pt x="2050311" y="252283"/>
                    <a:pt x="2053349" y="246207"/>
                    <a:pt x="2062463" y="243169"/>
                  </a:cubicBezTo>
                  <a:cubicBezTo>
                    <a:pt x="2065502" y="240131"/>
                    <a:pt x="2069299" y="239371"/>
                    <a:pt x="2073477" y="240511"/>
                  </a:cubicBezTo>
                  <a:close/>
                  <a:moveTo>
                    <a:pt x="1505359" y="222283"/>
                  </a:moveTo>
                  <a:cubicBezTo>
                    <a:pt x="1509537" y="223422"/>
                    <a:pt x="1514094" y="226460"/>
                    <a:pt x="1518651" y="231017"/>
                  </a:cubicBezTo>
                  <a:cubicBezTo>
                    <a:pt x="1527765" y="240131"/>
                    <a:pt x="1521689" y="249246"/>
                    <a:pt x="1512575" y="255322"/>
                  </a:cubicBezTo>
                  <a:cubicBezTo>
                    <a:pt x="1506499" y="258360"/>
                    <a:pt x="1494346" y="261398"/>
                    <a:pt x="1488270" y="249246"/>
                  </a:cubicBezTo>
                  <a:cubicBezTo>
                    <a:pt x="1482194" y="234055"/>
                    <a:pt x="1485232" y="227979"/>
                    <a:pt x="1494346" y="224941"/>
                  </a:cubicBezTo>
                  <a:cubicBezTo>
                    <a:pt x="1497384" y="221903"/>
                    <a:pt x="1501182" y="221143"/>
                    <a:pt x="1505359" y="222283"/>
                  </a:cubicBezTo>
                  <a:close/>
                  <a:moveTo>
                    <a:pt x="1007117" y="222283"/>
                  </a:moveTo>
                  <a:cubicBezTo>
                    <a:pt x="1011295" y="223422"/>
                    <a:pt x="1015852" y="226460"/>
                    <a:pt x="1020409" y="231017"/>
                  </a:cubicBezTo>
                  <a:cubicBezTo>
                    <a:pt x="1029523" y="240131"/>
                    <a:pt x="1020409" y="252284"/>
                    <a:pt x="1014333" y="255322"/>
                  </a:cubicBezTo>
                  <a:cubicBezTo>
                    <a:pt x="1008257" y="258360"/>
                    <a:pt x="996104" y="261398"/>
                    <a:pt x="990028" y="249246"/>
                  </a:cubicBezTo>
                  <a:cubicBezTo>
                    <a:pt x="983952" y="237093"/>
                    <a:pt x="986990" y="231017"/>
                    <a:pt x="996104" y="224941"/>
                  </a:cubicBezTo>
                  <a:cubicBezTo>
                    <a:pt x="999142" y="221903"/>
                    <a:pt x="1002940" y="221143"/>
                    <a:pt x="1007117" y="222283"/>
                  </a:cubicBezTo>
                  <a:close/>
                  <a:moveTo>
                    <a:pt x="1298771" y="210131"/>
                  </a:moveTo>
                  <a:cubicBezTo>
                    <a:pt x="1302948" y="211270"/>
                    <a:pt x="1307506" y="214308"/>
                    <a:pt x="1312063" y="218865"/>
                  </a:cubicBezTo>
                  <a:cubicBezTo>
                    <a:pt x="1321177" y="227979"/>
                    <a:pt x="1312063" y="240132"/>
                    <a:pt x="1305987" y="243170"/>
                  </a:cubicBezTo>
                  <a:cubicBezTo>
                    <a:pt x="1299910" y="246208"/>
                    <a:pt x="1287758" y="249246"/>
                    <a:pt x="1281682" y="237094"/>
                  </a:cubicBezTo>
                  <a:cubicBezTo>
                    <a:pt x="1275606" y="224941"/>
                    <a:pt x="1275606" y="215827"/>
                    <a:pt x="1287758" y="212789"/>
                  </a:cubicBezTo>
                  <a:cubicBezTo>
                    <a:pt x="1290796" y="209751"/>
                    <a:pt x="1294594" y="208991"/>
                    <a:pt x="1298771" y="210131"/>
                  </a:cubicBezTo>
                  <a:close/>
                  <a:moveTo>
                    <a:pt x="1881700" y="207472"/>
                  </a:moveTo>
                  <a:cubicBezTo>
                    <a:pt x="1886257" y="208991"/>
                    <a:pt x="1890814" y="212789"/>
                    <a:pt x="1895371" y="218865"/>
                  </a:cubicBezTo>
                  <a:cubicBezTo>
                    <a:pt x="1904485" y="227979"/>
                    <a:pt x="1898409" y="237094"/>
                    <a:pt x="1889295" y="243170"/>
                  </a:cubicBezTo>
                  <a:cubicBezTo>
                    <a:pt x="1883218" y="246208"/>
                    <a:pt x="1871066" y="249246"/>
                    <a:pt x="1864990" y="237094"/>
                  </a:cubicBezTo>
                  <a:cubicBezTo>
                    <a:pt x="1858914" y="221903"/>
                    <a:pt x="1861952" y="215827"/>
                    <a:pt x="1868028" y="209751"/>
                  </a:cubicBezTo>
                  <a:cubicBezTo>
                    <a:pt x="1872585" y="206713"/>
                    <a:pt x="1877142" y="205953"/>
                    <a:pt x="1881700" y="207472"/>
                  </a:cubicBezTo>
                  <a:close/>
                  <a:moveTo>
                    <a:pt x="1657262" y="207093"/>
                  </a:moveTo>
                  <a:cubicBezTo>
                    <a:pt x="1661440" y="208232"/>
                    <a:pt x="1665997" y="211270"/>
                    <a:pt x="1670554" y="215827"/>
                  </a:cubicBezTo>
                  <a:cubicBezTo>
                    <a:pt x="1679668" y="224941"/>
                    <a:pt x="1673592" y="234056"/>
                    <a:pt x="1664478" y="240132"/>
                  </a:cubicBezTo>
                  <a:cubicBezTo>
                    <a:pt x="1655363" y="246208"/>
                    <a:pt x="1643211" y="249246"/>
                    <a:pt x="1637135" y="234056"/>
                  </a:cubicBezTo>
                  <a:cubicBezTo>
                    <a:pt x="1631059" y="221903"/>
                    <a:pt x="1634097" y="215827"/>
                    <a:pt x="1646249" y="209751"/>
                  </a:cubicBezTo>
                  <a:cubicBezTo>
                    <a:pt x="1649287" y="206713"/>
                    <a:pt x="1653085" y="205953"/>
                    <a:pt x="1657262" y="207093"/>
                  </a:cubicBezTo>
                  <a:close/>
                  <a:moveTo>
                    <a:pt x="1769671" y="201017"/>
                  </a:moveTo>
                  <a:cubicBezTo>
                    <a:pt x="1773848" y="202156"/>
                    <a:pt x="1778405" y="205194"/>
                    <a:pt x="1782962" y="209751"/>
                  </a:cubicBezTo>
                  <a:cubicBezTo>
                    <a:pt x="1792076" y="218865"/>
                    <a:pt x="1786000" y="227980"/>
                    <a:pt x="1776886" y="234056"/>
                  </a:cubicBezTo>
                  <a:cubicBezTo>
                    <a:pt x="1770810" y="240132"/>
                    <a:pt x="1758657" y="240132"/>
                    <a:pt x="1752581" y="227980"/>
                  </a:cubicBezTo>
                  <a:cubicBezTo>
                    <a:pt x="1746505" y="215827"/>
                    <a:pt x="1749543" y="209751"/>
                    <a:pt x="1758657" y="203675"/>
                  </a:cubicBezTo>
                  <a:cubicBezTo>
                    <a:pt x="1761696" y="200637"/>
                    <a:pt x="1765493" y="199877"/>
                    <a:pt x="1769671" y="201017"/>
                  </a:cubicBezTo>
                  <a:close/>
                  <a:moveTo>
                    <a:pt x="1089145" y="197978"/>
                  </a:moveTo>
                  <a:cubicBezTo>
                    <a:pt x="1093323" y="199117"/>
                    <a:pt x="1097880" y="202155"/>
                    <a:pt x="1102437" y="206712"/>
                  </a:cubicBezTo>
                  <a:cubicBezTo>
                    <a:pt x="1111551" y="215826"/>
                    <a:pt x="1105475" y="224941"/>
                    <a:pt x="1096361" y="231017"/>
                  </a:cubicBezTo>
                  <a:cubicBezTo>
                    <a:pt x="1090284" y="234055"/>
                    <a:pt x="1078132" y="237093"/>
                    <a:pt x="1072056" y="224941"/>
                  </a:cubicBezTo>
                  <a:cubicBezTo>
                    <a:pt x="1065980" y="212788"/>
                    <a:pt x="1069018" y="203674"/>
                    <a:pt x="1078132" y="200636"/>
                  </a:cubicBezTo>
                  <a:cubicBezTo>
                    <a:pt x="1081170" y="197598"/>
                    <a:pt x="1084968" y="196838"/>
                    <a:pt x="1089145" y="197978"/>
                  </a:cubicBezTo>
                  <a:close/>
                  <a:moveTo>
                    <a:pt x="1395989" y="161522"/>
                  </a:moveTo>
                  <a:cubicBezTo>
                    <a:pt x="1400167" y="162661"/>
                    <a:pt x="1404724" y="165699"/>
                    <a:pt x="1409281" y="170256"/>
                  </a:cubicBezTo>
                  <a:cubicBezTo>
                    <a:pt x="1418395" y="179370"/>
                    <a:pt x="1412319" y="188485"/>
                    <a:pt x="1403205" y="194561"/>
                  </a:cubicBezTo>
                  <a:cubicBezTo>
                    <a:pt x="1397129" y="197599"/>
                    <a:pt x="1384976" y="200637"/>
                    <a:pt x="1378900" y="188485"/>
                  </a:cubicBezTo>
                  <a:cubicBezTo>
                    <a:pt x="1372824" y="176332"/>
                    <a:pt x="1375862" y="170256"/>
                    <a:pt x="1384976" y="164180"/>
                  </a:cubicBezTo>
                  <a:cubicBezTo>
                    <a:pt x="1388014" y="161142"/>
                    <a:pt x="1391812" y="160382"/>
                    <a:pt x="1395989" y="161522"/>
                  </a:cubicBezTo>
                  <a:close/>
                  <a:moveTo>
                    <a:pt x="1967145" y="140255"/>
                  </a:moveTo>
                  <a:cubicBezTo>
                    <a:pt x="1971322" y="141394"/>
                    <a:pt x="1975879" y="144432"/>
                    <a:pt x="1980436" y="148989"/>
                  </a:cubicBezTo>
                  <a:cubicBezTo>
                    <a:pt x="1989550" y="158103"/>
                    <a:pt x="1983474" y="167218"/>
                    <a:pt x="1974360" y="173294"/>
                  </a:cubicBezTo>
                  <a:cubicBezTo>
                    <a:pt x="1968284" y="179370"/>
                    <a:pt x="1956131" y="182408"/>
                    <a:pt x="1950055" y="170256"/>
                  </a:cubicBezTo>
                  <a:cubicBezTo>
                    <a:pt x="1943979" y="155065"/>
                    <a:pt x="1947017" y="148989"/>
                    <a:pt x="1956131" y="142913"/>
                  </a:cubicBezTo>
                  <a:cubicBezTo>
                    <a:pt x="1959170" y="139875"/>
                    <a:pt x="1962967" y="139115"/>
                    <a:pt x="1967145" y="140255"/>
                  </a:cubicBezTo>
                  <a:close/>
                  <a:moveTo>
                    <a:pt x="1234971" y="131141"/>
                  </a:moveTo>
                  <a:cubicBezTo>
                    <a:pt x="1239149" y="132280"/>
                    <a:pt x="1243706" y="135318"/>
                    <a:pt x="1248263" y="139875"/>
                  </a:cubicBezTo>
                  <a:cubicBezTo>
                    <a:pt x="1257377" y="148989"/>
                    <a:pt x="1251301" y="158104"/>
                    <a:pt x="1242187" y="164180"/>
                  </a:cubicBezTo>
                  <a:cubicBezTo>
                    <a:pt x="1236111" y="167218"/>
                    <a:pt x="1223958" y="170256"/>
                    <a:pt x="1217882" y="158104"/>
                  </a:cubicBezTo>
                  <a:cubicBezTo>
                    <a:pt x="1211806" y="142913"/>
                    <a:pt x="1214844" y="136837"/>
                    <a:pt x="1223958" y="133799"/>
                  </a:cubicBezTo>
                  <a:cubicBezTo>
                    <a:pt x="1226996" y="130761"/>
                    <a:pt x="1230794" y="130001"/>
                    <a:pt x="1234971" y="131141"/>
                  </a:cubicBezTo>
                  <a:close/>
                  <a:moveTo>
                    <a:pt x="1149906" y="131141"/>
                  </a:moveTo>
                  <a:cubicBezTo>
                    <a:pt x="1154084" y="132280"/>
                    <a:pt x="1158641" y="135318"/>
                    <a:pt x="1163198" y="139875"/>
                  </a:cubicBezTo>
                  <a:cubicBezTo>
                    <a:pt x="1172312" y="148989"/>
                    <a:pt x="1166236" y="158104"/>
                    <a:pt x="1157122" y="164180"/>
                  </a:cubicBezTo>
                  <a:cubicBezTo>
                    <a:pt x="1151045" y="167218"/>
                    <a:pt x="1138893" y="170256"/>
                    <a:pt x="1132817" y="158104"/>
                  </a:cubicBezTo>
                  <a:cubicBezTo>
                    <a:pt x="1126741" y="145951"/>
                    <a:pt x="1129779" y="139875"/>
                    <a:pt x="1138893" y="133799"/>
                  </a:cubicBezTo>
                  <a:cubicBezTo>
                    <a:pt x="1141931" y="130761"/>
                    <a:pt x="1145729" y="130001"/>
                    <a:pt x="1149906" y="131141"/>
                  </a:cubicBezTo>
                  <a:close/>
                  <a:moveTo>
                    <a:pt x="2064362" y="128103"/>
                  </a:moveTo>
                  <a:cubicBezTo>
                    <a:pt x="2068540" y="129242"/>
                    <a:pt x="2073097" y="132280"/>
                    <a:pt x="2077654" y="136837"/>
                  </a:cubicBezTo>
                  <a:cubicBezTo>
                    <a:pt x="2086768" y="145951"/>
                    <a:pt x="2080692" y="155066"/>
                    <a:pt x="2071578" y="161142"/>
                  </a:cubicBezTo>
                  <a:cubicBezTo>
                    <a:pt x="2065501" y="164180"/>
                    <a:pt x="2053349" y="167218"/>
                    <a:pt x="2047273" y="155066"/>
                  </a:cubicBezTo>
                  <a:cubicBezTo>
                    <a:pt x="2041197" y="139875"/>
                    <a:pt x="2044235" y="133799"/>
                    <a:pt x="2053349" y="130761"/>
                  </a:cubicBezTo>
                  <a:cubicBezTo>
                    <a:pt x="2056387" y="127723"/>
                    <a:pt x="2060185" y="126963"/>
                    <a:pt x="2064362" y="128103"/>
                  </a:cubicBezTo>
                  <a:close/>
                  <a:moveTo>
                    <a:pt x="1496245" y="120887"/>
                  </a:moveTo>
                  <a:cubicBezTo>
                    <a:pt x="1500423" y="121647"/>
                    <a:pt x="1504980" y="124685"/>
                    <a:pt x="1509537" y="130761"/>
                  </a:cubicBezTo>
                  <a:cubicBezTo>
                    <a:pt x="1518651" y="139875"/>
                    <a:pt x="1512575" y="148990"/>
                    <a:pt x="1503461" y="155066"/>
                  </a:cubicBezTo>
                  <a:cubicBezTo>
                    <a:pt x="1497385" y="158104"/>
                    <a:pt x="1485232" y="161142"/>
                    <a:pt x="1479156" y="148990"/>
                  </a:cubicBezTo>
                  <a:cubicBezTo>
                    <a:pt x="1473080" y="136837"/>
                    <a:pt x="1476118" y="130761"/>
                    <a:pt x="1485232" y="124685"/>
                  </a:cubicBezTo>
                  <a:cubicBezTo>
                    <a:pt x="1488270" y="121647"/>
                    <a:pt x="1492068" y="120128"/>
                    <a:pt x="1496245" y="120887"/>
                  </a:cubicBezTo>
                  <a:close/>
                  <a:moveTo>
                    <a:pt x="1599539" y="112913"/>
                  </a:moveTo>
                  <a:cubicBezTo>
                    <a:pt x="1603716" y="114052"/>
                    <a:pt x="1608274" y="117090"/>
                    <a:pt x="1612831" y="121647"/>
                  </a:cubicBezTo>
                  <a:cubicBezTo>
                    <a:pt x="1621945" y="130761"/>
                    <a:pt x="1615869" y="139876"/>
                    <a:pt x="1606754" y="145952"/>
                  </a:cubicBezTo>
                  <a:cubicBezTo>
                    <a:pt x="1600678" y="148990"/>
                    <a:pt x="1588526" y="152028"/>
                    <a:pt x="1582450" y="139876"/>
                  </a:cubicBezTo>
                  <a:cubicBezTo>
                    <a:pt x="1579412" y="127723"/>
                    <a:pt x="1579412" y="121647"/>
                    <a:pt x="1588526" y="115571"/>
                  </a:cubicBezTo>
                  <a:cubicBezTo>
                    <a:pt x="1591564" y="112533"/>
                    <a:pt x="1595362" y="111773"/>
                    <a:pt x="1599539" y="112913"/>
                  </a:cubicBezTo>
                  <a:close/>
                  <a:moveTo>
                    <a:pt x="1836508" y="109875"/>
                  </a:moveTo>
                  <a:cubicBezTo>
                    <a:pt x="1840686" y="111014"/>
                    <a:pt x="1845243" y="114052"/>
                    <a:pt x="1849800" y="118609"/>
                  </a:cubicBezTo>
                  <a:cubicBezTo>
                    <a:pt x="1858914" y="127723"/>
                    <a:pt x="1852838" y="136838"/>
                    <a:pt x="1843724" y="142914"/>
                  </a:cubicBezTo>
                  <a:cubicBezTo>
                    <a:pt x="1837647" y="145952"/>
                    <a:pt x="1825495" y="148990"/>
                    <a:pt x="1819419" y="136838"/>
                  </a:cubicBezTo>
                  <a:cubicBezTo>
                    <a:pt x="1813343" y="124685"/>
                    <a:pt x="1816381" y="118609"/>
                    <a:pt x="1825495" y="112533"/>
                  </a:cubicBezTo>
                  <a:cubicBezTo>
                    <a:pt x="1828533" y="109495"/>
                    <a:pt x="1832331" y="108735"/>
                    <a:pt x="1836508" y="109875"/>
                  </a:cubicBezTo>
                  <a:close/>
                  <a:moveTo>
                    <a:pt x="1708529" y="106837"/>
                  </a:moveTo>
                  <a:cubicBezTo>
                    <a:pt x="1713086" y="107976"/>
                    <a:pt x="1717644" y="111014"/>
                    <a:pt x="1722201" y="115571"/>
                  </a:cubicBezTo>
                  <a:cubicBezTo>
                    <a:pt x="1731315" y="124685"/>
                    <a:pt x="1725239" y="133800"/>
                    <a:pt x="1716124" y="139876"/>
                  </a:cubicBezTo>
                  <a:cubicBezTo>
                    <a:pt x="1710048" y="142914"/>
                    <a:pt x="1697896" y="145952"/>
                    <a:pt x="1691820" y="133800"/>
                  </a:cubicBezTo>
                  <a:cubicBezTo>
                    <a:pt x="1685744" y="121647"/>
                    <a:pt x="1688782" y="112533"/>
                    <a:pt x="1694858" y="109495"/>
                  </a:cubicBezTo>
                  <a:cubicBezTo>
                    <a:pt x="1699415" y="106457"/>
                    <a:pt x="1703972" y="105697"/>
                    <a:pt x="1708529" y="106837"/>
                  </a:cubicBezTo>
                  <a:close/>
                  <a:moveTo>
                    <a:pt x="1301429" y="60126"/>
                  </a:moveTo>
                  <a:cubicBezTo>
                    <a:pt x="1305986" y="60886"/>
                    <a:pt x="1310544" y="63924"/>
                    <a:pt x="1315101" y="70000"/>
                  </a:cubicBezTo>
                  <a:cubicBezTo>
                    <a:pt x="1324215" y="79114"/>
                    <a:pt x="1318139" y="88229"/>
                    <a:pt x="1309024" y="94305"/>
                  </a:cubicBezTo>
                  <a:cubicBezTo>
                    <a:pt x="1302948" y="97343"/>
                    <a:pt x="1290796" y="100381"/>
                    <a:pt x="1284720" y="88229"/>
                  </a:cubicBezTo>
                  <a:cubicBezTo>
                    <a:pt x="1278644" y="76076"/>
                    <a:pt x="1281682" y="70000"/>
                    <a:pt x="1287758" y="63924"/>
                  </a:cubicBezTo>
                  <a:cubicBezTo>
                    <a:pt x="1292315" y="60886"/>
                    <a:pt x="1296872" y="59367"/>
                    <a:pt x="1301429" y="60126"/>
                  </a:cubicBezTo>
                  <a:close/>
                  <a:moveTo>
                    <a:pt x="1930687" y="49113"/>
                  </a:moveTo>
                  <a:cubicBezTo>
                    <a:pt x="1934865" y="50252"/>
                    <a:pt x="1939422" y="53290"/>
                    <a:pt x="1943979" y="57847"/>
                  </a:cubicBezTo>
                  <a:cubicBezTo>
                    <a:pt x="1953093" y="66961"/>
                    <a:pt x="1943979" y="79114"/>
                    <a:pt x="1937903" y="82152"/>
                  </a:cubicBezTo>
                  <a:cubicBezTo>
                    <a:pt x="1931827" y="85190"/>
                    <a:pt x="1919674" y="88228"/>
                    <a:pt x="1913598" y="76076"/>
                  </a:cubicBezTo>
                  <a:cubicBezTo>
                    <a:pt x="1907522" y="60885"/>
                    <a:pt x="1910560" y="54809"/>
                    <a:pt x="1919674" y="51771"/>
                  </a:cubicBezTo>
                  <a:cubicBezTo>
                    <a:pt x="1922712" y="48733"/>
                    <a:pt x="1926510" y="47973"/>
                    <a:pt x="1930687" y="49113"/>
                  </a:cubicBezTo>
                  <a:close/>
                  <a:moveTo>
                    <a:pt x="1402065" y="43037"/>
                  </a:moveTo>
                  <a:cubicBezTo>
                    <a:pt x="1406243" y="44176"/>
                    <a:pt x="1410800" y="47214"/>
                    <a:pt x="1415357" y="51771"/>
                  </a:cubicBezTo>
                  <a:cubicBezTo>
                    <a:pt x="1424471" y="60885"/>
                    <a:pt x="1418395" y="70000"/>
                    <a:pt x="1409281" y="76076"/>
                  </a:cubicBezTo>
                  <a:cubicBezTo>
                    <a:pt x="1403205" y="79114"/>
                    <a:pt x="1391052" y="82152"/>
                    <a:pt x="1384976" y="70000"/>
                  </a:cubicBezTo>
                  <a:cubicBezTo>
                    <a:pt x="1378900" y="54809"/>
                    <a:pt x="1381938" y="48733"/>
                    <a:pt x="1391052" y="45695"/>
                  </a:cubicBezTo>
                  <a:cubicBezTo>
                    <a:pt x="1394090" y="42657"/>
                    <a:pt x="1397888" y="41897"/>
                    <a:pt x="1402065" y="43037"/>
                  </a:cubicBezTo>
                  <a:close/>
                  <a:moveTo>
                    <a:pt x="1806127" y="15695"/>
                  </a:moveTo>
                  <a:cubicBezTo>
                    <a:pt x="1810305" y="16834"/>
                    <a:pt x="1814862" y="19872"/>
                    <a:pt x="1819419" y="24429"/>
                  </a:cubicBezTo>
                  <a:cubicBezTo>
                    <a:pt x="1828533" y="33543"/>
                    <a:pt x="1819419" y="45696"/>
                    <a:pt x="1813343" y="48734"/>
                  </a:cubicBezTo>
                  <a:cubicBezTo>
                    <a:pt x="1807266" y="51772"/>
                    <a:pt x="1795114" y="54810"/>
                    <a:pt x="1789038" y="42658"/>
                  </a:cubicBezTo>
                  <a:cubicBezTo>
                    <a:pt x="1782962" y="30505"/>
                    <a:pt x="1786000" y="24429"/>
                    <a:pt x="1795114" y="18353"/>
                  </a:cubicBezTo>
                  <a:cubicBezTo>
                    <a:pt x="1798152" y="15315"/>
                    <a:pt x="1801950" y="14555"/>
                    <a:pt x="1806127" y="15695"/>
                  </a:cubicBezTo>
                  <a:close/>
                  <a:moveTo>
                    <a:pt x="1499283" y="9619"/>
                  </a:moveTo>
                  <a:cubicBezTo>
                    <a:pt x="1503461" y="10758"/>
                    <a:pt x="1508018" y="13796"/>
                    <a:pt x="1512575" y="18353"/>
                  </a:cubicBezTo>
                  <a:cubicBezTo>
                    <a:pt x="1521689" y="27467"/>
                    <a:pt x="1512575" y="42658"/>
                    <a:pt x="1506499" y="45696"/>
                  </a:cubicBezTo>
                  <a:cubicBezTo>
                    <a:pt x="1500422" y="48734"/>
                    <a:pt x="1488270" y="51772"/>
                    <a:pt x="1482194" y="39620"/>
                  </a:cubicBezTo>
                  <a:cubicBezTo>
                    <a:pt x="1476118" y="24429"/>
                    <a:pt x="1476118" y="18353"/>
                    <a:pt x="1488270" y="12277"/>
                  </a:cubicBezTo>
                  <a:cubicBezTo>
                    <a:pt x="1491308" y="9239"/>
                    <a:pt x="1495106" y="8479"/>
                    <a:pt x="1499283" y="9619"/>
                  </a:cubicBezTo>
                  <a:close/>
                  <a:moveTo>
                    <a:pt x="1699795" y="3543"/>
                  </a:moveTo>
                  <a:cubicBezTo>
                    <a:pt x="1703973" y="4682"/>
                    <a:pt x="1708530" y="7720"/>
                    <a:pt x="1713087" y="12277"/>
                  </a:cubicBezTo>
                  <a:cubicBezTo>
                    <a:pt x="1722201" y="21391"/>
                    <a:pt x="1716125" y="30506"/>
                    <a:pt x="1707011" y="36582"/>
                  </a:cubicBezTo>
                  <a:cubicBezTo>
                    <a:pt x="1700934" y="39620"/>
                    <a:pt x="1688782" y="42658"/>
                    <a:pt x="1682706" y="30506"/>
                  </a:cubicBezTo>
                  <a:cubicBezTo>
                    <a:pt x="1676630" y="15315"/>
                    <a:pt x="1679668" y="9239"/>
                    <a:pt x="1688782" y="6201"/>
                  </a:cubicBezTo>
                  <a:cubicBezTo>
                    <a:pt x="1691820" y="3163"/>
                    <a:pt x="1695618" y="2403"/>
                    <a:pt x="1699795" y="3543"/>
                  </a:cubicBezTo>
                  <a:close/>
                  <a:moveTo>
                    <a:pt x="1599539" y="504"/>
                  </a:moveTo>
                  <a:cubicBezTo>
                    <a:pt x="1603716" y="1643"/>
                    <a:pt x="1608274" y="4681"/>
                    <a:pt x="1612831" y="9238"/>
                  </a:cubicBezTo>
                  <a:cubicBezTo>
                    <a:pt x="1621945" y="18352"/>
                    <a:pt x="1615869" y="27467"/>
                    <a:pt x="1606754" y="33543"/>
                  </a:cubicBezTo>
                  <a:cubicBezTo>
                    <a:pt x="1600678" y="36581"/>
                    <a:pt x="1588526" y="39619"/>
                    <a:pt x="1582450" y="27467"/>
                  </a:cubicBezTo>
                  <a:cubicBezTo>
                    <a:pt x="1579412" y="12276"/>
                    <a:pt x="1579412" y="6200"/>
                    <a:pt x="1588526" y="3162"/>
                  </a:cubicBezTo>
                  <a:cubicBezTo>
                    <a:pt x="1591564" y="124"/>
                    <a:pt x="1595362" y="-636"/>
                    <a:pt x="1599539" y="50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Freeform: Shape 18">
              <a:extLst>
                <a:ext uri="{FF2B5EF4-FFF2-40B4-BE49-F238E27FC236}">
                  <a16:creationId xmlns:a16="http://schemas.microsoft.com/office/drawing/2014/main" id="{57A70BD2-76FC-4BDD-9E64-3B93D5EF3692}"/>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3474720" y="0"/>
              <a:ext cx="6177282" cy="1778750"/>
            </a:xfrm>
            <a:custGeom>
              <a:avLst/>
              <a:gdLst>
                <a:gd name="connsiteX0" fmla="*/ 4421987 w 6386648"/>
                <a:gd name="connsiteY0" fmla="*/ 1813377 h 1849426"/>
                <a:gd name="connsiteX1" fmla="*/ 4440012 w 6386648"/>
                <a:gd name="connsiteY1" fmla="*/ 1831401 h 1849426"/>
                <a:gd name="connsiteX2" fmla="*/ 4421987 w 6386648"/>
                <a:gd name="connsiteY2" fmla="*/ 1849426 h 1849426"/>
                <a:gd name="connsiteX3" fmla="*/ 4403963 w 6386648"/>
                <a:gd name="connsiteY3" fmla="*/ 1831401 h 1849426"/>
                <a:gd name="connsiteX4" fmla="*/ 4421987 w 6386648"/>
                <a:gd name="connsiteY4" fmla="*/ 1813377 h 1849426"/>
                <a:gd name="connsiteX5" fmla="*/ 4235735 w 6386648"/>
                <a:gd name="connsiteY5" fmla="*/ 1807369 h 1849426"/>
                <a:gd name="connsiteX6" fmla="*/ 4253760 w 6386648"/>
                <a:gd name="connsiteY6" fmla="*/ 1825393 h 1849426"/>
                <a:gd name="connsiteX7" fmla="*/ 4235735 w 6386648"/>
                <a:gd name="connsiteY7" fmla="*/ 1843418 h 1849426"/>
                <a:gd name="connsiteX8" fmla="*/ 4217711 w 6386648"/>
                <a:gd name="connsiteY8" fmla="*/ 1825393 h 1849426"/>
                <a:gd name="connsiteX9" fmla="*/ 4235735 w 6386648"/>
                <a:gd name="connsiteY9" fmla="*/ 1807369 h 1849426"/>
                <a:gd name="connsiteX10" fmla="*/ 4566182 w 6386648"/>
                <a:gd name="connsiteY10" fmla="*/ 1795353 h 1849426"/>
                <a:gd name="connsiteX11" fmla="*/ 4584207 w 6386648"/>
                <a:gd name="connsiteY11" fmla="*/ 1813377 h 1849426"/>
                <a:gd name="connsiteX12" fmla="*/ 4566182 w 6386648"/>
                <a:gd name="connsiteY12" fmla="*/ 1831402 h 1849426"/>
                <a:gd name="connsiteX13" fmla="*/ 4548158 w 6386648"/>
                <a:gd name="connsiteY13" fmla="*/ 1813377 h 1849426"/>
                <a:gd name="connsiteX14" fmla="*/ 4566182 w 6386648"/>
                <a:gd name="connsiteY14" fmla="*/ 1795353 h 1849426"/>
                <a:gd name="connsiteX15" fmla="*/ 4698361 w 6386648"/>
                <a:gd name="connsiteY15" fmla="*/ 1777329 h 1849426"/>
                <a:gd name="connsiteX16" fmla="*/ 4716386 w 6386648"/>
                <a:gd name="connsiteY16" fmla="*/ 1795353 h 1849426"/>
                <a:gd name="connsiteX17" fmla="*/ 4698361 w 6386648"/>
                <a:gd name="connsiteY17" fmla="*/ 1813378 h 1849426"/>
                <a:gd name="connsiteX18" fmla="*/ 4680336 w 6386648"/>
                <a:gd name="connsiteY18" fmla="*/ 1795353 h 1849426"/>
                <a:gd name="connsiteX19" fmla="*/ 4698361 w 6386648"/>
                <a:gd name="connsiteY19" fmla="*/ 1777329 h 1849426"/>
                <a:gd name="connsiteX20" fmla="*/ 4085531 w 6386648"/>
                <a:gd name="connsiteY20" fmla="*/ 1759304 h 1849426"/>
                <a:gd name="connsiteX21" fmla="*/ 4103556 w 6386648"/>
                <a:gd name="connsiteY21" fmla="*/ 1777329 h 1849426"/>
                <a:gd name="connsiteX22" fmla="*/ 4085531 w 6386648"/>
                <a:gd name="connsiteY22" fmla="*/ 1795353 h 1849426"/>
                <a:gd name="connsiteX23" fmla="*/ 4067507 w 6386648"/>
                <a:gd name="connsiteY23" fmla="*/ 1777329 h 1849426"/>
                <a:gd name="connsiteX24" fmla="*/ 4085531 w 6386648"/>
                <a:gd name="connsiteY24" fmla="*/ 1759304 h 1849426"/>
                <a:gd name="connsiteX25" fmla="*/ 4301824 w 6386648"/>
                <a:gd name="connsiteY25" fmla="*/ 1723255 h 1849426"/>
                <a:gd name="connsiteX26" fmla="*/ 4319849 w 6386648"/>
                <a:gd name="connsiteY26" fmla="*/ 1741279 h 1849426"/>
                <a:gd name="connsiteX27" fmla="*/ 4301824 w 6386648"/>
                <a:gd name="connsiteY27" fmla="*/ 1759304 h 1849426"/>
                <a:gd name="connsiteX28" fmla="*/ 4283800 w 6386648"/>
                <a:gd name="connsiteY28" fmla="*/ 1741279 h 1849426"/>
                <a:gd name="connsiteX29" fmla="*/ 4301824 w 6386648"/>
                <a:gd name="connsiteY29" fmla="*/ 1723255 h 1849426"/>
                <a:gd name="connsiteX30" fmla="*/ 4440011 w 6386648"/>
                <a:gd name="connsiteY30" fmla="*/ 1717247 h 1849426"/>
                <a:gd name="connsiteX31" fmla="*/ 4458036 w 6386648"/>
                <a:gd name="connsiteY31" fmla="*/ 1735271 h 1849426"/>
                <a:gd name="connsiteX32" fmla="*/ 4440011 w 6386648"/>
                <a:gd name="connsiteY32" fmla="*/ 1753296 h 1849426"/>
                <a:gd name="connsiteX33" fmla="*/ 4421987 w 6386648"/>
                <a:gd name="connsiteY33" fmla="*/ 1735271 h 1849426"/>
                <a:gd name="connsiteX34" fmla="*/ 4440011 w 6386648"/>
                <a:gd name="connsiteY34" fmla="*/ 1717247 h 1849426"/>
                <a:gd name="connsiteX35" fmla="*/ 3965369 w 6386648"/>
                <a:gd name="connsiteY35" fmla="*/ 1711239 h 1849426"/>
                <a:gd name="connsiteX36" fmla="*/ 3983394 w 6386648"/>
                <a:gd name="connsiteY36" fmla="*/ 1729263 h 1849426"/>
                <a:gd name="connsiteX37" fmla="*/ 3965369 w 6386648"/>
                <a:gd name="connsiteY37" fmla="*/ 1747288 h 1849426"/>
                <a:gd name="connsiteX38" fmla="*/ 3947345 w 6386648"/>
                <a:gd name="connsiteY38" fmla="*/ 1729263 h 1849426"/>
                <a:gd name="connsiteX39" fmla="*/ 3965369 w 6386648"/>
                <a:gd name="connsiteY39" fmla="*/ 1711239 h 1849426"/>
                <a:gd name="connsiteX40" fmla="*/ 4836548 w 6386648"/>
                <a:gd name="connsiteY40" fmla="*/ 1705231 h 1849426"/>
                <a:gd name="connsiteX41" fmla="*/ 4854573 w 6386648"/>
                <a:gd name="connsiteY41" fmla="*/ 1723255 h 1849426"/>
                <a:gd name="connsiteX42" fmla="*/ 4836548 w 6386648"/>
                <a:gd name="connsiteY42" fmla="*/ 1741280 h 1849426"/>
                <a:gd name="connsiteX43" fmla="*/ 4818524 w 6386648"/>
                <a:gd name="connsiteY43" fmla="*/ 1723255 h 1849426"/>
                <a:gd name="connsiteX44" fmla="*/ 4836548 w 6386648"/>
                <a:gd name="connsiteY44" fmla="*/ 1705231 h 1849426"/>
                <a:gd name="connsiteX45" fmla="*/ 4175653 w 6386648"/>
                <a:gd name="connsiteY45" fmla="*/ 1681198 h 1849426"/>
                <a:gd name="connsiteX46" fmla="*/ 4193678 w 6386648"/>
                <a:gd name="connsiteY46" fmla="*/ 1699222 h 1849426"/>
                <a:gd name="connsiteX47" fmla="*/ 4175653 w 6386648"/>
                <a:gd name="connsiteY47" fmla="*/ 1717247 h 1849426"/>
                <a:gd name="connsiteX48" fmla="*/ 4157629 w 6386648"/>
                <a:gd name="connsiteY48" fmla="*/ 1699222 h 1849426"/>
                <a:gd name="connsiteX49" fmla="*/ 4175653 w 6386648"/>
                <a:gd name="connsiteY49" fmla="*/ 1681198 h 1849426"/>
                <a:gd name="connsiteX50" fmla="*/ 4602231 w 6386648"/>
                <a:gd name="connsiteY50" fmla="*/ 1675190 h 1849426"/>
                <a:gd name="connsiteX51" fmla="*/ 4620256 w 6386648"/>
                <a:gd name="connsiteY51" fmla="*/ 1693214 h 1849426"/>
                <a:gd name="connsiteX52" fmla="*/ 4602231 w 6386648"/>
                <a:gd name="connsiteY52" fmla="*/ 1711239 h 1849426"/>
                <a:gd name="connsiteX53" fmla="*/ 4584207 w 6386648"/>
                <a:gd name="connsiteY53" fmla="*/ 1693214 h 1849426"/>
                <a:gd name="connsiteX54" fmla="*/ 4602231 w 6386648"/>
                <a:gd name="connsiteY54" fmla="*/ 1675190 h 1849426"/>
                <a:gd name="connsiteX55" fmla="*/ 4734410 w 6386648"/>
                <a:gd name="connsiteY55" fmla="*/ 1663174 h 1849426"/>
                <a:gd name="connsiteX56" fmla="*/ 4752435 w 6386648"/>
                <a:gd name="connsiteY56" fmla="*/ 1681198 h 1849426"/>
                <a:gd name="connsiteX57" fmla="*/ 4734410 w 6386648"/>
                <a:gd name="connsiteY57" fmla="*/ 1699223 h 1849426"/>
                <a:gd name="connsiteX58" fmla="*/ 4716386 w 6386648"/>
                <a:gd name="connsiteY58" fmla="*/ 1681198 h 1849426"/>
                <a:gd name="connsiteX59" fmla="*/ 4734410 w 6386648"/>
                <a:gd name="connsiteY59" fmla="*/ 1663174 h 1849426"/>
                <a:gd name="connsiteX60" fmla="*/ 3851214 w 6386648"/>
                <a:gd name="connsiteY60" fmla="*/ 1663174 h 1849426"/>
                <a:gd name="connsiteX61" fmla="*/ 3869239 w 6386648"/>
                <a:gd name="connsiteY61" fmla="*/ 1681198 h 1849426"/>
                <a:gd name="connsiteX62" fmla="*/ 3851214 w 6386648"/>
                <a:gd name="connsiteY62" fmla="*/ 1699223 h 1849426"/>
                <a:gd name="connsiteX63" fmla="*/ 3833190 w 6386648"/>
                <a:gd name="connsiteY63" fmla="*/ 1681198 h 1849426"/>
                <a:gd name="connsiteX64" fmla="*/ 3851214 w 6386648"/>
                <a:gd name="connsiteY64" fmla="*/ 1663174 h 1849426"/>
                <a:gd name="connsiteX65" fmla="*/ 4061499 w 6386648"/>
                <a:gd name="connsiteY65" fmla="*/ 1627125 h 1849426"/>
                <a:gd name="connsiteX66" fmla="*/ 4079524 w 6386648"/>
                <a:gd name="connsiteY66" fmla="*/ 1645149 h 1849426"/>
                <a:gd name="connsiteX67" fmla="*/ 4061499 w 6386648"/>
                <a:gd name="connsiteY67" fmla="*/ 1663174 h 1849426"/>
                <a:gd name="connsiteX68" fmla="*/ 4043475 w 6386648"/>
                <a:gd name="connsiteY68" fmla="*/ 1645149 h 1849426"/>
                <a:gd name="connsiteX69" fmla="*/ 4061499 w 6386648"/>
                <a:gd name="connsiteY69" fmla="*/ 1627125 h 1849426"/>
                <a:gd name="connsiteX70" fmla="*/ 4482068 w 6386648"/>
                <a:gd name="connsiteY70" fmla="*/ 1621117 h 1849426"/>
                <a:gd name="connsiteX71" fmla="*/ 4500093 w 6386648"/>
                <a:gd name="connsiteY71" fmla="*/ 1639141 h 1849426"/>
                <a:gd name="connsiteX72" fmla="*/ 4482068 w 6386648"/>
                <a:gd name="connsiteY72" fmla="*/ 1657166 h 1849426"/>
                <a:gd name="connsiteX73" fmla="*/ 4464044 w 6386648"/>
                <a:gd name="connsiteY73" fmla="*/ 1639141 h 1849426"/>
                <a:gd name="connsiteX74" fmla="*/ 4482068 w 6386648"/>
                <a:gd name="connsiteY74" fmla="*/ 1621117 h 1849426"/>
                <a:gd name="connsiteX75" fmla="*/ 4926670 w 6386648"/>
                <a:gd name="connsiteY75" fmla="*/ 1615109 h 1849426"/>
                <a:gd name="connsiteX76" fmla="*/ 4944695 w 6386648"/>
                <a:gd name="connsiteY76" fmla="*/ 1633133 h 1849426"/>
                <a:gd name="connsiteX77" fmla="*/ 4926670 w 6386648"/>
                <a:gd name="connsiteY77" fmla="*/ 1651158 h 1849426"/>
                <a:gd name="connsiteX78" fmla="*/ 4908646 w 6386648"/>
                <a:gd name="connsiteY78" fmla="*/ 1633133 h 1849426"/>
                <a:gd name="connsiteX79" fmla="*/ 4926670 w 6386648"/>
                <a:gd name="connsiteY79" fmla="*/ 1615109 h 1849426"/>
                <a:gd name="connsiteX80" fmla="*/ 3719035 w 6386648"/>
                <a:gd name="connsiteY80" fmla="*/ 1615109 h 1849426"/>
                <a:gd name="connsiteX81" fmla="*/ 3737060 w 6386648"/>
                <a:gd name="connsiteY81" fmla="*/ 1633133 h 1849426"/>
                <a:gd name="connsiteX82" fmla="*/ 3719035 w 6386648"/>
                <a:gd name="connsiteY82" fmla="*/ 1651158 h 1849426"/>
                <a:gd name="connsiteX83" fmla="*/ 3701011 w 6386648"/>
                <a:gd name="connsiteY83" fmla="*/ 1633133 h 1849426"/>
                <a:gd name="connsiteX84" fmla="*/ 3719035 w 6386648"/>
                <a:gd name="connsiteY84" fmla="*/ 1615109 h 1849426"/>
                <a:gd name="connsiteX85" fmla="*/ 4343881 w 6386648"/>
                <a:gd name="connsiteY85" fmla="*/ 1603093 h 1849426"/>
                <a:gd name="connsiteX86" fmla="*/ 4361906 w 6386648"/>
                <a:gd name="connsiteY86" fmla="*/ 1621117 h 1849426"/>
                <a:gd name="connsiteX87" fmla="*/ 4343881 w 6386648"/>
                <a:gd name="connsiteY87" fmla="*/ 1639142 h 1849426"/>
                <a:gd name="connsiteX88" fmla="*/ 4325857 w 6386648"/>
                <a:gd name="connsiteY88" fmla="*/ 1621117 h 1849426"/>
                <a:gd name="connsiteX89" fmla="*/ 4343881 w 6386648"/>
                <a:gd name="connsiteY89" fmla="*/ 1603093 h 1849426"/>
                <a:gd name="connsiteX90" fmla="*/ 4235735 w 6386648"/>
                <a:gd name="connsiteY90" fmla="*/ 1579060 h 1849426"/>
                <a:gd name="connsiteX91" fmla="*/ 4253760 w 6386648"/>
                <a:gd name="connsiteY91" fmla="*/ 1597085 h 1849426"/>
                <a:gd name="connsiteX92" fmla="*/ 4235735 w 6386648"/>
                <a:gd name="connsiteY92" fmla="*/ 1615109 h 1849426"/>
                <a:gd name="connsiteX93" fmla="*/ 4217711 w 6386648"/>
                <a:gd name="connsiteY93" fmla="*/ 1597085 h 1849426"/>
                <a:gd name="connsiteX94" fmla="*/ 4235735 w 6386648"/>
                <a:gd name="connsiteY94" fmla="*/ 1579060 h 1849426"/>
                <a:gd name="connsiteX95" fmla="*/ 3941336 w 6386648"/>
                <a:gd name="connsiteY95" fmla="*/ 1573052 h 1849426"/>
                <a:gd name="connsiteX96" fmla="*/ 3959361 w 6386648"/>
                <a:gd name="connsiteY96" fmla="*/ 1591076 h 1849426"/>
                <a:gd name="connsiteX97" fmla="*/ 3941336 w 6386648"/>
                <a:gd name="connsiteY97" fmla="*/ 1609101 h 1849426"/>
                <a:gd name="connsiteX98" fmla="*/ 3923312 w 6386648"/>
                <a:gd name="connsiteY98" fmla="*/ 1591076 h 1849426"/>
                <a:gd name="connsiteX99" fmla="*/ 3941336 w 6386648"/>
                <a:gd name="connsiteY99" fmla="*/ 1573052 h 1849426"/>
                <a:gd name="connsiteX100" fmla="*/ 1057431 w 6386648"/>
                <a:gd name="connsiteY100" fmla="*/ 1567044 h 1849426"/>
                <a:gd name="connsiteX101" fmla="*/ 1075456 w 6386648"/>
                <a:gd name="connsiteY101" fmla="*/ 1585068 h 1849426"/>
                <a:gd name="connsiteX102" fmla="*/ 1057431 w 6386648"/>
                <a:gd name="connsiteY102" fmla="*/ 1603093 h 1849426"/>
                <a:gd name="connsiteX103" fmla="*/ 1039407 w 6386648"/>
                <a:gd name="connsiteY103" fmla="*/ 1585068 h 1849426"/>
                <a:gd name="connsiteX104" fmla="*/ 1057431 w 6386648"/>
                <a:gd name="connsiteY104" fmla="*/ 1567044 h 1849426"/>
                <a:gd name="connsiteX105" fmla="*/ 1201626 w 6386648"/>
                <a:gd name="connsiteY105" fmla="*/ 1561036 h 1849426"/>
                <a:gd name="connsiteX106" fmla="*/ 1219651 w 6386648"/>
                <a:gd name="connsiteY106" fmla="*/ 1579060 h 1849426"/>
                <a:gd name="connsiteX107" fmla="*/ 1201626 w 6386648"/>
                <a:gd name="connsiteY107" fmla="*/ 1597085 h 1849426"/>
                <a:gd name="connsiteX108" fmla="*/ 1183602 w 6386648"/>
                <a:gd name="connsiteY108" fmla="*/ 1579060 h 1849426"/>
                <a:gd name="connsiteX109" fmla="*/ 1201626 w 6386648"/>
                <a:gd name="connsiteY109" fmla="*/ 1561036 h 1849426"/>
                <a:gd name="connsiteX110" fmla="*/ 4716385 w 6386648"/>
                <a:gd name="connsiteY110" fmla="*/ 1555028 h 1849426"/>
                <a:gd name="connsiteX111" fmla="*/ 4734410 w 6386648"/>
                <a:gd name="connsiteY111" fmla="*/ 1573052 h 1849426"/>
                <a:gd name="connsiteX112" fmla="*/ 4716385 w 6386648"/>
                <a:gd name="connsiteY112" fmla="*/ 1591077 h 1849426"/>
                <a:gd name="connsiteX113" fmla="*/ 4698361 w 6386648"/>
                <a:gd name="connsiteY113" fmla="*/ 1573052 h 1849426"/>
                <a:gd name="connsiteX114" fmla="*/ 4716385 w 6386648"/>
                <a:gd name="connsiteY114" fmla="*/ 1555028 h 1849426"/>
                <a:gd name="connsiteX115" fmla="*/ 4578198 w 6386648"/>
                <a:gd name="connsiteY115" fmla="*/ 1555028 h 1849426"/>
                <a:gd name="connsiteX116" fmla="*/ 4596223 w 6386648"/>
                <a:gd name="connsiteY116" fmla="*/ 1573052 h 1849426"/>
                <a:gd name="connsiteX117" fmla="*/ 4578198 w 6386648"/>
                <a:gd name="connsiteY117" fmla="*/ 1591077 h 1849426"/>
                <a:gd name="connsiteX118" fmla="*/ 4560173 w 6386648"/>
                <a:gd name="connsiteY118" fmla="*/ 1573052 h 1849426"/>
                <a:gd name="connsiteX119" fmla="*/ 4578198 w 6386648"/>
                <a:gd name="connsiteY119" fmla="*/ 1555028 h 1849426"/>
                <a:gd name="connsiteX120" fmla="*/ 1333805 w 6386648"/>
                <a:gd name="connsiteY120" fmla="*/ 1555028 h 1849426"/>
                <a:gd name="connsiteX121" fmla="*/ 1351830 w 6386648"/>
                <a:gd name="connsiteY121" fmla="*/ 1573052 h 1849426"/>
                <a:gd name="connsiteX122" fmla="*/ 1333805 w 6386648"/>
                <a:gd name="connsiteY122" fmla="*/ 1591077 h 1849426"/>
                <a:gd name="connsiteX123" fmla="*/ 1315781 w 6386648"/>
                <a:gd name="connsiteY123" fmla="*/ 1573052 h 1849426"/>
                <a:gd name="connsiteX124" fmla="*/ 1333805 w 6386648"/>
                <a:gd name="connsiteY124" fmla="*/ 1555028 h 1849426"/>
                <a:gd name="connsiteX125" fmla="*/ 4842556 w 6386648"/>
                <a:gd name="connsiteY125" fmla="*/ 1543011 h 1849426"/>
                <a:gd name="connsiteX126" fmla="*/ 4860581 w 6386648"/>
                <a:gd name="connsiteY126" fmla="*/ 1561035 h 1849426"/>
                <a:gd name="connsiteX127" fmla="*/ 4842556 w 6386648"/>
                <a:gd name="connsiteY127" fmla="*/ 1579060 h 1849426"/>
                <a:gd name="connsiteX128" fmla="*/ 4824532 w 6386648"/>
                <a:gd name="connsiteY128" fmla="*/ 1561035 h 1849426"/>
                <a:gd name="connsiteX129" fmla="*/ 4842556 w 6386648"/>
                <a:gd name="connsiteY129" fmla="*/ 1543011 h 1849426"/>
                <a:gd name="connsiteX130" fmla="*/ 3803149 w 6386648"/>
                <a:gd name="connsiteY130" fmla="*/ 1537003 h 1849426"/>
                <a:gd name="connsiteX131" fmla="*/ 3821174 w 6386648"/>
                <a:gd name="connsiteY131" fmla="*/ 1555027 h 1849426"/>
                <a:gd name="connsiteX132" fmla="*/ 3803149 w 6386648"/>
                <a:gd name="connsiteY132" fmla="*/ 1573052 h 1849426"/>
                <a:gd name="connsiteX133" fmla="*/ 3785125 w 6386648"/>
                <a:gd name="connsiteY133" fmla="*/ 1555027 h 1849426"/>
                <a:gd name="connsiteX134" fmla="*/ 3803149 w 6386648"/>
                <a:gd name="connsiteY134" fmla="*/ 1537003 h 1849426"/>
                <a:gd name="connsiteX135" fmla="*/ 4127588 w 6386648"/>
                <a:gd name="connsiteY135" fmla="*/ 1530995 h 1849426"/>
                <a:gd name="connsiteX136" fmla="*/ 4145613 w 6386648"/>
                <a:gd name="connsiteY136" fmla="*/ 1549019 h 1849426"/>
                <a:gd name="connsiteX137" fmla="*/ 4127588 w 6386648"/>
                <a:gd name="connsiteY137" fmla="*/ 1567044 h 1849426"/>
                <a:gd name="connsiteX138" fmla="*/ 4109563 w 6386648"/>
                <a:gd name="connsiteY138" fmla="*/ 1549019 h 1849426"/>
                <a:gd name="connsiteX139" fmla="*/ 4127588 w 6386648"/>
                <a:gd name="connsiteY139" fmla="*/ 1530995 h 1849426"/>
                <a:gd name="connsiteX140" fmla="*/ 3634921 w 6386648"/>
                <a:gd name="connsiteY140" fmla="*/ 1530995 h 1849426"/>
                <a:gd name="connsiteX141" fmla="*/ 3652946 w 6386648"/>
                <a:gd name="connsiteY141" fmla="*/ 1549019 h 1849426"/>
                <a:gd name="connsiteX142" fmla="*/ 3634921 w 6386648"/>
                <a:gd name="connsiteY142" fmla="*/ 1567044 h 1849426"/>
                <a:gd name="connsiteX143" fmla="*/ 3616897 w 6386648"/>
                <a:gd name="connsiteY143" fmla="*/ 1549019 h 1849426"/>
                <a:gd name="connsiteX144" fmla="*/ 3634921 w 6386648"/>
                <a:gd name="connsiteY144" fmla="*/ 1530995 h 1849426"/>
                <a:gd name="connsiteX145" fmla="*/ 3532783 w 6386648"/>
                <a:gd name="connsiteY145" fmla="*/ 1530995 h 1849426"/>
                <a:gd name="connsiteX146" fmla="*/ 3550808 w 6386648"/>
                <a:gd name="connsiteY146" fmla="*/ 1549019 h 1849426"/>
                <a:gd name="connsiteX147" fmla="*/ 3532783 w 6386648"/>
                <a:gd name="connsiteY147" fmla="*/ 1567044 h 1849426"/>
                <a:gd name="connsiteX148" fmla="*/ 3514759 w 6386648"/>
                <a:gd name="connsiteY148" fmla="*/ 1549019 h 1849426"/>
                <a:gd name="connsiteX149" fmla="*/ 3532783 w 6386648"/>
                <a:gd name="connsiteY149" fmla="*/ 1530995 h 1849426"/>
                <a:gd name="connsiteX150" fmla="*/ 1478000 w 6386648"/>
                <a:gd name="connsiteY150" fmla="*/ 1530995 h 1849426"/>
                <a:gd name="connsiteX151" fmla="*/ 1496025 w 6386648"/>
                <a:gd name="connsiteY151" fmla="*/ 1549019 h 1849426"/>
                <a:gd name="connsiteX152" fmla="*/ 1478000 w 6386648"/>
                <a:gd name="connsiteY152" fmla="*/ 1567044 h 1849426"/>
                <a:gd name="connsiteX153" fmla="*/ 1459976 w 6386648"/>
                <a:gd name="connsiteY153" fmla="*/ 1549019 h 1849426"/>
                <a:gd name="connsiteX154" fmla="*/ 1478000 w 6386648"/>
                <a:gd name="connsiteY154" fmla="*/ 1530995 h 1849426"/>
                <a:gd name="connsiteX155" fmla="*/ 4427995 w 6386648"/>
                <a:gd name="connsiteY155" fmla="*/ 1518979 h 1849426"/>
                <a:gd name="connsiteX156" fmla="*/ 4446020 w 6386648"/>
                <a:gd name="connsiteY156" fmla="*/ 1537004 h 1849426"/>
                <a:gd name="connsiteX157" fmla="*/ 4427995 w 6386648"/>
                <a:gd name="connsiteY157" fmla="*/ 1555028 h 1849426"/>
                <a:gd name="connsiteX158" fmla="*/ 4409970 w 6386648"/>
                <a:gd name="connsiteY158" fmla="*/ 1537004 h 1849426"/>
                <a:gd name="connsiteX159" fmla="*/ 4427995 w 6386648"/>
                <a:gd name="connsiteY159" fmla="*/ 1518979 h 1849426"/>
                <a:gd name="connsiteX160" fmla="*/ 4980743 w 6386648"/>
                <a:gd name="connsiteY160" fmla="*/ 1506962 h 1849426"/>
                <a:gd name="connsiteX161" fmla="*/ 4998768 w 6386648"/>
                <a:gd name="connsiteY161" fmla="*/ 1524986 h 1849426"/>
                <a:gd name="connsiteX162" fmla="*/ 4980743 w 6386648"/>
                <a:gd name="connsiteY162" fmla="*/ 1543011 h 1849426"/>
                <a:gd name="connsiteX163" fmla="*/ 4962719 w 6386648"/>
                <a:gd name="connsiteY163" fmla="*/ 1524986 h 1849426"/>
                <a:gd name="connsiteX164" fmla="*/ 4980743 w 6386648"/>
                <a:gd name="connsiteY164" fmla="*/ 1506962 h 1849426"/>
                <a:gd name="connsiteX165" fmla="*/ 961301 w 6386648"/>
                <a:gd name="connsiteY165" fmla="*/ 1506962 h 1849426"/>
                <a:gd name="connsiteX166" fmla="*/ 979326 w 6386648"/>
                <a:gd name="connsiteY166" fmla="*/ 1524986 h 1849426"/>
                <a:gd name="connsiteX167" fmla="*/ 961301 w 6386648"/>
                <a:gd name="connsiteY167" fmla="*/ 1543011 h 1849426"/>
                <a:gd name="connsiteX168" fmla="*/ 943277 w 6386648"/>
                <a:gd name="connsiteY168" fmla="*/ 1524986 h 1849426"/>
                <a:gd name="connsiteX169" fmla="*/ 961301 w 6386648"/>
                <a:gd name="connsiteY169" fmla="*/ 1506962 h 1849426"/>
                <a:gd name="connsiteX170" fmla="*/ 859163 w 6386648"/>
                <a:gd name="connsiteY170" fmla="*/ 1500954 h 1849426"/>
                <a:gd name="connsiteX171" fmla="*/ 877188 w 6386648"/>
                <a:gd name="connsiteY171" fmla="*/ 1518978 h 1849426"/>
                <a:gd name="connsiteX172" fmla="*/ 859163 w 6386648"/>
                <a:gd name="connsiteY172" fmla="*/ 1537003 h 1849426"/>
                <a:gd name="connsiteX173" fmla="*/ 841139 w 6386648"/>
                <a:gd name="connsiteY173" fmla="*/ 1518978 h 1849426"/>
                <a:gd name="connsiteX174" fmla="*/ 859163 w 6386648"/>
                <a:gd name="connsiteY174" fmla="*/ 1500954 h 1849426"/>
                <a:gd name="connsiteX175" fmla="*/ 4013434 w 6386648"/>
                <a:gd name="connsiteY175" fmla="*/ 1482930 h 1849426"/>
                <a:gd name="connsiteX176" fmla="*/ 4031459 w 6386648"/>
                <a:gd name="connsiteY176" fmla="*/ 1500954 h 1849426"/>
                <a:gd name="connsiteX177" fmla="*/ 4013434 w 6386648"/>
                <a:gd name="connsiteY177" fmla="*/ 1518979 h 1849426"/>
                <a:gd name="connsiteX178" fmla="*/ 3995410 w 6386648"/>
                <a:gd name="connsiteY178" fmla="*/ 1500954 h 1849426"/>
                <a:gd name="connsiteX179" fmla="*/ 4013434 w 6386648"/>
                <a:gd name="connsiteY179" fmla="*/ 1482930 h 1849426"/>
                <a:gd name="connsiteX180" fmla="*/ 3412620 w 6386648"/>
                <a:gd name="connsiteY180" fmla="*/ 1482930 h 1849426"/>
                <a:gd name="connsiteX181" fmla="*/ 3430645 w 6386648"/>
                <a:gd name="connsiteY181" fmla="*/ 1500954 h 1849426"/>
                <a:gd name="connsiteX182" fmla="*/ 3412620 w 6386648"/>
                <a:gd name="connsiteY182" fmla="*/ 1518979 h 1849426"/>
                <a:gd name="connsiteX183" fmla="*/ 3394596 w 6386648"/>
                <a:gd name="connsiteY183" fmla="*/ 1500954 h 1849426"/>
                <a:gd name="connsiteX184" fmla="*/ 3412620 w 6386648"/>
                <a:gd name="connsiteY184" fmla="*/ 1482930 h 1849426"/>
                <a:gd name="connsiteX185" fmla="*/ 1586148 w 6386648"/>
                <a:gd name="connsiteY185" fmla="*/ 1476922 h 1849426"/>
                <a:gd name="connsiteX186" fmla="*/ 1604172 w 6386648"/>
                <a:gd name="connsiteY186" fmla="*/ 1494946 h 1849426"/>
                <a:gd name="connsiteX187" fmla="*/ 1586148 w 6386648"/>
                <a:gd name="connsiteY187" fmla="*/ 1512971 h 1849426"/>
                <a:gd name="connsiteX188" fmla="*/ 1568123 w 6386648"/>
                <a:gd name="connsiteY188" fmla="*/ 1494946 h 1849426"/>
                <a:gd name="connsiteX189" fmla="*/ 1586148 w 6386648"/>
                <a:gd name="connsiteY189" fmla="*/ 1476922 h 1849426"/>
                <a:gd name="connsiteX190" fmla="*/ 4271783 w 6386648"/>
                <a:gd name="connsiteY190" fmla="*/ 1464906 h 1849426"/>
                <a:gd name="connsiteX191" fmla="*/ 4289808 w 6386648"/>
                <a:gd name="connsiteY191" fmla="*/ 1482930 h 1849426"/>
                <a:gd name="connsiteX192" fmla="*/ 4271783 w 6386648"/>
                <a:gd name="connsiteY192" fmla="*/ 1500955 h 1849426"/>
                <a:gd name="connsiteX193" fmla="*/ 4253759 w 6386648"/>
                <a:gd name="connsiteY193" fmla="*/ 1482930 h 1849426"/>
                <a:gd name="connsiteX194" fmla="*/ 4271783 w 6386648"/>
                <a:gd name="connsiteY194" fmla="*/ 1464906 h 1849426"/>
                <a:gd name="connsiteX195" fmla="*/ 1105497 w 6386648"/>
                <a:gd name="connsiteY195" fmla="*/ 1464906 h 1849426"/>
                <a:gd name="connsiteX196" fmla="*/ 1123521 w 6386648"/>
                <a:gd name="connsiteY196" fmla="*/ 1482930 h 1849426"/>
                <a:gd name="connsiteX197" fmla="*/ 1105497 w 6386648"/>
                <a:gd name="connsiteY197" fmla="*/ 1500955 h 1849426"/>
                <a:gd name="connsiteX198" fmla="*/ 1087472 w 6386648"/>
                <a:gd name="connsiteY198" fmla="*/ 1482930 h 1849426"/>
                <a:gd name="connsiteX199" fmla="*/ 1105497 w 6386648"/>
                <a:gd name="connsiteY199" fmla="*/ 1464906 h 1849426"/>
                <a:gd name="connsiteX200" fmla="*/ 4602231 w 6386648"/>
                <a:gd name="connsiteY200" fmla="*/ 1452889 h 1849426"/>
                <a:gd name="connsiteX201" fmla="*/ 4620256 w 6386648"/>
                <a:gd name="connsiteY201" fmla="*/ 1470913 h 1849426"/>
                <a:gd name="connsiteX202" fmla="*/ 4602231 w 6386648"/>
                <a:gd name="connsiteY202" fmla="*/ 1488938 h 1849426"/>
                <a:gd name="connsiteX203" fmla="*/ 4584207 w 6386648"/>
                <a:gd name="connsiteY203" fmla="*/ 1470913 h 1849426"/>
                <a:gd name="connsiteX204" fmla="*/ 4602231 w 6386648"/>
                <a:gd name="connsiteY204" fmla="*/ 1452889 h 1849426"/>
                <a:gd name="connsiteX205" fmla="*/ 3875247 w 6386648"/>
                <a:gd name="connsiteY205" fmla="*/ 1452889 h 1849426"/>
                <a:gd name="connsiteX206" fmla="*/ 3893272 w 6386648"/>
                <a:gd name="connsiteY206" fmla="*/ 1470913 h 1849426"/>
                <a:gd name="connsiteX207" fmla="*/ 3875247 w 6386648"/>
                <a:gd name="connsiteY207" fmla="*/ 1488938 h 1849426"/>
                <a:gd name="connsiteX208" fmla="*/ 3857223 w 6386648"/>
                <a:gd name="connsiteY208" fmla="*/ 1470913 h 1849426"/>
                <a:gd name="connsiteX209" fmla="*/ 3875247 w 6386648"/>
                <a:gd name="connsiteY209" fmla="*/ 1452889 h 1849426"/>
                <a:gd name="connsiteX210" fmla="*/ 1706311 w 6386648"/>
                <a:gd name="connsiteY210" fmla="*/ 1452889 h 1849426"/>
                <a:gd name="connsiteX211" fmla="*/ 1724335 w 6386648"/>
                <a:gd name="connsiteY211" fmla="*/ 1470913 h 1849426"/>
                <a:gd name="connsiteX212" fmla="*/ 1706311 w 6386648"/>
                <a:gd name="connsiteY212" fmla="*/ 1488938 h 1849426"/>
                <a:gd name="connsiteX213" fmla="*/ 1688286 w 6386648"/>
                <a:gd name="connsiteY213" fmla="*/ 1470913 h 1849426"/>
                <a:gd name="connsiteX214" fmla="*/ 1706311 w 6386648"/>
                <a:gd name="connsiteY214" fmla="*/ 1452889 h 1849426"/>
                <a:gd name="connsiteX215" fmla="*/ 1411911 w 6386648"/>
                <a:gd name="connsiteY215" fmla="*/ 1452889 h 1849426"/>
                <a:gd name="connsiteX216" fmla="*/ 1429936 w 6386648"/>
                <a:gd name="connsiteY216" fmla="*/ 1470913 h 1849426"/>
                <a:gd name="connsiteX217" fmla="*/ 1411911 w 6386648"/>
                <a:gd name="connsiteY217" fmla="*/ 1488938 h 1849426"/>
                <a:gd name="connsiteX218" fmla="*/ 1393887 w 6386648"/>
                <a:gd name="connsiteY218" fmla="*/ 1470913 h 1849426"/>
                <a:gd name="connsiteX219" fmla="*/ 1411911 w 6386648"/>
                <a:gd name="connsiteY219" fmla="*/ 1452889 h 1849426"/>
                <a:gd name="connsiteX220" fmla="*/ 1249691 w 6386648"/>
                <a:gd name="connsiteY220" fmla="*/ 1452889 h 1849426"/>
                <a:gd name="connsiteX221" fmla="*/ 1267716 w 6386648"/>
                <a:gd name="connsiteY221" fmla="*/ 1470913 h 1849426"/>
                <a:gd name="connsiteX222" fmla="*/ 1249691 w 6386648"/>
                <a:gd name="connsiteY222" fmla="*/ 1488938 h 1849426"/>
                <a:gd name="connsiteX223" fmla="*/ 1231667 w 6386648"/>
                <a:gd name="connsiteY223" fmla="*/ 1470913 h 1849426"/>
                <a:gd name="connsiteX224" fmla="*/ 1249691 w 6386648"/>
                <a:gd name="connsiteY224" fmla="*/ 1452889 h 1849426"/>
                <a:gd name="connsiteX225" fmla="*/ 4764451 w 6386648"/>
                <a:gd name="connsiteY225" fmla="*/ 1446881 h 1849426"/>
                <a:gd name="connsiteX226" fmla="*/ 4782476 w 6386648"/>
                <a:gd name="connsiteY226" fmla="*/ 1464905 h 1849426"/>
                <a:gd name="connsiteX227" fmla="*/ 4764451 w 6386648"/>
                <a:gd name="connsiteY227" fmla="*/ 1482930 h 1849426"/>
                <a:gd name="connsiteX228" fmla="*/ 4746427 w 6386648"/>
                <a:gd name="connsiteY228" fmla="*/ 1464905 h 1849426"/>
                <a:gd name="connsiteX229" fmla="*/ 4764451 w 6386648"/>
                <a:gd name="connsiteY229" fmla="*/ 1446881 h 1849426"/>
                <a:gd name="connsiteX230" fmla="*/ 763032 w 6386648"/>
                <a:gd name="connsiteY230" fmla="*/ 1446881 h 1849426"/>
                <a:gd name="connsiteX231" fmla="*/ 781057 w 6386648"/>
                <a:gd name="connsiteY231" fmla="*/ 1464905 h 1849426"/>
                <a:gd name="connsiteX232" fmla="*/ 763032 w 6386648"/>
                <a:gd name="connsiteY232" fmla="*/ 1482930 h 1849426"/>
                <a:gd name="connsiteX233" fmla="*/ 745008 w 6386648"/>
                <a:gd name="connsiteY233" fmla="*/ 1464905 h 1849426"/>
                <a:gd name="connsiteX234" fmla="*/ 763032 w 6386648"/>
                <a:gd name="connsiteY234" fmla="*/ 1446881 h 1849426"/>
                <a:gd name="connsiteX235" fmla="*/ 3731051 w 6386648"/>
                <a:gd name="connsiteY235" fmla="*/ 1434865 h 1849426"/>
                <a:gd name="connsiteX236" fmla="*/ 3749076 w 6386648"/>
                <a:gd name="connsiteY236" fmla="*/ 1452889 h 1849426"/>
                <a:gd name="connsiteX237" fmla="*/ 3731051 w 6386648"/>
                <a:gd name="connsiteY237" fmla="*/ 1470914 h 1849426"/>
                <a:gd name="connsiteX238" fmla="*/ 3713027 w 6386648"/>
                <a:gd name="connsiteY238" fmla="*/ 1452889 h 1849426"/>
                <a:gd name="connsiteX239" fmla="*/ 3731051 w 6386648"/>
                <a:gd name="connsiteY239" fmla="*/ 1434865 h 1849426"/>
                <a:gd name="connsiteX240" fmla="*/ 3304474 w 6386648"/>
                <a:gd name="connsiteY240" fmla="*/ 1422849 h 1849426"/>
                <a:gd name="connsiteX241" fmla="*/ 3322499 w 6386648"/>
                <a:gd name="connsiteY241" fmla="*/ 1440873 h 1849426"/>
                <a:gd name="connsiteX242" fmla="*/ 3304474 w 6386648"/>
                <a:gd name="connsiteY242" fmla="*/ 1458898 h 1849426"/>
                <a:gd name="connsiteX243" fmla="*/ 3286450 w 6386648"/>
                <a:gd name="connsiteY243" fmla="*/ 1440873 h 1849426"/>
                <a:gd name="connsiteX244" fmla="*/ 3304474 w 6386648"/>
                <a:gd name="connsiteY244" fmla="*/ 1422849 h 1849426"/>
                <a:gd name="connsiteX245" fmla="*/ 4890621 w 6386648"/>
                <a:gd name="connsiteY245" fmla="*/ 1416840 h 1849426"/>
                <a:gd name="connsiteX246" fmla="*/ 4908646 w 6386648"/>
                <a:gd name="connsiteY246" fmla="*/ 1434864 h 1849426"/>
                <a:gd name="connsiteX247" fmla="*/ 4890621 w 6386648"/>
                <a:gd name="connsiteY247" fmla="*/ 1452889 h 1849426"/>
                <a:gd name="connsiteX248" fmla="*/ 4872597 w 6386648"/>
                <a:gd name="connsiteY248" fmla="*/ 1434864 h 1849426"/>
                <a:gd name="connsiteX249" fmla="*/ 4890621 w 6386648"/>
                <a:gd name="connsiteY249" fmla="*/ 1416840 h 1849426"/>
                <a:gd name="connsiteX250" fmla="*/ 3544799 w 6386648"/>
                <a:gd name="connsiteY250" fmla="*/ 1410832 h 1849426"/>
                <a:gd name="connsiteX251" fmla="*/ 3562824 w 6386648"/>
                <a:gd name="connsiteY251" fmla="*/ 1428856 h 1849426"/>
                <a:gd name="connsiteX252" fmla="*/ 3544799 w 6386648"/>
                <a:gd name="connsiteY252" fmla="*/ 1446881 h 1849426"/>
                <a:gd name="connsiteX253" fmla="*/ 3526775 w 6386648"/>
                <a:gd name="connsiteY253" fmla="*/ 1428856 h 1849426"/>
                <a:gd name="connsiteX254" fmla="*/ 3544799 w 6386648"/>
                <a:gd name="connsiteY254" fmla="*/ 1410832 h 1849426"/>
                <a:gd name="connsiteX255" fmla="*/ 4488076 w 6386648"/>
                <a:gd name="connsiteY255" fmla="*/ 1404824 h 1849426"/>
                <a:gd name="connsiteX256" fmla="*/ 4506101 w 6386648"/>
                <a:gd name="connsiteY256" fmla="*/ 1422848 h 1849426"/>
                <a:gd name="connsiteX257" fmla="*/ 4488076 w 6386648"/>
                <a:gd name="connsiteY257" fmla="*/ 1440873 h 1849426"/>
                <a:gd name="connsiteX258" fmla="*/ 4470051 w 6386648"/>
                <a:gd name="connsiteY258" fmla="*/ 1422848 h 1849426"/>
                <a:gd name="connsiteX259" fmla="*/ 4488076 w 6386648"/>
                <a:gd name="connsiteY259" fmla="*/ 1404824 h 1849426"/>
                <a:gd name="connsiteX260" fmla="*/ 5028808 w 6386648"/>
                <a:gd name="connsiteY260" fmla="*/ 1398816 h 1849426"/>
                <a:gd name="connsiteX261" fmla="*/ 5046833 w 6386648"/>
                <a:gd name="connsiteY261" fmla="*/ 1416841 h 1849426"/>
                <a:gd name="connsiteX262" fmla="*/ 5028808 w 6386648"/>
                <a:gd name="connsiteY262" fmla="*/ 1434865 h 1849426"/>
                <a:gd name="connsiteX263" fmla="*/ 5010783 w 6386648"/>
                <a:gd name="connsiteY263" fmla="*/ 1416841 h 1849426"/>
                <a:gd name="connsiteX264" fmla="*/ 5028808 w 6386648"/>
                <a:gd name="connsiteY264" fmla="*/ 1398816 h 1849426"/>
                <a:gd name="connsiteX265" fmla="*/ 4367914 w 6386648"/>
                <a:gd name="connsiteY265" fmla="*/ 1398816 h 1849426"/>
                <a:gd name="connsiteX266" fmla="*/ 4385939 w 6386648"/>
                <a:gd name="connsiteY266" fmla="*/ 1416841 h 1849426"/>
                <a:gd name="connsiteX267" fmla="*/ 4367914 w 6386648"/>
                <a:gd name="connsiteY267" fmla="*/ 1434865 h 1849426"/>
                <a:gd name="connsiteX268" fmla="*/ 4349889 w 6386648"/>
                <a:gd name="connsiteY268" fmla="*/ 1416841 h 1849426"/>
                <a:gd name="connsiteX269" fmla="*/ 4367914 w 6386648"/>
                <a:gd name="connsiteY269" fmla="*/ 1398816 h 1849426"/>
                <a:gd name="connsiteX270" fmla="*/ 4163637 w 6386648"/>
                <a:gd name="connsiteY270" fmla="*/ 1398816 h 1849426"/>
                <a:gd name="connsiteX271" fmla="*/ 4181662 w 6386648"/>
                <a:gd name="connsiteY271" fmla="*/ 1416841 h 1849426"/>
                <a:gd name="connsiteX272" fmla="*/ 4163637 w 6386648"/>
                <a:gd name="connsiteY272" fmla="*/ 1434865 h 1849426"/>
                <a:gd name="connsiteX273" fmla="*/ 4145613 w 6386648"/>
                <a:gd name="connsiteY273" fmla="*/ 1416841 h 1849426"/>
                <a:gd name="connsiteX274" fmla="*/ 4163637 w 6386648"/>
                <a:gd name="connsiteY274" fmla="*/ 1398816 h 1849426"/>
                <a:gd name="connsiteX275" fmla="*/ 672910 w 6386648"/>
                <a:gd name="connsiteY275" fmla="*/ 1398816 h 1849426"/>
                <a:gd name="connsiteX276" fmla="*/ 690935 w 6386648"/>
                <a:gd name="connsiteY276" fmla="*/ 1416841 h 1849426"/>
                <a:gd name="connsiteX277" fmla="*/ 672910 w 6386648"/>
                <a:gd name="connsiteY277" fmla="*/ 1434865 h 1849426"/>
                <a:gd name="connsiteX278" fmla="*/ 654886 w 6386648"/>
                <a:gd name="connsiteY278" fmla="*/ 1416841 h 1849426"/>
                <a:gd name="connsiteX279" fmla="*/ 672910 w 6386648"/>
                <a:gd name="connsiteY279" fmla="*/ 1398816 h 1849426"/>
                <a:gd name="connsiteX280" fmla="*/ 3190319 w 6386648"/>
                <a:gd name="connsiteY280" fmla="*/ 1392808 h 1849426"/>
                <a:gd name="connsiteX281" fmla="*/ 3208344 w 6386648"/>
                <a:gd name="connsiteY281" fmla="*/ 1410832 h 1849426"/>
                <a:gd name="connsiteX282" fmla="*/ 3190319 w 6386648"/>
                <a:gd name="connsiteY282" fmla="*/ 1428857 h 1849426"/>
                <a:gd name="connsiteX283" fmla="*/ 3172295 w 6386648"/>
                <a:gd name="connsiteY283" fmla="*/ 1410832 h 1849426"/>
                <a:gd name="connsiteX284" fmla="*/ 3190319 w 6386648"/>
                <a:gd name="connsiteY284" fmla="*/ 1392808 h 1849426"/>
                <a:gd name="connsiteX285" fmla="*/ 1814456 w 6386648"/>
                <a:gd name="connsiteY285" fmla="*/ 1392808 h 1849426"/>
                <a:gd name="connsiteX286" fmla="*/ 1832481 w 6386648"/>
                <a:gd name="connsiteY286" fmla="*/ 1410832 h 1849426"/>
                <a:gd name="connsiteX287" fmla="*/ 1814456 w 6386648"/>
                <a:gd name="connsiteY287" fmla="*/ 1428857 h 1849426"/>
                <a:gd name="connsiteX288" fmla="*/ 1796432 w 6386648"/>
                <a:gd name="connsiteY288" fmla="*/ 1410832 h 1849426"/>
                <a:gd name="connsiteX289" fmla="*/ 1814456 w 6386648"/>
                <a:gd name="connsiteY289" fmla="*/ 1392808 h 1849426"/>
                <a:gd name="connsiteX290" fmla="*/ 967309 w 6386648"/>
                <a:gd name="connsiteY290" fmla="*/ 1386800 h 1849426"/>
                <a:gd name="connsiteX291" fmla="*/ 985334 w 6386648"/>
                <a:gd name="connsiteY291" fmla="*/ 1404824 h 1849426"/>
                <a:gd name="connsiteX292" fmla="*/ 967309 w 6386648"/>
                <a:gd name="connsiteY292" fmla="*/ 1422849 h 1849426"/>
                <a:gd name="connsiteX293" fmla="*/ 949285 w 6386648"/>
                <a:gd name="connsiteY293" fmla="*/ 1404824 h 1849426"/>
                <a:gd name="connsiteX294" fmla="*/ 967309 w 6386648"/>
                <a:gd name="connsiteY294" fmla="*/ 1386800 h 1849426"/>
                <a:gd name="connsiteX295" fmla="*/ 4049482 w 6386648"/>
                <a:gd name="connsiteY295" fmla="*/ 1374784 h 1849426"/>
                <a:gd name="connsiteX296" fmla="*/ 4067507 w 6386648"/>
                <a:gd name="connsiteY296" fmla="*/ 1392808 h 1849426"/>
                <a:gd name="connsiteX297" fmla="*/ 4049482 w 6386648"/>
                <a:gd name="connsiteY297" fmla="*/ 1410833 h 1849426"/>
                <a:gd name="connsiteX298" fmla="*/ 4031458 w 6386648"/>
                <a:gd name="connsiteY298" fmla="*/ 1392808 h 1849426"/>
                <a:gd name="connsiteX299" fmla="*/ 4049482 w 6386648"/>
                <a:gd name="connsiteY299" fmla="*/ 1374784 h 1849426"/>
                <a:gd name="connsiteX300" fmla="*/ 4674329 w 6386648"/>
                <a:gd name="connsiteY300" fmla="*/ 1368775 h 1849426"/>
                <a:gd name="connsiteX301" fmla="*/ 4692354 w 6386648"/>
                <a:gd name="connsiteY301" fmla="*/ 1386800 h 1849426"/>
                <a:gd name="connsiteX302" fmla="*/ 4674329 w 6386648"/>
                <a:gd name="connsiteY302" fmla="*/ 1404824 h 1849426"/>
                <a:gd name="connsiteX303" fmla="*/ 4656305 w 6386648"/>
                <a:gd name="connsiteY303" fmla="*/ 1386800 h 1849426"/>
                <a:gd name="connsiteX304" fmla="*/ 4674329 w 6386648"/>
                <a:gd name="connsiteY304" fmla="*/ 1368775 h 1849426"/>
                <a:gd name="connsiteX305" fmla="*/ 1526067 w 6386648"/>
                <a:gd name="connsiteY305" fmla="*/ 1368775 h 1849426"/>
                <a:gd name="connsiteX306" fmla="*/ 1544091 w 6386648"/>
                <a:gd name="connsiteY306" fmla="*/ 1386800 h 1849426"/>
                <a:gd name="connsiteX307" fmla="*/ 1526067 w 6386648"/>
                <a:gd name="connsiteY307" fmla="*/ 1404824 h 1849426"/>
                <a:gd name="connsiteX308" fmla="*/ 1508042 w 6386648"/>
                <a:gd name="connsiteY308" fmla="*/ 1386800 h 1849426"/>
                <a:gd name="connsiteX309" fmla="*/ 1526067 w 6386648"/>
                <a:gd name="connsiteY309" fmla="*/ 1368775 h 1849426"/>
                <a:gd name="connsiteX310" fmla="*/ 1369854 w 6386648"/>
                <a:gd name="connsiteY310" fmla="*/ 1368775 h 1849426"/>
                <a:gd name="connsiteX311" fmla="*/ 1387879 w 6386648"/>
                <a:gd name="connsiteY311" fmla="*/ 1386800 h 1849426"/>
                <a:gd name="connsiteX312" fmla="*/ 1369854 w 6386648"/>
                <a:gd name="connsiteY312" fmla="*/ 1404824 h 1849426"/>
                <a:gd name="connsiteX313" fmla="*/ 1351830 w 6386648"/>
                <a:gd name="connsiteY313" fmla="*/ 1386800 h 1849426"/>
                <a:gd name="connsiteX314" fmla="*/ 1369854 w 6386648"/>
                <a:gd name="connsiteY314" fmla="*/ 1368775 h 1849426"/>
                <a:gd name="connsiteX315" fmla="*/ 3418628 w 6386648"/>
                <a:gd name="connsiteY315" fmla="*/ 1362767 h 1849426"/>
                <a:gd name="connsiteX316" fmla="*/ 3436653 w 6386648"/>
                <a:gd name="connsiteY316" fmla="*/ 1380791 h 1849426"/>
                <a:gd name="connsiteX317" fmla="*/ 3418628 w 6386648"/>
                <a:gd name="connsiteY317" fmla="*/ 1398816 h 1849426"/>
                <a:gd name="connsiteX318" fmla="*/ 3400604 w 6386648"/>
                <a:gd name="connsiteY318" fmla="*/ 1380791 h 1849426"/>
                <a:gd name="connsiteX319" fmla="*/ 3418628 w 6386648"/>
                <a:gd name="connsiteY319" fmla="*/ 1362767 h 1849426"/>
                <a:gd name="connsiteX320" fmla="*/ 1147553 w 6386648"/>
                <a:gd name="connsiteY320" fmla="*/ 1362767 h 1849426"/>
                <a:gd name="connsiteX321" fmla="*/ 1165578 w 6386648"/>
                <a:gd name="connsiteY321" fmla="*/ 1380791 h 1849426"/>
                <a:gd name="connsiteX322" fmla="*/ 1147553 w 6386648"/>
                <a:gd name="connsiteY322" fmla="*/ 1398816 h 1849426"/>
                <a:gd name="connsiteX323" fmla="*/ 1129529 w 6386648"/>
                <a:gd name="connsiteY323" fmla="*/ 1380791 h 1849426"/>
                <a:gd name="connsiteX324" fmla="*/ 1147553 w 6386648"/>
                <a:gd name="connsiteY324" fmla="*/ 1362767 h 1849426"/>
                <a:gd name="connsiteX325" fmla="*/ 3646937 w 6386648"/>
                <a:gd name="connsiteY325" fmla="*/ 1356759 h 1849426"/>
                <a:gd name="connsiteX326" fmla="*/ 3664962 w 6386648"/>
                <a:gd name="connsiteY326" fmla="*/ 1374783 h 1849426"/>
                <a:gd name="connsiteX327" fmla="*/ 3646937 w 6386648"/>
                <a:gd name="connsiteY327" fmla="*/ 1392808 h 1849426"/>
                <a:gd name="connsiteX328" fmla="*/ 3628912 w 6386648"/>
                <a:gd name="connsiteY328" fmla="*/ 1374783 h 1849426"/>
                <a:gd name="connsiteX329" fmla="*/ 3646937 w 6386648"/>
                <a:gd name="connsiteY329" fmla="*/ 1356759 h 1849426"/>
                <a:gd name="connsiteX330" fmla="*/ 1946636 w 6386648"/>
                <a:gd name="connsiteY330" fmla="*/ 1356759 h 1849426"/>
                <a:gd name="connsiteX331" fmla="*/ 1964660 w 6386648"/>
                <a:gd name="connsiteY331" fmla="*/ 1374783 h 1849426"/>
                <a:gd name="connsiteX332" fmla="*/ 1946636 w 6386648"/>
                <a:gd name="connsiteY332" fmla="*/ 1392808 h 1849426"/>
                <a:gd name="connsiteX333" fmla="*/ 1928611 w 6386648"/>
                <a:gd name="connsiteY333" fmla="*/ 1374783 h 1849426"/>
                <a:gd name="connsiteX334" fmla="*/ 1946636 w 6386648"/>
                <a:gd name="connsiteY334" fmla="*/ 1356759 h 1849426"/>
                <a:gd name="connsiteX335" fmla="*/ 1658245 w 6386648"/>
                <a:gd name="connsiteY335" fmla="*/ 1350751 h 1849426"/>
                <a:gd name="connsiteX336" fmla="*/ 1676270 w 6386648"/>
                <a:gd name="connsiteY336" fmla="*/ 1368775 h 1849426"/>
                <a:gd name="connsiteX337" fmla="*/ 1658245 w 6386648"/>
                <a:gd name="connsiteY337" fmla="*/ 1386800 h 1849426"/>
                <a:gd name="connsiteX338" fmla="*/ 1640221 w 6386648"/>
                <a:gd name="connsiteY338" fmla="*/ 1368775 h 1849426"/>
                <a:gd name="connsiteX339" fmla="*/ 1658245 w 6386648"/>
                <a:gd name="connsiteY339" fmla="*/ 1350751 h 1849426"/>
                <a:gd name="connsiteX340" fmla="*/ 3929320 w 6386648"/>
                <a:gd name="connsiteY340" fmla="*/ 1344743 h 1849426"/>
                <a:gd name="connsiteX341" fmla="*/ 3947345 w 6386648"/>
                <a:gd name="connsiteY341" fmla="*/ 1362767 h 1849426"/>
                <a:gd name="connsiteX342" fmla="*/ 3929320 w 6386648"/>
                <a:gd name="connsiteY342" fmla="*/ 1380792 h 1849426"/>
                <a:gd name="connsiteX343" fmla="*/ 3911296 w 6386648"/>
                <a:gd name="connsiteY343" fmla="*/ 1362767 h 1849426"/>
                <a:gd name="connsiteX344" fmla="*/ 3929320 w 6386648"/>
                <a:gd name="connsiteY344" fmla="*/ 1344743 h 1849426"/>
                <a:gd name="connsiteX345" fmla="*/ 3088181 w 6386648"/>
                <a:gd name="connsiteY345" fmla="*/ 1344743 h 1849426"/>
                <a:gd name="connsiteX346" fmla="*/ 3106206 w 6386648"/>
                <a:gd name="connsiteY346" fmla="*/ 1362767 h 1849426"/>
                <a:gd name="connsiteX347" fmla="*/ 3088181 w 6386648"/>
                <a:gd name="connsiteY347" fmla="*/ 1380792 h 1849426"/>
                <a:gd name="connsiteX348" fmla="*/ 3070157 w 6386648"/>
                <a:gd name="connsiteY348" fmla="*/ 1362767 h 1849426"/>
                <a:gd name="connsiteX349" fmla="*/ 3088181 w 6386648"/>
                <a:gd name="connsiteY349" fmla="*/ 1344743 h 1849426"/>
                <a:gd name="connsiteX350" fmla="*/ 853154 w 6386648"/>
                <a:gd name="connsiteY350" fmla="*/ 1344743 h 1849426"/>
                <a:gd name="connsiteX351" fmla="*/ 871179 w 6386648"/>
                <a:gd name="connsiteY351" fmla="*/ 1362767 h 1849426"/>
                <a:gd name="connsiteX352" fmla="*/ 853154 w 6386648"/>
                <a:gd name="connsiteY352" fmla="*/ 1380792 h 1849426"/>
                <a:gd name="connsiteX353" fmla="*/ 835130 w 6386648"/>
                <a:gd name="connsiteY353" fmla="*/ 1362767 h 1849426"/>
                <a:gd name="connsiteX354" fmla="*/ 853154 w 6386648"/>
                <a:gd name="connsiteY354" fmla="*/ 1344743 h 1849426"/>
                <a:gd name="connsiteX355" fmla="*/ 4283800 w 6386648"/>
                <a:gd name="connsiteY355" fmla="*/ 1326718 h 1849426"/>
                <a:gd name="connsiteX356" fmla="*/ 4301825 w 6386648"/>
                <a:gd name="connsiteY356" fmla="*/ 1344742 h 1849426"/>
                <a:gd name="connsiteX357" fmla="*/ 4283800 w 6386648"/>
                <a:gd name="connsiteY357" fmla="*/ 1362767 h 1849426"/>
                <a:gd name="connsiteX358" fmla="*/ 4265776 w 6386648"/>
                <a:gd name="connsiteY358" fmla="*/ 1344742 h 1849426"/>
                <a:gd name="connsiteX359" fmla="*/ 4283800 w 6386648"/>
                <a:gd name="connsiteY359" fmla="*/ 1326718 h 1849426"/>
                <a:gd name="connsiteX360" fmla="*/ 3815165 w 6386648"/>
                <a:gd name="connsiteY360" fmla="*/ 1326718 h 1849426"/>
                <a:gd name="connsiteX361" fmla="*/ 3833190 w 6386648"/>
                <a:gd name="connsiteY361" fmla="*/ 1344742 h 1849426"/>
                <a:gd name="connsiteX362" fmla="*/ 3815165 w 6386648"/>
                <a:gd name="connsiteY362" fmla="*/ 1362767 h 1849426"/>
                <a:gd name="connsiteX363" fmla="*/ 3797141 w 6386648"/>
                <a:gd name="connsiteY363" fmla="*/ 1344742 h 1849426"/>
                <a:gd name="connsiteX364" fmla="*/ 3815165 w 6386648"/>
                <a:gd name="connsiteY364" fmla="*/ 1326718 h 1849426"/>
                <a:gd name="connsiteX365" fmla="*/ 2980034 w 6386648"/>
                <a:gd name="connsiteY365" fmla="*/ 1326718 h 1849426"/>
                <a:gd name="connsiteX366" fmla="*/ 2998059 w 6386648"/>
                <a:gd name="connsiteY366" fmla="*/ 1344742 h 1849426"/>
                <a:gd name="connsiteX367" fmla="*/ 2980034 w 6386648"/>
                <a:gd name="connsiteY367" fmla="*/ 1362767 h 1849426"/>
                <a:gd name="connsiteX368" fmla="*/ 2962010 w 6386648"/>
                <a:gd name="connsiteY368" fmla="*/ 1344742 h 1849426"/>
                <a:gd name="connsiteX369" fmla="*/ 2980034 w 6386648"/>
                <a:gd name="connsiteY369" fmla="*/ 1326718 h 1849426"/>
                <a:gd name="connsiteX370" fmla="*/ 594806 w 6386648"/>
                <a:gd name="connsiteY370" fmla="*/ 1326718 h 1849426"/>
                <a:gd name="connsiteX371" fmla="*/ 612830 w 6386648"/>
                <a:gd name="connsiteY371" fmla="*/ 1344742 h 1849426"/>
                <a:gd name="connsiteX372" fmla="*/ 594806 w 6386648"/>
                <a:gd name="connsiteY372" fmla="*/ 1362767 h 1849426"/>
                <a:gd name="connsiteX373" fmla="*/ 576781 w 6386648"/>
                <a:gd name="connsiteY373" fmla="*/ 1344742 h 1849426"/>
                <a:gd name="connsiteX374" fmla="*/ 594806 w 6386648"/>
                <a:gd name="connsiteY374" fmla="*/ 1326718 h 1849426"/>
                <a:gd name="connsiteX375" fmla="*/ 4836548 w 6386648"/>
                <a:gd name="connsiteY375" fmla="*/ 1314702 h 1849426"/>
                <a:gd name="connsiteX376" fmla="*/ 4854573 w 6386648"/>
                <a:gd name="connsiteY376" fmla="*/ 1332726 h 1849426"/>
                <a:gd name="connsiteX377" fmla="*/ 4836548 w 6386648"/>
                <a:gd name="connsiteY377" fmla="*/ 1350751 h 1849426"/>
                <a:gd name="connsiteX378" fmla="*/ 4818524 w 6386648"/>
                <a:gd name="connsiteY378" fmla="*/ 1332726 h 1849426"/>
                <a:gd name="connsiteX379" fmla="*/ 4836548 w 6386648"/>
                <a:gd name="connsiteY379" fmla="*/ 1314702 h 1849426"/>
                <a:gd name="connsiteX380" fmla="*/ 4980743 w 6386648"/>
                <a:gd name="connsiteY380" fmla="*/ 1308694 h 1849426"/>
                <a:gd name="connsiteX381" fmla="*/ 4998768 w 6386648"/>
                <a:gd name="connsiteY381" fmla="*/ 1326719 h 1849426"/>
                <a:gd name="connsiteX382" fmla="*/ 4980743 w 6386648"/>
                <a:gd name="connsiteY382" fmla="*/ 1344743 h 1849426"/>
                <a:gd name="connsiteX383" fmla="*/ 4962719 w 6386648"/>
                <a:gd name="connsiteY383" fmla="*/ 1326719 h 1849426"/>
                <a:gd name="connsiteX384" fmla="*/ 4980743 w 6386648"/>
                <a:gd name="connsiteY384" fmla="*/ 1308694 h 1849426"/>
                <a:gd name="connsiteX385" fmla="*/ 2871888 w 6386648"/>
                <a:gd name="connsiteY385" fmla="*/ 1302686 h 1849426"/>
                <a:gd name="connsiteX386" fmla="*/ 2889913 w 6386648"/>
                <a:gd name="connsiteY386" fmla="*/ 1320710 h 1849426"/>
                <a:gd name="connsiteX387" fmla="*/ 2871888 w 6386648"/>
                <a:gd name="connsiteY387" fmla="*/ 1338735 h 1849426"/>
                <a:gd name="connsiteX388" fmla="*/ 2853864 w 6386648"/>
                <a:gd name="connsiteY388" fmla="*/ 1320710 h 1849426"/>
                <a:gd name="connsiteX389" fmla="*/ 2871888 w 6386648"/>
                <a:gd name="connsiteY389" fmla="*/ 1302686 h 1849426"/>
                <a:gd name="connsiteX390" fmla="*/ 2102847 w 6386648"/>
                <a:gd name="connsiteY390" fmla="*/ 1302686 h 1849426"/>
                <a:gd name="connsiteX391" fmla="*/ 2120872 w 6386648"/>
                <a:gd name="connsiteY391" fmla="*/ 1320710 h 1849426"/>
                <a:gd name="connsiteX392" fmla="*/ 2102847 w 6386648"/>
                <a:gd name="connsiteY392" fmla="*/ 1338735 h 1849426"/>
                <a:gd name="connsiteX393" fmla="*/ 2084823 w 6386648"/>
                <a:gd name="connsiteY393" fmla="*/ 1320710 h 1849426"/>
                <a:gd name="connsiteX394" fmla="*/ 2102847 w 6386648"/>
                <a:gd name="connsiteY394" fmla="*/ 1302686 h 1849426"/>
                <a:gd name="connsiteX395" fmla="*/ 1273724 w 6386648"/>
                <a:gd name="connsiteY395" fmla="*/ 1302686 h 1849426"/>
                <a:gd name="connsiteX396" fmla="*/ 1291749 w 6386648"/>
                <a:gd name="connsiteY396" fmla="*/ 1320710 h 1849426"/>
                <a:gd name="connsiteX397" fmla="*/ 1273724 w 6386648"/>
                <a:gd name="connsiteY397" fmla="*/ 1338735 h 1849426"/>
                <a:gd name="connsiteX398" fmla="*/ 1255700 w 6386648"/>
                <a:gd name="connsiteY398" fmla="*/ 1320710 h 1849426"/>
                <a:gd name="connsiteX399" fmla="*/ 1273724 w 6386648"/>
                <a:gd name="connsiteY399" fmla="*/ 1302686 h 1849426"/>
                <a:gd name="connsiteX400" fmla="*/ 1033398 w 6386648"/>
                <a:gd name="connsiteY400" fmla="*/ 1302686 h 1849426"/>
                <a:gd name="connsiteX401" fmla="*/ 1051423 w 6386648"/>
                <a:gd name="connsiteY401" fmla="*/ 1320710 h 1849426"/>
                <a:gd name="connsiteX402" fmla="*/ 1033398 w 6386648"/>
                <a:gd name="connsiteY402" fmla="*/ 1338735 h 1849426"/>
                <a:gd name="connsiteX403" fmla="*/ 1015374 w 6386648"/>
                <a:gd name="connsiteY403" fmla="*/ 1320710 h 1849426"/>
                <a:gd name="connsiteX404" fmla="*/ 1033398 w 6386648"/>
                <a:gd name="connsiteY404" fmla="*/ 1302686 h 1849426"/>
                <a:gd name="connsiteX405" fmla="*/ 4548158 w 6386648"/>
                <a:gd name="connsiteY405" fmla="*/ 1296678 h 1849426"/>
                <a:gd name="connsiteX406" fmla="*/ 4566183 w 6386648"/>
                <a:gd name="connsiteY406" fmla="*/ 1314702 h 1849426"/>
                <a:gd name="connsiteX407" fmla="*/ 4548158 w 6386648"/>
                <a:gd name="connsiteY407" fmla="*/ 1332727 h 1849426"/>
                <a:gd name="connsiteX408" fmla="*/ 4530133 w 6386648"/>
                <a:gd name="connsiteY408" fmla="*/ 1314702 h 1849426"/>
                <a:gd name="connsiteX409" fmla="*/ 4548158 w 6386648"/>
                <a:gd name="connsiteY409" fmla="*/ 1296678 h 1849426"/>
                <a:gd name="connsiteX410" fmla="*/ 3520767 w 6386648"/>
                <a:gd name="connsiteY410" fmla="*/ 1290670 h 1849426"/>
                <a:gd name="connsiteX411" fmla="*/ 3538792 w 6386648"/>
                <a:gd name="connsiteY411" fmla="*/ 1308694 h 1849426"/>
                <a:gd name="connsiteX412" fmla="*/ 3520767 w 6386648"/>
                <a:gd name="connsiteY412" fmla="*/ 1326719 h 1849426"/>
                <a:gd name="connsiteX413" fmla="*/ 3502743 w 6386648"/>
                <a:gd name="connsiteY413" fmla="*/ 1308694 h 1849426"/>
                <a:gd name="connsiteX414" fmla="*/ 3520767 w 6386648"/>
                <a:gd name="connsiteY414" fmla="*/ 1290670 h 1849426"/>
                <a:gd name="connsiteX415" fmla="*/ 3244392 w 6386648"/>
                <a:gd name="connsiteY415" fmla="*/ 1290670 h 1849426"/>
                <a:gd name="connsiteX416" fmla="*/ 3262417 w 6386648"/>
                <a:gd name="connsiteY416" fmla="*/ 1308694 h 1849426"/>
                <a:gd name="connsiteX417" fmla="*/ 3244392 w 6386648"/>
                <a:gd name="connsiteY417" fmla="*/ 1326719 h 1849426"/>
                <a:gd name="connsiteX418" fmla="*/ 3226368 w 6386648"/>
                <a:gd name="connsiteY418" fmla="*/ 1308694 h 1849426"/>
                <a:gd name="connsiteX419" fmla="*/ 3244392 w 6386648"/>
                <a:gd name="connsiteY419" fmla="*/ 1290670 h 1849426"/>
                <a:gd name="connsiteX420" fmla="*/ 757024 w 6386648"/>
                <a:gd name="connsiteY420" fmla="*/ 1290670 h 1849426"/>
                <a:gd name="connsiteX421" fmla="*/ 775049 w 6386648"/>
                <a:gd name="connsiteY421" fmla="*/ 1308694 h 1849426"/>
                <a:gd name="connsiteX422" fmla="*/ 757024 w 6386648"/>
                <a:gd name="connsiteY422" fmla="*/ 1326719 h 1849426"/>
                <a:gd name="connsiteX423" fmla="*/ 739000 w 6386648"/>
                <a:gd name="connsiteY423" fmla="*/ 1308694 h 1849426"/>
                <a:gd name="connsiteX424" fmla="*/ 757024 w 6386648"/>
                <a:gd name="connsiteY424" fmla="*/ 1290670 h 1849426"/>
                <a:gd name="connsiteX425" fmla="*/ 4427995 w 6386648"/>
                <a:gd name="connsiteY425" fmla="*/ 1284661 h 1849426"/>
                <a:gd name="connsiteX426" fmla="*/ 4446020 w 6386648"/>
                <a:gd name="connsiteY426" fmla="*/ 1302685 h 1849426"/>
                <a:gd name="connsiteX427" fmla="*/ 4427995 w 6386648"/>
                <a:gd name="connsiteY427" fmla="*/ 1320710 h 1849426"/>
                <a:gd name="connsiteX428" fmla="*/ 4409970 w 6386648"/>
                <a:gd name="connsiteY428" fmla="*/ 1302685 h 1849426"/>
                <a:gd name="connsiteX429" fmla="*/ 4427995 w 6386648"/>
                <a:gd name="connsiteY429" fmla="*/ 1284661 h 1849426"/>
                <a:gd name="connsiteX430" fmla="*/ 2763741 w 6386648"/>
                <a:gd name="connsiteY430" fmla="*/ 1278653 h 1849426"/>
                <a:gd name="connsiteX431" fmla="*/ 2781766 w 6386648"/>
                <a:gd name="connsiteY431" fmla="*/ 1296678 h 1849426"/>
                <a:gd name="connsiteX432" fmla="*/ 2763741 w 6386648"/>
                <a:gd name="connsiteY432" fmla="*/ 1314702 h 1849426"/>
                <a:gd name="connsiteX433" fmla="*/ 2745717 w 6386648"/>
                <a:gd name="connsiteY433" fmla="*/ 1296678 h 1849426"/>
                <a:gd name="connsiteX434" fmla="*/ 2763741 w 6386648"/>
                <a:gd name="connsiteY434" fmla="*/ 1278653 h 1849426"/>
                <a:gd name="connsiteX435" fmla="*/ 2217002 w 6386648"/>
                <a:gd name="connsiteY435" fmla="*/ 1272645 h 1849426"/>
                <a:gd name="connsiteX436" fmla="*/ 2235026 w 6386648"/>
                <a:gd name="connsiteY436" fmla="*/ 1290669 h 1849426"/>
                <a:gd name="connsiteX437" fmla="*/ 2217002 w 6386648"/>
                <a:gd name="connsiteY437" fmla="*/ 1308694 h 1849426"/>
                <a:gd name="connsiteX438" fmla="*/ 2198977 w 6386648"/>
                <a:gd name="connsiteY438" fmla="*/ 1290669 h 1849426"/>
                <a:gd name="connsiteX439" fmla="*/ 2217002 w 6386648"/>
                <a:gd name="connsiteY439" fmla="*/ 1272645 h 1849426"/>
                <a:gd name="connsiteX440" fmla="*/ 1874537 w 6386648"/>
                <a:gd name="connsiteY440" fmla="*/ 1272645 h 1849426"/>
                <a:gd name="connsiteX441" fmla="*/ 1892562 w 6386648"/>
                <a:gd name="connsiteY441" fmla="*/ 1290669 h 1849426"/>
                <a:gd name="connsiteX442" fmla="*/ 1874537 w 6386648"/>
                <a:gd name="connsiteY442" fmla="*/ 1308694 h 1849426"/>
                <a:gd name="connsiteX443" fmla="*/ 1856513 w 6386648"/>
                <a:gd name="connsiteY443" fmla="*/ 1290669 h 1849426"/>
                <a:gd name="connsiteX444" fmla="*/ 1874537 w 6386648"/>
                <a:gd name="connsiteY444" fmla="*/ 1272645 h 1849426"/>
                <a:gd name="connsiteX445" fmla="*/ 3376571 w 6386648"/>
                <a:gd name="connsiteY445" fmla="*/ 1266637 h 1849426"/>
                <a:gd name="connsiteX446" fmla="*/ 3394596 w 6386648"/>
                <a:gd name="connsiteY446" fmla="*/ 1284661 h 1849426"/>
                <a:gd name="connsiteX447" fmla="*/ 3376571 w 6386648"/>
                <a:gd name="connsiteY447" fmla="*/ 1302686 h 1849426"/>
                <a:gd name="connsiteX448" fmla="*/ 3358546 w 6386648"/>
                <a:gd name="connsiteY448" fmla="*/ 1284661 h 1849426"/>
                <a:gd name="connsiteX449" fmla="*/ 3376571 w 6386648"/>
                <a:gd name="connsiteY449" fmla="*/ 1266637 h 1849426"/>
                <a:gd name="connsiteX450" fmla="*/ 2643579 w 6386648"/>
                <a:gd name="connsiteY450" fmla="*/ 1266637 h 1849426"/>
                <a:gd name="connsiteX451" fmla="*/ 2661604 w 6386648"/>
                <a:gd name="connsiteY451" fmla="*/ 1284661 h 1849426"/>
                <a:gd name="connsiteX452" fmla="*/ 2643579 w 6386648"/>
                <a:gd name="connsiteY452" fmla="*/ 1302686 h 1849426"/>
                <a:gd name="connsiteX453" fmla="*/ 2625555 w 6386648"/>
                <a:gd name="connsiteY453" fmla="*/ 1284661 h 1849426"/>
                <a:gd name="connsiteX454" fmla="*/ 2643579 w 6386648"/>
                <a:gd name="connsiteY454" fmla="*/ 1266637 h 1849426"/>
                <a:gd name="connsiteX455" fmla="*/ 1754375 w 6386648"/>
                <a:gd name="connsiteY455" fmla="*/ 1266637 h 1849426"/>
                <a:gd name="connsiteX456" fmla="*/ 1772400 w 6386648"/>
                <a:gd name="connsiteY456" fmla="*/ 1284661 h 1849426"/>
                <a:gd name="connsiteX457" fmla="*/ 1754375 w 6386648"/>
                <a:gd name="connsiteY457" fmla="*/ 1302686 h 1849426"/>
                <a:gd name="connsiteX458" fmla="*/ 1736351 w 6386648"/>
                <a:gd name="connsiteY458" fmla="*/ 1284661 h 1849426"/>
                <a:gd name="connsiteX459" fmla="*/ 1754375 w 6386648"/>
                <a:gd name="connsiteY459" fmla="*/ 1266637 h 1849426"/>
                <a:gd name="connsiteX460" fmla="*/ 4740418 w 6386648"/>
                <a:gd name="connsiteY460" fmla="*/ 1260629 h 1849426"/>
                <a:gd name="connsiteX461" fmla="*/ 4758443 w 6386648"/>
                <a:gd name="connsiteY461" fmla="*/ 1278653 h 1849426"/>
                <a:gd name="connsiteX462" fmla="*/ 4740418 w 6386648"/>
                <a:gd name="connsiteY462" fmla="*/ 1296678 h 1849426"/>
                <a:gd name="connsiteX463" fmla="*/ 4722394 w 6386648"/>
                <a:gd name="connsiteY463" fmla="*/ 1278653 h 1849426"/>
                <a:gd name="connsiteX464" fmla="*/ 4740418 w 6386648"/>
                <a:gd name="connsiteY464" fmla="*/ 1260629 h 1849426"/>
                <a:gd name="connsiteX465" fmla="*/ 4103556 w 6386648"/>
                <a:gd name="connsiteY465" fmla="*/ 1260629 h 1849426"/>
                <a:gd name="connsiteX466" fmla="*/ 4121581 w 6386648"/>
                <a:gd name="connsiteY466" fmla="*/ 1278653 h 1849426"/>
                <a:gd name="connsiteX467" fmla="*/ 4103556 w 6386648"/>
                <a:gd name="connsiteY467" fmla="*/ 1296678 h 1849426"/>
                <a:gd name="connsiteX468" fmla="*/ 4085532 w 6386648"/>
                <a:gd name="connsiteY468" fmla="*/ 1278653 h 1849426"/>
                <a:gd name="connsiteX469" fmla="*/ 4103556 w 6386648"/>
                <a:gd name="connsiteY469" fmla="*/ 1260629 h 1849426"/>
                <a:gd name="connsiteX470" fmla="*/ 3725043 w 6386648"/>
                <a:gd name="connsiteY470" fmla="*/ 1260629 h 1849426"/>
                <a:gd name="connsiteX471" fmla="*/ 3743068 w 6386648"/>
                <a:gd name="connsiteY471" fmla="*/ 1278653 h 1849426"/>
                <a:gd name="connsiteX472" fmla="*/ 3725043 w 6386648"/>
                <a:gd name="connsiteY472" fmla="*/ 1296678 h 1849426"/>
                <a:gd name="connsiteX473" fmla="*/ 3707019 w 6386648"/>
                <a:gd name="connsiteY473" fmla="*/ 1278653 h 1849426"/>
                <a:gd name="connsiteX474" fmla="*/ 3725043 w 6386648"/>
                <a:gd name="connsiteY474" fmla="*/ 1260629 h 1849426"/>
                <a:gd name="connsiteX475" fmla="*/ 1405904 w 6386648"/>
                <a:gd name="connsiteY475" fmla="*/ 1260629 h 1849426"/>
                <a:gd name="connsiteX476" fmla="*/ 1423928 w 6386648"/>
                <a:gd name="connsiteY476" fmla="*/ 1278653 h 1849426"/>
                <a:gd name="connsiteX477" fmla="*/ 1405904 w 6386648"/>
                <a:gd name="connsiteY477" fmla="*/ 1296678 h 1849426"/>
                <a:gd name="connsiteX478" fmla="*/ 1387879 w 6386648"/>
                <a:gd name="connsiteY478" fmla="*/ 1278653 h 1849426"/>
                <a:gd name="connsiteX479" fmla="*/ 1405904 w 6386648"/>
                <a:gd name="connsiteY479" fmla="*/ 1260629 h 1849426"/>
                <a:gd name="connsiteX480" fmla="*/ 492666 w 6386648"/>
                <a:gd name="connsiteY480" fmla="*/ 1260629 h 1849426"/>
                <a:gd name="connsiteX481" fmla="*/ 510691 w 6386648"/>
                <a:gd name="connsiteY481" fmla="*/ 1278653 h 1849426"/>
                <a:gd name="connsiteX482" fmla="*/ 492666 w 6386648"/>
                <a:gd name="connsiteY482" fmla="*/ 1296678 h 1849426"/>
                <a:gd name="connsiteX483" fmla="*/ 474642 w 6386648"/>
                <a:gd name="connsiteY483" fmla="*/ 1278653 h 1849426"/>
                <a:gd name="connsiteX484" fmla="*/ 492666 w 6386648"/>
                <a:gd name="connsiteY484" fmla="*/ 1260629 h 1849426"/>
                <a:gd name="connsiteX485" fmla="*/ 4229726 w 6386648"/>
                <a:gd name="connsiteY485" fmla="*/ 1248613 h 1849426"/>
                <a:gd name="connsiteX486" fmla="*/ 4247751 w 6386648"/>
                <a:gd name="connsiteY486" fmla="*/ 1266638 h 1849426"/>
                <a:gd name="connsiteX487" fmla="*/ 4229726 w 6386648"/>
                <a:gd name="connsiteY487" fmla="*/ 1284662 h 1849426"/>
                <a:gd name="connsiteX488" fmla="*/ 4211702 w 6386648"/>
                <a:gd name="connsiteY488" fmla="*/ 1266638 h 1849426"/>
                <a:gd name="connsiteX489" fmla="*/ 4229726 w 6386648"/>
                <a:gd name="connsiteY489" fmla="*/ 1248613 h 1849426"/>
                <a:gd name="connsiteX490" fmla="*/ 2439302 w 6386648"/>
                <a:gd name="connsiteY490" fmla="*/ 1248613 h 1849426"/>
                <a:gd name="connsiteX491" fmla="*/ 2457327 w 6386648"/>
                <a:gd name="connsiteY491" fmla="*/ 1266638 h 1849426"/>
                <a:gd name="connsiteX492" fmla="*/ 2439302 w 6386648"/>
                <a:gd name="connsiteY492" fmla="*/ 1284662 h 1849426"/>
                <a:gd name="connsiteX493" fmla="*/ 2421278 w 6386648"/>
                <a:gd name="connsiteY493" fmla="*/ 1266638 h 1849426"/>
                <a:gd name="connsiteX494" fmla="*/ 2439302 w 6386648"/>
                <a:gd name="connsiteY494" fmla="*/ 1248613 h 1849426"/>
                <a:gd name="connsiteX495" fmla="*/ 2337165 w 6386648"/>
                <a:gd name="connsiteY495" fmla="*/ 1248613 h 1849426"/>
                <a:gd name="connsiteX496" fmla="*/ 2355189 w 6386648"/>
                <a:gd name="connsiteY496" fmla="*/ 1266638 h 1849426"/>
                <a:gd name="connsiteX497" fmla="*/ 2337165 w 6386648"/>
                <a:gd name="connsiteY497" fmla="*/ 1284662 h 1849426"/>
                <a:gd name="connsiteX498" fmla="*/ 2319140 w 6386648"/>
                <a:gd name="connsiteY498" fmla="*/ 1266638 h 1849426"/>
                <a:gd name="connsiteX499" fmla="*/ 2337165 w 6386648"/>
                <a:gd name="connsiteY499" fmla="*/ 1248613 h 1849426"/>
                <a:gd name="connsiteX500" fmla="*/ 2012725 w 6386648"/>
                <a:gd name="connsiteY500" fmla="*/ 1248613 h 1849426"/>
                <a:gd name="connsiteX501" fmla="*/ 2030750 w 6386648"/>
                <a:gd name="connsiteY501" fmla="*/ 1266638 h 1849426"/>
                <a:gd name="connsiteX502" fmla="*/ 2012725 w 6386648"/>
                <a:gd name="connsiteY502" fmla="*/ 1284662 h 1849426"/>
                <a:gd name="connsiteX503" fmla="*/ 1994701 w 6386648"/>
                <a:gd name="connsiteY503" fmla="*/ 1266638 h 1849426"/>
                <a:gd name="connsiteX504" fmla="*/ 2012725 w 6386648"/>
                <a:gd name="connsiteY504" fmla="*/ 1248613 h 1849426"/>
                <a:gd name="connsiteX505" fmla="*/ 1165578 w 6386648"/>
                <a:gd name="connsiteY505" fmla="*/ 1248613 h 1849426"/>
                <a:gd name="connsiteX506" fmla="*/ 1183602 w 6386648"/>
                <a:gd name="connsiteY506" fmla="*/ 1266638 h 1849426"/>
                <a:gd name="connsiteX507" fmla="*/ 1165578 w 6386648"/>
                <a:gd name="connsiteY507" fmla="*/ 1284662 h 1849426"/>
                <a:gd name="connsiteX508" fmla="*/ 1147553 w 6386648"/>
                <a:gd name="connsiteY508" fmla="*/ 1266638 h 1849426"/>
                <a:gd name="connsiteX509" fmla="*/ 1165578 w 6386648"/>
                <a:gd name="connsiteY509" fmla="*/ 1248613 h 1849426"/>
                <a:gd name="connsiteX510" fmla="*/ 3989401 w 6386648"/>
                <a:gd name="connsiteY510" fmla="*/ 1242605 h 1849426"/>
                <a:gd name="connsiteX511" fmla="*/ 4007426 w 6386648"/>
                <a:gd name="connsiteY511" fmla="*/ 1260629 h 1849426"/>
                <a:gd name="connsiteX512" fmla="*/ 3989401 w 6386648"/>
                <a:gd name="connsiteY512" fmla="*/ 1278654 h 1849426"/>
                <a:gd name="connsiteX513" fmla="*/ 3971377 w 6386648"/>
                <a:gd name="connsiteY513" fmla="*/ 1260629 h 1849426"/>
                <a:gd name="connsiteX514" fmla="*/ 3989401 w 6386648"/>
                <a:gd name="connsiteY514" fmla="*/ 1242605 h 1849426"/>
                <a:gd name="connsiteX515" fmla="*/ 1514049 w 6386648"/>
                <a:gd name="connsiteY515" fmla="*/ 1242605 h 1849426"/>
                <a:gd name="connsiteX516" fmla="*/ 1532074 w 6386648"/>
                <a:gd name="connsiteY516" fmla="*/ 1260629 h 1849426"/>
                <a:gd name="connsiteX517" fmla="*/ 1514049 w 6386648"/>
                <a:gd name="connsiteY517" fmla="*/ 1278654 h 1849426"/>
                <a:gd name="connsiteX518" fmla="*/ 1496025 w 6386648"/>
                <a:gd name="connsiteY518" fmla="*/ 1260629 h 1849426"/>
                <a:gd name="connsiteX519" fmla="*/ 1514049 w 6386648"/>
                <a:gd name="connsiteY519" fmla="*/ 1242605 h 1849426"/>
                <a:gd name="connsiteX520" fmla="*/ 3088181 w 6386648"/>
                <a:gd name="connsiteY520" fmla="*/ 1230588 h 1849426"/>
                <a:gd name="connsiteX521" fmla="*/ 3106206 w 6386648"/>
                <a:gd name="connsiteY521" fmla="*/ 1248612 h 1849426"/>
                <a:gd name="connsiteX522" fmla="*/ 3088181 w 6386648"/>
                <a:gd name="connsiteY522" fmla="*/ 1266637 h 1849426"/>
                <a:gd name="connsiteX523" fmla="*/ 3070157 w 6386648"/>
                <a:gd name="connsiteY523" fmla="*/ 1248612 h 1849426"/>
                <a:gd name="connsiteX524" fmla="*/ 3088181 w 6386648"/>
                <a:gd name="connsiteY524" fmla="*/ 1230588 h 1849426"/>
                <a:gd name="connsiteX525" fmla="*/ 895212 w 6386648"/>
                <a:gd name="connsiteY525" fmla="*/ 1230588 h 1849426"/>
                <a:gd name="connsiteX526" fmla="*/ 913236 w 6386648"/>
                <a:gd name="connsiteY526" fmla="*/ 1248612 h 1849426"/>
                <a:gd name="connsiteX527" fmla="*/ 895212 w 6386648"/>
                <a:gd name="connsiteY527" fmla="*/ 1266637 h 1849426"/>
                <a:gd name="connsiteX528" fmla="*/ 877187 w 6386648"/>
                <a:gd name="connsiteY528" fmla="*/ 1248612 h 1849426"/>
                <a:gd name="connsiteX529" fmla="*/ 895212 w 6386648"/>
                <a:gd name="connsiteY529" fmla="*/ 1230588 h 1849426"/>
                <a:gd name="connsiteX530" fmla="*/ 4626263 w 6386648"/>
                <a:gd name="connsiteY530" fmla="*/ 1224580 h 1849426"/>
                <a:gd name="connsiteX531" fmla="*/ 4644288 w 6386648"/>
                <a:gd name="connsiteY531" fmla="*/ 1242604 h 1849426"/>
                <a:gd name="connsiteX532" fmla="*/ 4626263 w 6386648"/>
                <a:gd name="connsiteY532" fmla="*/ 1260629 h 1849426"/>
                <a:gd name="connsiteX533" fmla="*/ 4608239 w 6386648"/>
                <a:gd name="connsiteY533" fmla="*/ 1242604 h 1849426"/>
                <a:gd name="connsiteX534" fmla="*/ 4626263 w 6386648"/>
                <a:gd name="connsiteY534" fmla="*/ 1224580 h 1849426"/>
                <a:gd name="connsiteX535" fmla="*/ 2547449 w 6386648"/>
                <a:gd name="connsiteY535" fmla="*/ 1224580 h 1849426"/>
                <a:gd name="connsiteX536" fmla="*/ 2565474 w 6386648"/>
                <a:gd name="connsiteY536" fmla="*/ 1242604 h 1849426"/>
                <a:gd name="connsiteX537" fmla="*/ 2547449 w 6386648"/>
                <a:gd name="connsiteY537" fmla="*/ 1260629 h 1849426"/>
                <a:gd name="connsiteX538" fmla="*/ 2529425 w 6386648"/>
                <a:gd name="connsiteY538" fmla="*/ 1242604 h 1849426"/>
                <a:gd name="connsiteX539" fmla="*/ 2547449 w 6386648"/>
                <a:gd name="connsiteY539" fmla="*/ 1224580 h 1849426"/>
                <a:gd name="connsiteX540" fmla="*/ 1628204 w 6386648"/>
                <a:gd name="connsiteY540" fmla="*/ 1224580 h 1849426"/>
                <a:gd name="connsiteX541" fmla="*/ 1646229 w 6386648"/>
                <a:gd name="connsiteY541" fmla="*/ 1242604 h 1849426"/>
                <a:gd name="connsiteX542" fmla="*/ 1628204 w 6386648"/>
                <a:gd name="connsiteY542" fmla="*/ 1260629 h 1849426"/>
                <a:gd name="connsiteX543" fmla="*/ 1610180 w 6386648"/>
                <a:gd name="connsiteY543" fmla="*/ 1242604 h 1849426"/>
                <a:gd name="connsiteX544" fmla="*/ 1628204 w 6386648"/>
                <a:gd name="connsiteY544" fmla="*/ 1224580 h 1849426"/>
                <a:gd name="connsiteX545" fmla="*/ 5052841 w 6386648"/>
                <a:gd name="connsiteY545" fmla="*/ 1212564 h 1849426"/>
                <a:gd name="connsiteX546" fmla="*/ 5070866 w 6386648"/>
                <a:gd name="connsiteY546" fmla="*/ 1230588 h 1849426"/>
                <a:gd name="connsiteX547" fmla="*/ 5052841 w 6386648"/>
                <a:gd name="connsiteY547" fmla="*/ 1248613 h 1849426"/>
                <a:gd name="connsiteX548" fmla="*/ 5034817 w 6386648"/>
                <a:gd name="connsiteY548" fmla="*/ 1230588 h 1849426"/>
                <a:gd name="connsiteX549" fmla="*/ 5052841 w 6386648"/>
                <a:gd name="connsiteY549" fmla="*/ 1212564 h 1849426"/>
                <a:gd name="connsiteX550" fmla="*/ 3845206 w 6386648"/>
                <a:gd name="connsiteY550" fmla="*/ 1206556 h 1849426"/>
                <a:gd name="connsiteX551" fmla="*/ 3863231 w 6386648"/>
                <a:gd name="connsiteY551" fmla="*/ 1224580 h 1849426"/>
                <a:gd name="connsiteX552" fmla="*/ 3845206 w 6386648"/>
                <a:gd name="connsiteY552" fmla="*/ 1242605 h 1849426"/>
                <a:gd name="connsiteX553" fmla="*/ 3827182 w 6386648"/>
                <a:gd name="connsiteY553" fmla="*/ 1224580 h 1849426"/>
                <a:gd name="connsiteX554" fmla="*/ 3845206 w 6386648"/>
                <a:gd name="connsiteY554" fmla="*/ 1206556 h 1849426"/>
                <a:gd name="connsiteX555" fmla="*/ 3604880 w 6386648"/>
                <a:gd name="connsiteY555" fmla="*/ 1206556 h 1849426"/>
                <a:gd name="connsiteX556" fmla="*/ 3622905 w 6386648"/>
                <a:gd name="connsiteY556" fmla="*/ 1224580 h 1849426"/>
                <a:gd name="connsiteX557" fmla="*/ 3604880 w 6386648"/>
                <a:gd name="connsiteY557" fmla="*/ 1242605 h 1849426"/>
                <a:gd name="connsiteX558" fmla="*/ 3586856 w 6386648"/>
                <a:gd name="connsiteY558" fmla="*/ 1224580 h 1849426"/>
                <a:gd name="connsiteX559" fmla="*/ 3604880 w 6386648"/>
                <a:gd name="connsiteY559" fmla="*/ 1206556 h 1849426"/>
                <a:gd name="connsiteX560" fmla="*/ 600813 w 6386648"/>
                <a:gd name="connsiteY560" fmla="*/ 1200548 h 1849426"/>
                <a:gd name="connsiteX561" fmla="*/ 618838 w 6386648"/>
                <a:gd name="connsiteY561" fmla="*/ 1218572 h 1849426"/>
                <a:gd name="connsiteX562" fmla="*/ 600813 w 6386648"/>
                <a:gd name="connsiteY562" fmla="*/ 1236597 h 1849426"/>
                <a:gd name="connsiteX563" fmla="*/ 582789 w 6386648"/>
                <a:gd name="connsiteY563" fmla="*/ 1218572 h 1849426"/>
                <a:gd name="connsiteX564" fmla="*/ 600813 w 6386648"/>
                <a:gd name="connsiteY564" fmla="*/ 1200548 h 1849426"/>
                <a:gd name="connsiteX565" fmla="*/ 2949994 w 6386648"/>
                <a:gd name="connsiteY565" fmla="*/ 1194539 h 1849426"/>
                <a:gd name="connsiteX566" fmla="*/ 2968019 w 6386648"/>
                <a:gd name="connsiteY566" fmla="*/ 1212563 h 1849426"/>
                <a:gd name="connsiteX567" fmla="*/ 2949994 w 6386648"/>
                <a:gd name="connsiteY567" fmla="*/ 1230588 h 1849426"/>
                <a:gd name="connsiteX568" fmla="*/ 2931970 w 6386648"/>
                <a:gd name="connsiteY568" fmla="*/ 1212563 h 1849426"/>
                <a:gd name="connsiteX569" fmla="*/ 2949994 w 6386648"/>
                <a:gd name="connsiteY569" fmla="*/ 1194539 h 1849426"/>
                <a:gd name="connsiteX570" fmla="*/ 1009366 w 6386648"/>
                <a:gd name="connsiteY570" fmla="*/ 1194539 h 1849426"/>
                <a:gd name="connsiteX571" fmla="*/ 1027391 w 6386648"/>
                <a:gd name="connsiteY571" fmla="*/ 1212563 h 1849426"/>
                <a:gd name="connsiteX572" fmla="*/ 1009366 w 6386648"/>
                <a:gd name="connsiteY572" fmla="*/ 1230588 h 1849426"/>
                <a:gd name="connsiteX573" fmla="*/ 991342 w 6386648"/>
                <a:gd name="connsiteY573" fmla="*/ 1212563 h 1849426"/>
                <a:gd name="connsiteX574" fmla="*/ 1009366 w 6386648"/>
                <a:gd name="connsiteY574" fmla="*/ 1194539 h 1849426"/>
                <a:gd name="connsiteX575" fmla="*/ 4932678 w 6386648"/>
                <a:gd name="connsiteY575" fmla="*/ 1188531 h 1849426"/>
                <a:gd name="connsiteX576" fmla="*/ 4950703 w 6386648"/>
                <a:gd name="connsiteY576" fmla="*/ 1206556 h 1849426"/>
                <a:gd name="connsiteX577" fmla="*/ 4932678 w 6386648"/>
                <a:gd name="connsiteY577" fmla="*/ 1224580 h 1849426"/>
                <a:gd name="connsiteX578" fmla="*/ 4914654 w 6386648"/>
                <a:gd name="connsiteY578" fmla="*/ 1206556 h 1849426"/>
                <a:gd name="connsiteX579" fmla="*/ 4932678 w 6386648"/>
                <a:gd name="connsiteY579" fmla="*/ 1188531 h 1849426"/>
                <a:gd name="connsiteX580" fmla="*/ 4361905 w 6386648"/>
                <a:gd name="connsiteY580" fmla="*/ 1188531 h 1849426"/>
                <a:gd name="connsiteX581" fmla="*/ 4379930 w 6386648"/>
                <a:gd name="connsiteY581" fmla="*/ 1206556 h 1849426"/>
                <a:gd name="connsiteX582" fmla="*/ 4361905 w 6386648"/>
                <a:gd name="connsiteY582" fmla="*/ 1224580 h 1849426"/>
                <a:gd name="connsiteX583" fmla="*/ 4343881 w 6386648"/>
                <a:gd name="connsiteY583" fmla="*/ 1206556 h 1849426"/>
                <a:gd name="connsiteX584" fmla="*/ 4361905 w 6386648"/>
                <a:gd name="connsiteY584" fmla="*/ 1188531 h 1849426"/>
                <a:gd name="connsiteX585" fmla="*/ 3220360 w 6386648"/>
                <a:gd name="connsiteY585" fmla="*/ 1188531 h 1849426"/>
                <a:gd name="connsiteX586" fmla="*/ 3238385 w 6386648"/>
                <a:gd name="connsiteY586" fmla="*/ 1206556 h 1849426"/>
                <a:gd name="connsiteX587" fmla="*/ 3220360 w 6386648"/>
                <a:gd name="connsiteY587" fmla="*/ 1224580 h 1849426"/>
                <a:gd name="connsiteX588" fmla="*/ 3202336 w 6386648"/>
                <a:gd name="connsiteY588" fmla="*/ 1206556 h 1849426"/>
                <a:gd name="connsiteX589" fmla="*/ 3220360 w 6386648"/>
                <a:gd name="connsiteY589" fmla="*/ 1188531 h 1849426"/>
                <a:gd name="connsiteX590" fmla="*/ 708959 w 6386648"/>
                <a:gd name="connsiteY590" fmla="*/ 1188531 h 1849426"/>
                <a:gd name="connsiteX591" fmla="*/ 726984 w 6386648"/>
                <a:gd name="connsiteY591" fmla="*/ 1206556 h 1849426"/>
                <a:gd name="connsiteX592" fmla="*/ 708959 w 6386648"/>
                <a:gd name="connsiteY592" fmla="*/ 1224580 h 1849426"/>
                <a:gd name="connsiteX593" fmla="*/ 690935 w 6386648"/>
                <a:gd name="connsiteY593" fmla="*/ 1206556 h 1849426"/>
                <a:gd name="connsiteX594" fmla="*/ 708959 w 6386648"/>
                <a:gd name="connsiteY594" fmla="*/ 1188531 h 1849426"/>
                <a:gd name="connsiteX595" fmla="*/ 4824532 w 6386648"/>
                <a:gd name="connsiteY595" fmla="*/ 1182523 h 1849426"/>
                <a:gd name="connsiteX596" fmla="*/ 4842557 w 6386648"/>
                <a:gd name="connsiteY596" fmla="*/ 1200547 h 1849426"/>
                <a:gd name="connsiteX597" fmla="*/ 4824532 w 6386648"/>
                <a:gd name="connsiteY597" fmla="*/ 1218572 h 1849426"/>
                <a:gd name="connsiteX598" fmla="*/ 4806508 w 6386648"/>
                <a:gd name="connsiteY598" fmla="*/ 1200547 h 1849426"/>
                <a:gd name="connsiteX599" fmla="*/ 4824532 w 6386648"/>
                <a:gd name="connsiteY599" fmla="*/ 1182523 h 1849426"/>
                <a:gd name="connsiteX600" fmla="*/ 1279732 w 6386648"/>
                <a:gd name="connsiteY600" fmla="*/ 1170507 h 1849426"/>
                <a:gd name="connsiteX601" fmla="*/ 1297757 w 6386648"/>
                <a:gd name="connsiteY601" fmla="*/ 1188531 h 1849426"/>
                <a:gd name="connsiteX602" fmla="*/ 1279732 w 6386648"/>
                <a:gd name="connsiteY602" fmla="*/ 1206556 h 1849426"/>
                <a:gd name="connsiteX603" fmla="*/ 1261708 w 6386648"/>
                <a:gd name="connsiteY603" fmla="*/ 1188531 h 1849426"/>
                <a:gd name="connsiteX604" fmla="*/ 1279732 w 6386648"/>
                <a:gd name="connsiteY604" fmla="*/ 1170507 h 1849426"/>
                <a:gd name="connsiteX605" fmla="*/ 3478710 w 6386648"/>
                <a:gd name="connsiteY605" fmla="*/ 1164499 h 1849426"/>
                <a:gd name="connsiteX606" fmla="*/ 3496735 w 6386648"/>
                <a:gd name="connsiteY606" fmla="*/ 1182523 h 1849426"/>
                <a:gd name="connsiteX607" fmla="*/ 3478710 w 6386648"/>
                <a:gd name="connsiteY607" fmla="*/ 1200548 h 1849426"/>
                <a:gd name="connsiteX608" fmla="*/ 3460686 w 6386648"/>
                <a:gd name="connsiteY608" fmla="*/ 1182523 h 1849426"/>
                <a:gd name="connsiteX609" fmla="*/ 3478710 w 6386648"/>
                <a:gd name="connsiteY609" fmla="*/ 1164499 h 1849426"/>
                <a:gd name="connsiteX610" fmla="*/ 2703660 w 6386648"/>
                <a:gd name="connsiteY610" fmla="*/ 1164499 h 1849426"/>
                <a:gd name="connsiteX611" fmla="*/ 2721685 w 6386648"/>
                <a:gd name="connsiteY611" fmla="*/ 1182523 h 1849426"/>
                <a:gd name="connsiteX612" fmla="*/ 2703660 w 6386648"/>
                <a:gd name="connsiteY612" fmla="*/ 1200548 h 1849426"/>
                <a:gd name="connsiteX613" fmla="*/ 2685636 w 6386648"/>
                <a:gd name="connsiteY613" fmla="*/ 1182523 h 1849426"/>
                <a:gd name="connsiteX614" fmla="*/ 2703660 w 6386648"/>
                <a:gd name="connsiteY614" fmla="*/ 1164499 h 1849426"/>
                <a:gd name="connsiteX615" fmla="*/ 4500093 w 6386648"/>
                <a:gd name="connsiteY615" fmla="*/ 1158491 h 1849426"/>
                <a:gd name="connsiteX616" fmla="*/ 4518118 w 6386648"/>
                <a:gd name="connsiteY616" fmla="*/ 1176516 h 1849426"/>
                <a:gd name="connsiteX617" fmla="*/ 4500093 w 6386648"/>
                <a:gd name="connsiteY617" fmla="*/ 1194540 h 1849426"/>
                <a:gd name="connsiteX618" fmla="*/ 4482069 w 6386648"/>
                <a:gd name="connsiteY618" fmla="*/ 1176516 h 1849426"/>
                <a:gd name="connsiteX619" fmla="*/ 4500093 w 6386648"/>
                <a:gd name="connsiteY619" fmla="*/ 1158491 h 1849426"/>
                <a:gd name="connsiteX620" fmla="*/ 4199686 w 6386648"/>
                <a:gd name="connsiteY620" fmla="*/ 1158491 h 1849426"/>
                <a:gd name="connsiteX621" fmla="*/ 4217711 w 6386648"/>
                <a:gd name="connsiteY621" fmla="*/ 1176516 h 1849426"/>
                <a:gd name="connsiteX622" fmla="*/ 4199686 w 6386648"/>
                <a:gd name="connsiteY622" fmla="*/ 1194540 h 1849426"/>
                <a:gd name="connsiteX623" fmla="*/ 4181662 w 6386648"/>
                <a:gd name="connsiteY623" fmla="*/ 1176516 h 1849426"/>
                <a:gd name="connsiteX624" fmla="*/ 4199686 w 6386648"/>
                <a:gd name="connsiteY624" fmla="*/ 1158491 h 1849426"/>
                <a:gd name="connsiteX625" fmla="*/ 2132887 w 6386648"/>
                <a:gd name="connsiteY625" fmla="*/ 1158491 h 1849426"/>
                <a:gd name="connsiteX626" fmla="*/ 2150912 w 6386648"/>
                <a:gd name="connsiteY626" fmla="*/ 1176516 h 1849426"/>
                <a:gd name="connsiteX627" fmla="*/ 2132887 w 6386648"/>
                <a:gd name="connsiteY627" fmla="*/ 1194540 h 1849426"/>
                <a:gd name="connsiteX628" fmla="*/ 2114863 w 6386648"/>
                <a:gd name="connsiteY628" fmla="*/ 1176516 h 1849426"/>
                <a:gd name="connsiteX629" fmla="*/ 2132887 w 6386648"/>
                <a:gd name="connsiteY629" fmla="*/ 1158491 h 1849426"/>
                <a:gd name="connsiteX630" fmla="*/ 1850505 w 6386648"/>
                <a:gd name="connsiteY630" fmla="*/ 1158491 h 1849426"/>
                <a:gd name="connsiteX631" fmla="*/ 1868530 w 6386648"/>
                <a:gd name="connsiteY631" fmla="*/ 1176516 h 1849426"/>
                <a:gd name="connsiteX632" fmla="*/ 1850505 w 6386648"/>
                <a:gd name="connsiteY632" fmla="*/ 1194540 h 1849426"/>
                <a:gd name="connsiteX633" fmla="*/ 1832481 w 6386648"/>
                <a:gd name="connsiteY633" fmla="*/ 1176516 h 1849426"/>
                <a:gd name="connsiteX634" fmla="*/ 1850505 w 6386648"/>
                <a:gd name="connsiteY634" fmla="*/ 1158491 h 1849426"/>
                <a:gd name="connsiteX635" fmla="*/ 3340522 w 6386648"/>
                <a:gd name="connsiteY635" fmla="*/ 1152483 h 1849426"/>
                <a:gd name="connsiteX636" fmla="*/ 3358547 w 6386648"/>
                <a:gd name="connsiteY636" fmla="*/ 1170507 h 1849426"/>
                <a:gd name="connsiteX637" fmla="*/ 3340522 w 6386648"/>
                <a:gd name="connsiteY637" fmla="*/ 1188532 h 1849426"/>
                <a:gd name="connsiteX638" fmla="*/ 3322498 w 6386648"/>
                <a:gd name="connsiteY638" fmla="*/ 1170507 h 1849426"/>
                <a:gd name="connsiteX639" fmla="*/ 3340522 w 6386648"/>
                <a:gd name="connsiteY639" fmla="*/ 1152483 h 1849426"/>
                <a:gd name="connsiteX640" fmla="*/ 2829831 w 6386648"/>
                <a:gd name="connsiteY640" fmla="*/ 1152483 h 1849426"/>
                <a:gd name="connsiteX641" fmla="*/ 2847856 w 6386648"/>
                <a:gd name="connsiteY641" fmla="*/ 1170507 h 1849426"/>
                <a:gd name="connsiteX642" fmla="*/ 2829831 w 6386648"/>
                <a:gd name="connsiteY642" fmla="*/ 1188532 h 1849426"/>
                <a:gd name="connsiteX643" fmla="*/ 2811807 w 6386648"/>
                <a:gd name="connsiteY643" fmla="*/ 1170507 h 1849426"/>
                <a:gd name="connsiteX644" fmla="*/ 2829831 w 6386648"/>
                <a:gd name="connsiteY644" fmla="*/ 1152483 h 1849426"/>
                <a:gd name="connsiteX645" fmla="*/ 2253050 w 6386648"/>
                <a:gd name="connsiteY645" fmla="*/ 1152483 h 1849426"/>
                <a:gd name="connsiteX646" fmla="*/ 2271075 w 6386648"/>
                <a:gd name="connsiteY646" fmla="*/ 1170507 h 1849426"/>
                <a:gd name="connsiteX647" fmla="*/ 2253050 w 6386648"/>
                <a:gd name="connsiteY647" fmla="*/ 1188532 h 1849426"/>
                <a:gd name="connsiteX648" fmla="*/ 2235026 w 6386648"/>
                <a:gd name="connsiteY648" fmla="*/ 1170507 h 1849426"/>
                <a:gd name="connsiteX649" fmla="*/ 2253050 w 6386648"/>
                <a:gd name="connsiteY649" fmla="*/ 1152483 h 1849426"/>
                <a:gd name="connsiteX650" fmla="*/ 1994700 w 6386648"/>
                <a:gd name="connsiteY650" fmla="*/ 1146474 h 1849426"/>
                <a:gd name="connsiteX651" fmla="*/ 2012725 w 6386648"/>
                <a:gd name="connsiteY651" fmla="*/ 1164498 h 1849426"/>
                <a:gd name="connsiteX652" fmla="*/ 1994700 w 6386648"/>
                <a:gd name="connsiteY652" fmla="*/ 1182523 h 1849426"/>
                <a:gd name="connsiteX653" fmla="*/ 1976676 w 6386648"/>
                <a:gd name="connsiteY653" fmla="*/ 1164498 h 1849426"/>
                <a:gd name="connsiteX654" fmla="*/ 1994700 w 6386648"/>
                <a:gd name="connsiteY654" fmla="*/ 1146474 h 1849426"/>
                <a:gd name="connsiteX655" fmla="*/ 1718326 w 6386648"/>
                <a:gd name="connsiteY655" fmla="*/ 1146474 h 1849426"/>
                <a:gd name="connsiteX656" fmla="*/ 1736351 w 6386648"/>
                <a:gd name="connsiteY656" fmla="*/ 1164498 h 1849426"/>
                <a:gd name="connsiteX657" fmla="*/ 1718326 w 6386648"/>
                <a:gd name="connsiteY657" fmla="*/ 1182523 h 1849426"/>
                <a:gd name="connsiteX658" fmla="*/ 1700302 w 6386648"/>
                <a:gd name="connsiteY658" fmla="*/ 1164498 h 1849426"/>
                <a:gd name="connsiteX659" fmla="*/ 1718326 w 6386648"/>
                <a:gd name="connsiteY659" fmla="*/ 1146474 h 1849426"/>
                <a:gd name="connsiteX660" fmla="*/ 1129529 w 6386648"/>
                <a:gd name="connsiteY660" fmla="*/ 1146474 h 1849426"/>
                <a:gd name="connsiteX661" fmla="*/ 1147554 w 6386648"/>
                <a:gd name="connsiteY661" fmla="*/ 1164498 h 1849426"/>
                <a:gd name="connsiteX662" fmla="*/ 1129529 w 6386648"/>
                <a:gd name="connsiteY662" fmla="*/ 1182523 h 1849426"/>
                <a:gd name="connsiteX663" fmla="*/ 1111505 w 6386648"/>
                <a:gd name="connsiteY663" fmla="*/ 1164498 h 1849426"/>
                <a:gd name="connsiteX664" fmla="*/ 1129529 w 6386648"/>
                <a:gd name="connsiteY664" fmla="*/ 1146474 h 1849426"/>
                <a:gd name="connsiteX665" fmla="*/ 498674 w 6386648"/>
                <a:gd name="connsiteY665" fmla="*/ 1140466 h 1849426"/>
                <a:gd name="connsiteX666" fmla="*/ 516699 w 6386648"/>
                <a:gd name="connsiteY666" fmla="*/ 1158490 h 1849426"/>
                <a:gd name="connsiteX667" fmla="*/ 498674 w 6386648"/>
                <a:gd name="connsiteY667" fmla="*/ 1176515 h 1849426"/>
                <a:gd name="connsiteX668" fmla="*/ 480650 w 6386648"/>
                <a:gd name="connsiteY668" fmla="*/ 1158490 h 1849426"/>
                <a:gd name="connsiteX669" fmla="*/ 498674 w 6386648"/>
                <a:gd name="connsiteY669" fmla="*/ 1140466 h 1849426"/>
                <a:gd name="connsiteX670" fmla="*/ 3707019 w 6386648"/>
                <a:gd name="connsiteY670" fmla="*/ 1134458 h 1849426"/>
                <a:gd name="connsiteX671" fmla="*/ 3725044 w 6386648"/>
                <a:gd name="connsiteY671" fmla="*/ 1152482 h 1849426"/>
                <a:gd name="connsiteX672" fmla="*/ 3707019 w 6386648"/>
                <a:gd name="connsiteY672" fmla="*/ 1170507 h 1849426"/>
                <a:gd name="connsiteX673" fmla="*/ 3688994 w 6386648"/>
                <a:gd name="connsiteY673" fmla="*/ 1152482 h 1849426"/>
                <a:gd name="connsiteX674" fmla="*/ 3707019 w 6386648"/>
                <a:gd name="connsiteY674" fmla="*/ 1134458 h 1849426"/>
                <a:gd name="connsiteX675" fmla="*/ 799081 w 6386648"/>
                <a:gd name="connsiteY675" fmla="*/ 1134458 h 1849426"/>
                <a:gd name="connsiteX676" fmla="*/ 817106 w 6386648"/>
                <a:gd name="connsiteY676" fmla="*/ 1152482 h 1849426"/>
                <a:gd name="connsiteX677" fmla="*/ 799081 w 6386648"/>
                <a:gd name="connsiteY677" fmla="*/ 1170507 h 1849426"/>
                <a:gd name="connsiteX678" fmla="*/ 781057 w 6386648"/>
                <a:gd name="connsiteY678" fmla="*/ 1152482 h 1849426"/>
                <a:gd name="connsiteX679" fmla="*/ 799081 w 6386648"/>
                <a:gd name="connsiteY679" fmla="*/ 1134458 h 1849426"/>
                <a:gd name="connsiteX680" fmla="*/ 384520 w 6386648"/>
                <a:gd name="connsiteY680" fmla="*/ 1134458 h 1849426"/>
                <a:gd name="connsiteX681" fmla="*/ 402545 w 6386648"/>
                <a:gd name="connsiteY681" fmla="*/ 1152482 h 1849426"/>
                <a:gd name="connsiteX682" fmla="*/ 384520 w 6386648"/>
                <a:gd name="connsiteY682" fmla="*/ 1170507 h 1849426"/>
                <a:gd name="connsiteX683" fmla="*/ 366496 w 6386648"/>
                <a:gd name="connsiteY683" fmla="*/ 1152482 h 1849426"/>
                <a:gd name="connsiteX684" fmla="*/ 384520 w 6386648"/>
                <a:gd name="connsiteY684" fmla="*/ 1134458 h 1849426"/>
                <a:gd name="connsiteX685" fmla="*/ 3935328 w 6386648"/>
                <a:gd name="connsiteY685" fmla="*/ 1128450 h 1849426"/>
                <a:gd name="connsiteX686" fmla="*/ 3953353 w 6386648"/>
                <a:gd name="connsiteY686" fmla="*/ 1146475 h 1849426"/>
                <a:gd name="connsiteX687" fmla="*/ 3935328 w 6386648"/>
                <a:gd name="connsiteY687" fmla="*/ 1164499 h 1849426"/>
                <a:gd name="connsiteX688" fmla="*/ 3917304 w 6386648"/>
                <a:gd name="connsiteY688" fmla="*/ 1146475 h 1849426"/>
                <a:gd name="connsiteX689" fmla="*/ 3935328 w 6386648"/>
                <a:gd name="connsiteY689" fmla="*/ 1128450 h 1849426"/>
                <a:gd name="connsiteX690" fmla="*/ 1514049 w 6386648"/>
                <a:gd name="connsiteY690" fmla="*/ 1128450 h 1849426"/>
                <a:gd name="connsiteX691" fmla="*/ 1532074 w 6386648"/>
                <a:gd name="connsiteY691" fmla="*/ 1146475 h 1849426"/>
                <a:gd name="connsiteX692" fmla="*/ 1514049 w 6386648"/>
                <a:gd name="connsiteY692" fmla="*/ 1164499 h 1849426"/>
                <a:gd name="connsiteX693" fmla="*/ 1496025 w 6386648"/>
                <a:gd name="connsiteY693" fmla="*/ 1146475 h 1849426"/>
                <a:gd name="connsiteX694" fmla="*/ 1514049 w 6386648"/>
                <a:gd name="connsiteY694" fmla="*/ 1128450 h 1849426"/>
                <a:gd name="connsiteX695" fmla="*/ 4650296 w 6386648"/>
                <a:gd name="connsiteY695" fmla="*/ 1122442 h 1849426"/>
                <a:gd name="connsiteX696" fmla="*/ 4668321 w 6386648"/>
                <a:gd name="connsiteY696" fmla="*/ 1140466 h 1849426"/>
                <a:gd name="connsiteX697" fmla="*/ 4650296 w 6386648"/>
                <a:gd name="connsiteY697" fmla="*/ 1158491 h 1849426"/>
                <a:gd name="connsiteX698" fmla="*/ 4632272 w 6386648"/>
                <a:gd name="connsiteY698" fmla="*/ 1140466 h 1849426"/>
                <a:gd name="connsiteX699" fmla="*/ 4650296 w 6386648"/>
                <a:gd name="connsiteY699" fmla="*/ 1122442 h 1849426"/>
                <a:gd name="connsiteX700" fmla="*/ 4073515 w 6386648"/>
                <a:gd name="connsiteY700" fmla="*/ 1122442 h 1849426"/>
                <a:gd name="connsiteX701" fmla="*/ 4091540 w 6386648"/>
                <a:gd name="connsiteY701" fmla="*/ 1140466 h 1849426"/>
                <a:gd name="connsiteX702" fmla="*/ 4073515 w 6386648"/>
                <a:gd name="connsiteY702" fmla="*/ 1158491 h 1849426"/>
                <a:gd name="connsiteX703" fmla="*/ 4055491 w 6386648"/>
                <a:gd name="connsiteY703" fmla="*/ 1140466 h 1849426"/>
                <a:gd name="connsiteX704" fmla="*/ 4073515 w 6386648"/>
                <a:gd name="connsiteY704" fmla="*/ 1122442 h 1849426"/>
                <a:gd name="connsiteX705" fmla="*/ 2475351 w 6386648"/>
                <a:gd name="connsiteY705" fmla="*/ 1122442 h 1849426"/>
                <a:gd name="connsiteX706" fmla="*/ 2493376 w 6386648"/>
                <a:gd name="connsiteY706" fmla="*/ 1140466 h 1849426"/>
                <a:gd name="connsiteX707" fmla="*/ 2475351 w 6386648"/>
                <a:gd name="connsiteY707" fmla="*/ 1158491 h 1849426"/>
                <a:gd name="connsiteX708" fmla="*/ 2457326 w 6386648"/>
                <a:gd name="connsiteY708" fmla="*/ 1140466 h 1849426"/>
                <a:gd name="connsiteX709" fmla="*/ 2475351 w 6386648"/>
                <a:gd name="connsiteY709" fmla="*/ 1122442 h 1849426"/>
                <a:gd name="connsiteX710" fmla="*/ 1393887 w 6386648"/>
                <a:gd name="connsiteY710" fmla="*/ 1122442 h 1849426"/>
                <a:gd name="connsiteX711" fmla="*/ 1411912 w 6386648"/>
                <a:gd name="connsiteY711" fmla="*/ 1140466 h 1849426"/>
                <a:gd name="connsiteX712" fmla="*/ 1393887 w 6386648"/>
                <a:gd name="connsiteY712" fmla="*/ 1158491 h 1849426"/>
                <a:gd name="connsiteX713" fmla="*/ 1375863 w 6386648"/>
                <a:gd name="connsiteY713" fmla="*/ 1140466 h 1849426"/>
                <a:gd name="connsiteX714" fmla="*/ 1393887 w 6386648"/>
                <a:gd name="connsiteY714" fmla="*/ 1122442 h 1849426"/>
                <a:gd name="connsiteX715" fmla="*/ 3058140 w 6386648"/>
                <a:gd name="connsiteY715" fmla="*/ 1116434 h 1849426"/>
                <a:gd name="connsiteX716" fmla="*/ 3076165 w 6386648"/>
                <a:gd name="connsiteY716" fmla="*/ 1134458 h 1849426"/>
                <a:gd name="connsiteX717" fmla="*/ 3058140 w 6386648"/>
                <a:gd name="connsiteY717" fmla="*/ 1152483 h 1849426"/>
                <a:gd name="connsiteX718" fmla="*/ 3040116 w 6386648"/>
                <a:gd name="connsiteY718" fmla="*/ 1134458 h 1849426"/>
                <a:gd name="connsiteX719" fmla="*/ 3058140 w 6386648"/>
                <a:gd name="connsiteY719" fmla="*/ 1116434 h 1849426"/>
                <a:gd name="connsiteX720" fmla="*/ 4800499 w 6386648"/>
                <a:gd name="connsiteY720" fmla="*/ 1092401 h 1849426"/>
                <a:gd name="connsiteX721" fmla="*/ 4818524 w 6386648"/>
                <a:gd name="connsiteY721" fmla="*/ 1110425 h 1849426"/>
                <a:gd name="connsiteX722" fmla="*/ 4800499 w 6386648"/>
                <a:gd name="connsiteY722" fmla="*/ 1128450 h 1849426"/>
                <a:gd name="connsiteX723" fmla="*/ 4782475 w 6386648"/>
                <a:gd name="connsiteY723" fmla="*/ 1110425 h 1849426"/>
                <a:gd name="connsiteX724" fmla="*/ 4800499 w 6386648"/>
                <a:gd name="connsiteY724" fmla="*/ 1092401 h 1849426"/>
                <a:gd name="connsiteX725" fmla="*/ 2349180 w 6386648"/>
                <a:gd name="connsiteY725" fmla="*/ 1092401 h 1849426"/>
                <a:gd name="connsiteX726" fmla="*/ 2367205 w 6386648"/>
                <a:gd name="connsiteY726" fmla="*/ 1110425 h 1849426"/>
                <a:gd name="connsiteX727" fmla="*/ 2349180 w 6386648"/>
                <a:gd name="connsiteY727" fmla="*/ 1128450 h 1849426"/>
                <a:gd name="connsiteX728" fmla="*/ 2331156 w 6386648"/>
                <a:gd name="connsiteY728" fmla="*/ 1110425 h 1849426"/>
                <a:gd name="connsiteX729" fmla="*/ 2349180 w 6386648"/>
                <a:gd name="connsiteY729" fmla="*/ 1092401 h 1849426"/>
                <a:gd name="connsiteX730" fmla="*/ 931260 w 6386648"/>
                <a:gd name="connsiteY730" fmla="*/ 1092401 h 1849426"/>
                <a:gd name="connsiteX731" fmla="*/ 949285 w 6386648"/>
                <a:gd name="connsiteY731" fmla="*/ 1110425 h 1849426"/>
                <a:gd name="connsiteX732" fmla="*/ 931260 w 6386648"/>
                <a:gd name="connsiteY732" fmla="*/ 1128450 h 1849426"/>
                <a:gd name="connsiteX733" fmla="*/ 913236 w 6386648"/>
                <a:gd name="connsiteY733" fmla="*/ 1110425 h 1849426"/>
                <a:gd name="connsiteX734" fmla="*/ 931260 w 6386648"/>
                <a:gd name="connsiteY734" fmla="*/ 1092401 h 1849426"/>
                <a:gd name="connsiteX735" fmla="*/ 4986752 w 6386648"/>
                <a:gd name="connsiteY735" fmla="*/ 1086393 h 1849426"/>
                <a:gd name="connsiteX736" fmla="*/ 5004777 w 6386648"/>
                <a:gd name="connsiteY736" fmla="*/ 1104417 h 1849426"/>
                <a:gd name="connsiteX737" fmla="*/ 4986752 w 6386648"/>
                <a:gd name="connsiteY737" fmla="*/ 1122442 h 1849426"/>
                <a:gd name="connsiteX738" fmla="*/ 4968728 w 6386648"/>
                <a:gd name="connsiteY738" fmla="*/ 1104417 h 1849426"/>
                <a:gd name="connsiteX739" fmla="*/ 4986752 w 6386648"/>
                <a:gd name="connsiteY739" fmla="*/ 1086393 h 1849426"/>
                <a:gd name="connsiteX740" fmla="*/ 3815165 w 6386648"/>
                <a:gd name="connsiteY740" fmla="*/ 1086393 h 1849426"/>
                <a:gd name="connsiteX741" fmla="*/ 3833190 w 6386648"/>
                <a:gd name="connsiteY741" fmla="*/ 1104417 h 1849426"/>
                <a:gd name="connsiteX742" fmla="*/ 3815165 w 6386648"/>
                <a:gd name="connsiteY742" fmla="*/ 1122442 h 1849426"/>
                <a:gd name="connsiteX743" fmla="*/ 3797141 w 6386648"/>
                <a:gd name="connsiteY743" fmla="*/ 1104417 h 1849426"/>
                <a:gd name="connsiteX744" fmla="*/ 3815165 w 6386648"/>
                <a:gd name="connsiteY744" fmla="*/ 1086393 h 1849426"/>
                <a:gd name="connsiteX745" fmla="*/ 3586856 w 6386648"/>
                <a:gd name="connsiteY745" fmla="*/ 1086393 h 1849426"/>
                <a:gd name="connsiteX746" fmla="*/ 3604881 w 6386648"/>
                <a:gd name="connsiteY746" fmla="*/ 1104417 h 1849426"/>
                <a:gd name="connsiteX747" fmla="*/ 3586856 w 6386648"/>
                <a:gd name="connsiteY747" fmla="*/ 1122442 h 1849426"/>
                <a:gd name="connsiteX748" fmla="*/ 3568831 w 6386648"/>
                <a:gd name="connsiteY748" fmla="*/ 1104417 h 1849426"/>
                <a:gd name="connsiteX749" fmla="*/ 3586856 w 6386648"/>
                <a:gd name="connsiteY749" fmla="*/ 1086393 h 1849426"/>
                <a:gd name="connsiteX750" fmla="*/ 3166287 w 6386648"/>
                <a:gd name="connsiteY750" fmla="*/ 1086393 h 1849426"/>
                <a:gd name="connsiteX751" fmla="*/ 3184312 w 6386648"/>
                <a:gd name="connsiteY751" fmla="*/ 1104417 h 1849426"/>
                <a:gd name="connsiteX752" fmla="*/ 3166287 w 6386648"/>
                <a:gd name="connsiteY752" fmla="*/ 1122442 h 1849426"/>
                <a:gd name="connsiteX753" fmla="*/ 3148262 w 6386648"/>
                <a:gd name="connsiteY753" fmla="*/ 1104417 h 1849426"/>
                <a:gd name="connsiteX754" fmla="*/ 3166287 w 6386648"/>
                <a:gd name="connsiteY754" fmla="*/ 1086393 h 1849426"/>
                <a:gd name="connsiteX755" fmla="*/ 2595514 w 6386648"/>
                <a:gd name="connsiteY755" fmla="*/ 1086393 h 1849426"/>
                <a:gd name="connsiteX756" fmla="*/ 2613539 w 6386648"/>
                <a:gd name="connsiteY756" fmla="*/ 1104417 h 1849426"/>
                <a:gd name="connsiteX757" fmla="*/ 2595514 w 6386648"/>
                <a:gd name="connsiteY757" fmla="*/ 1122442 h 1849426"/>
                <a:gd name="connsiteX758" fmla="*/ 2577489 w 6386648"/>
                <a:gd name="connsiteY758" fmla="*/ 1104417 h 1849426"/>
                <a:gd name="connsiteX759" fmla="*/ 2595514 w 6386648"/>
                <a:gd name="connsiteY759" fmla="*/ 1086393 h 1849426"/>
                <a:gd name="connsiteX760" fmla="*/ 1628204 w 6386648"/>
                <a:gd name="connsiteY760" fmla="*/ 1074377 h 1849426"/>
                <a:gd name="connsiteX761" fmla="*/ 1646229 w 6386648"/>
                <a:gd name="connsiteY761" fmla="*/ 1092401 h 1849426"/>
                <a:gd name="connsiteX762" fmla="*/ 1628204 w 6386648"/>
                <a:gd name="connsiteY762" fmla="*/ 1110426 h 1849426"/>
                <a:gd name="connsiteX763" fmla="*/ 1610180 w 6386648"/>
                <a:gd name="connsiteY763" fmla="*/ 1092401 h 1849426"/>
                <a:gd name="connsiteX764" fmla="*/ 1628204 w 6386648"/>
                <a:gd name="connsiteY764" fmla="*/ 1074377 h 1849426"/>
                <a:gd name="connsiteX765" fmla="*/ 642870 w 6386648"/>
                <a:gd name="connsiteY765" fmla="*/ 1074377 h 1849426"/>
                <a:gd name="connsiteX766" fmla="*/ 660895 w 6386648"/>
                <a:gd name="connsiteY766" fmla="*/ 1092401 h 1849426"/>
                <a:gd name="connsiteX767" fmla="*/ 642870 w 6386648"/>
                <a:gd name="connsiteY767" fmla="*/ 1110426 h 1849426"/>
                <a:gd name="connsiteX768" fmla="*/ 624846 w 6386648"/>
                <a:gd name="connsiteY768" fmla="*/ 1092401 h 1849426"/>
                <a:gd name="connsiteX769" fmla="*/ 642870 w 6386648"/>
                <a:gd name="connsiteY769" fmla="*/ 1074377 h 1849426"/>
                <a:gd name="connsiteX770" fmla="*/ 2925961 w 6386648"/>
                <a:gd name="connsiteY770" fmla="*/ 1068369 h 1849426"/>
                <a:gd name="connsiteX771" fmla="*/ 2943986 w 6386648"/>
                <a:gd name="connsiteY771" fmla="*/ 1086394 h 1849426"/>
                <a:gd name="connsiteX772" fmla="*/ 2925961 w 6386648"/>
                <a:gd name="connsiteY772" fmla="*/ 1104418 h 1849426"/>
                <a:gd name="connsiteX773" fmla="*/ 2907936 w 6386648"/>
                <a:gd name="connsiteY773" fmla="*/ 1086394 h 1849426"/>
                <a:gd name="connsiteX774" fmla="*/ 2925961 w 6386648"/>
                <a:gd name="connsiteY774" fmla="*/ 1068369 h 1849426"/>
                <a:gd name="connsiteX775" fmla="*/ 3424636 w 6386648"/>
                <a:gd name="connsiteY775" fmla="*/ 1062360 h 1849426"/>
                <a:gd name="connsiteX776" fmla="*/ 3442661 w 6386648"/>
                <a:gd name="connsiteY776" fmla="*/ 1080384 h 1849426"/>
                <a:gd name="connsiteX777" fmla="*/ 3424636 w 6386648"/>
                <a:gd name="connsiteY777" fmla="*/ 1098409 h 1849426"/>
                <a:gd name="connsiteX778" fmla="*/ 3406612 w 6386648"/>
                <a:gd name="connsiteY778" fmla="*/ 1080384 h 1849426"/>
                <a:gd name="connsiteX779" fmla="*/ 3424636 w 6386648"/>
                <a:gd name="connsiteY779" fmla="*/ 1062360 h 1849426"/>
                <a:gd name="connsiteX780" fmla="*/ 1249691 w 6386648"/>
                <a:gd name="connsiteY780" fmla="*/ 1062360 h 1849426"/>
                <a:gd name="connsiteX781" fmla="*/ 1267716 w 6386648"/>
                <a:gd name="connsiteY781" fmla="*/ 1080384 h 1849426"/>
                <a:gd name="connsiteX782" fmla="*/ 1249691 w 6386648"/>
                <a:gd name="connsiteY782" fmla="*/ 1098409 h 1849426"/>
                <a:gd name="connsiteX783" fmla="*/ 1231667 w 6386648"/>
                <a:gd name="connsiteY783" fmla="*/ 1080384 h 1849426"/>
                <a:gd name="connsiteX784" fmla="*/ 1249691 w 6386648"/>
                <a:gd name="connsiteY784" fmla="*/ 1062360 h 1849426"/>
                <a:gd name="connsiteX785" fmla="*/ 1075456 w 6386648"/>
                <a:gd name="connsiteY785" fmla="*/ 1062360 h 1849426"/>
                <a:gd name="connsiteX786" fmla="*/ 1093480 w 6386648"/>
                <a:gd name="connsiteY786" fmla="*/ 1080384 h 1849426"/>
                <a:gd name="connsiteX787" fmla="*/ 1075456 w 6386648"/>
                <a:gd name="connsiteY787" fmla="*/ 1098409 h 1849426"/>
                <a:gd name="connsiteX788" fmla="*/ 1057431 w 6386648"/>
                <a:gd name="connsiteY788" fmla="*/ 1080384 h 1849426"/>
                <a:gd name="connsiteX789" fmla="*/ 1075456 w 6386648"/>
                <a:gd name="connsiteY789" fmla="*/ 1062360 h 1849426"/>
                <a:gd name="connsiteX790" fmla="*/ 1928611 w 6386648"/>
                <a:gd name="connsiteY790" fmla="*/ 1056352 h 1849426"/>
                <a:gd name="connsiteX791" fmla="*/ 1946636 w 6386648"/>
                <a:gd name="connsiteY791" fmla="*/ 1074376 h 1849426"/>
                <a:gd name="connsiteX792" fmla="*/ 1928611 w 6386648"/>
                <a:gd name="connsiteY792" fmla="*/ 1092401 h 1849426"/>
                <a:gd name="connsiteX793" fmla="*/ 1910587 w 6386648"/>
                <a:gd name="connsiteY793" fmla="*/ 1074376 h 1849426"/>
                <a:gd name="connsiteX794" fmla="*/ 1928611 w 6386648"/>
                <a:gd name="connsiteY794" fmla="*/ 1056352 h 1849426"/>
                <a:gd name="connsiteX795" fmla="*/ 2709668 w 6386648"/>
                <a:gd name="connsiteY795" fmla="*/ 1044336 h 1849426"/>
                <a:gd name="connsiteX796" fmla="*/ 2727693 w 6386648"/>
                <a:gd name="connsiteY796" fmla="*/ 1062360 h 1849426"/>
                <a:gd name="connsiteX797" fmla="*/ 2709668 w 6386648"/>
                <a:gd name="connsiteY797" fmla="*/ 1080385 h 1849426"/>
                <a:gd name="connsiteX798" fmla="*/ 2691644 w 6386648"/>
                <a:gd name="connsiteY798" fmla="*/ 1062360 h 1849426"/>
                <a:gd name="connsiteX799" fmla="*/ 2709668 w 6386648"/>
                <a:gd name="connsiteY799" fmla="*/ 1044336 h 1849426"/>
                <a:gd name="connsiteX800" fmla="*/ 1784415 w 6386648"/>
                <a:gd name="connsiteY800" fmla="*/ 1044336 h 1849426"/>
                <a:gd name="connsiteX801" fmla="*/ 1802440 w 6386648"/>
                <a:gd name="connsiteY801" fmla="*/ 1062360 h 1849426"/>
                <a:gd name="connsiteX802" fmla="*/ 1784415 w 6386648"/>
                <a:gd name="connsiteY802" fmla="*/ 1080385 h 1849426"/>
                <a:gd name="connsiteX803" fmla="*/ 1766391 w 6386648"/>
                <a:gd name="connsiteY803" fmla="*/ 1062360 h 1849426"/>
                <a:gd name="connsiteX804" fmla="*/ 1784415 w 6386648"/>
                <a:gd name="connsiteY804" fmla="*/ 1044336 h 1849426"/>
                <a:gd name="connsiteX805" fmla="*/ 3292457 w 6386648"/>
                <a:gd name="connsiteY805" fmla="*/ 1038328 h 1849426"/>
                <a:gd name="connsiteX806" fmla="*/ 3310482 w 6386648"/>
                <a:gd name="connsiteY806" fmla="*/ 1056353 h 1849426"/>
                <a:gd name="connsiteX807" fmla="*/ 3292457 w 6386648"/>
                <a:gd name="connsiteY807" fmla="*/ 1074377 h 1849426"/>
                <a:gd name="connsiteX808" fmla="*/ 3274433 w 6386648"/>
                <a:gd name="connsiteY808" fmla="*/ 1056353 h 1849426"/>
                <a:gd name="connsiteX809" fmla="*/ 3292457 w 6386648"/>
                <a:gd name="connsiteY809" fmla="*/ 1038328 h 1849426"/>
                <a:gd name="connsiteX810" fmla="*/ 2198977 w 6386648"/>
                <a:gd name="connsiteY810" fmla="*/ 1038328 h 1849426"/>
                <a:gd name="connsiteX811" fmla="*/ 2217002 w 6386648"/>
                <a:gd name="connsiteY811" fmla="*/ 1056353 h 1849426"/>
                <a:gd name="connsiteX812" fmla="*/ 2198977 w 6386648"/>
                <a:gd name="connsiteY812" fmla="*/ 1074377 h 1849426"/>
                <a:gd name="connsiteX813" fmla="*/ 2180953 w 6386648"/>
                <a:gd name="connsiteY813" fmla="*/ 1056353 h 1849426"/>
                <a:gd name="connsiteX814" fmla="*/ 2198977 w 6386648"/>
                <a:gd name="connsiteY814" fmla="*/ 1038328 h 1849426"/>
                <a:gd name="connsiteX815" fmla="*/ 2078814 w 6386648"/>
                <a:gd name="connsiteY815" fmla="*/ 1032320 h 1849426"/>
                <a:gd name="connsiteX816" fmla="*/ 2096839 w 6386648"/>
                <a:gd name="connsiteY816" fmla="*/ 1050344 h 1849426"/>
                <a:gd name="connsiteX817" fmla="*/ 2078814 w 6386648"/>
                <a:gd name="connsiteY817" fmla="*/ 1068369 h 1849426"/>
                <a:gd name="connsiteX818" fmla="*/ 2060790 w 6386648"/>
                <a:gd name="connsiteY818" fmla="*/ 1050344 h 1849426"/>
                <a:gd name="connsiteX819" fmla="*/ 2078814 w 6386648"/>
                <a:gd name="connsiteY819" fmla="*/ 1032320 h 1849426"/>
                <a:gd name="connsiteX820" fmla="*/ 3983393 w 6386648"/>
                <a:gd name="connsiteY820" fmla="*/ 1026312 h 1849426"/>
                <a:gd name="connsiteX821" fmla="*/ 4001418 w 6386648"/>
                <a:gd name="connsiteY821" fmla="*/ 1044336 h 1849426"/>
                <a:gd name="connsiteX822" fmla="*/ 3983393 w 6386648"/>
                <a:gd name="connsiteY822" fmla="*/ 1062361 h 1849426"/>
                <a:gd name="connsiteX823" fmla="*/ 3965369 w 6386648"/>
                <a:gd name="connsiteY823" fmla="*/ 1044336 h 1849426"/>
                <a:gd name="connsiteX824" fmla="*/ 3983393 w 6386648"/>
                <a:gd name="connsiteY824" fmla="*/ 1026312 h 1849426"/>
                <a:gd name="connsiteX825" fmla="*/ 817106 w 6386648"/>
                <a:gd name="connsiteY825" fmla="*/ 1020304 h 1849426"/>
                <a:gd name="connsiteX826" fmla="*/ 829123 w 6386648"/>
                <a:gd name="connsiteY826" fmla="*/ 1032320 h 1849426"/>
                <a:gd name="connsiteX827" fmla="*/ 817106 w 6386648"/>
                <a:gd name="connsiteY827" fmla="*/ 1044336 h 1849426"/>
                <a:gd name="connsiteX828" fmla="*/ 805090 w 6386648"/>
                <a:gd name="connsiteY828" fmla="*/ 1032320 h 1849426"/>
                <a:gd name="connsiteX829" fmla="*/ 817106 w 6386648"/>
                <a:gd name="connsiteY829" fmla="*/ 1020304 h 1849426"/>
                <a:gd name="connsiteX830" fmla="*/ 2817815 w 6386648"/>
                <a:gd name="connsiteY830" fmla="*/ 1014295 h 1849426"/>
                <a:gd name="connsiteX831" fmla="*/ 2835840 w 6386648"/>
                <a:gd name="connsiteY831" fmla="*/ 1032319 h 1849426"/>
                <a:gd name="connsiteX832" fmla="*/ 2817815 w 6386648"/>
                <a:gd name="connsiteY832" fmla="*/ 1050344 h 1849426"/>
                <a:gd name="connsiteX833" fmla="*/ 2799791 w 6386648"/>
                <a:gd name="connsiteY833" fmla="*/ 1032319 h 1849426"/>
                <a:gd name="connsiteX834" fmla="*/ 2817815 w 6386648"/>
                <a:gd name="connsiteY834" fmla="*/ 1014295 h 1849426"/>
                <a:gd name="connsiteX835" fmla="*/ 2445310 w 6386648"/>
                <a:gd name="connsiteY835" fmla="*/ 1014295 h 1849426"/>
                <a:gd name="connsiteX836" fmla="*/ 2463335 w 6386648"/>
                <a:gd name="connsiteY836" fmla="*/ 1032319 h 1849426"/>
                <a:gd name="connsiteX837" fmla="*/ 2445310 w 6386648"/>
                <a:gd name="connsiteY837" fmla="*/ 1050344 h 1849426"/>
                <a:gd name="connsiteX838" fmla="*/ 2427285 w 6386648"/>
                <a:gd name="connsiteY838" fmla="*/ 1032319 h 1849426"/>
                <a:gd name="connsiteX839" fmla="*/ 2445310 w 6386648"/>
                <a:gd name="connsiteY839" fmla="*/ 1014295 h 1849426"/>
                <a:gd name="connsiteX840" fmla="*/ 420569 w 6386648"/>
                <a:gd name="connsiteY840" fmla="*/ 1014295 h 1849426"/>
                <a:gd name="connsiteX841" fmla="*/ 438594 w 6386648"/>
                <a:gd name="connsiteY841" fmla="*/ 1032319 h 1849426"/>
                <a:gd name="connsiteX842" fmla="*/ 420569 w 6386648"/>
                <a:gd name="connsiteY842" fmla="*/ 1050344 h 1849426"/>
                <a:gd name="connsiteX843" fmla="*/ 402545 w 6386648"/>
                <a:gd name="connsiteY843" fmla="*/ 1032319 h 1849426"/>
                <a:gd name="connsiteX844" fmla="*/ 420569 w 6386648"/>
                <a:gd name="connsiteY844" fmla="*/ 1014295 h 1849426"/>
                <a:gd name="connsiteX845" fmla="*/ 1520057 w 6386648"/>
                <a:gd name="connsiteY845" fmla="*/ 1008287 h 1849426"/>
                <a:gd name="connsiteX846" fmla="*/ 1538082 w 6386648"/>
                <a:gd name="connsiteY846" fmla="*/ 1026312 h 1849426"/>
                <a:gd name="connsiteX847" fmla="*/ 1520057 w 6386648"/>
                <a:gd name="connsiteY847" fmla="*/ 1044336 h 1849426"/>
                <a:gd name="connsiteX848" fmla="*/ 1502033 w 6386648"/>
                <a:gd name="connsiteY848" fmla="*/ 1026312 h 1849426"/>
                <a:gd name="connsiteX849" fmla="*/ 1520057 w 6386648"/>
                <a:gd name="connsiteY849" fmla="*/ 1008287 h 1849426"/>
                <a:gd name="connsiteX850" fmla="*/ 1387878 w 6386648"/>
                <a:gd name="connsiteY850" fmla="*/ 1008287 h 1849426"/>
                <a:gd name="connsiteX851" fmla="*/ 1405903 w 6386648"/>
                <a:gd name="connsiteY851" fmla="*/ 1026312 h 1849426"/>
                <a:gd name="connsiteX852" fmla="*/ 1387878 w 6386648"/>
                <a:gd name="connsiteY852" fmla="*/ 1044336 h 1849426"/>
                <a:gd name="connsiteX853" fmla="*/ 1369854 w 6386648"/>
                <a:gd name="connsiteY853" fmla="*/ 1026312 h 1849426"/>
                <a:gd name="connsiteX854" fmla="*/ 1387878 w 6386648"/>
                <a:gd name="connsiteY854" fmla="*/ 1008287 h 1849426"/>
                <a:gd name="connsiteX855" fmla="*/ 534724 w 6386648"/>
                <a:gd name="connsiteY855" fmla="*/ 1008287 h 1849426"/>
                <a:gd name="connsiteX856" fmla="*/ 552748 w 6386648"/>
                <a:gd name="connsiteY856" fmla="*/ 1026312 h 1849426"/>
                <a:gd name="connsiteX857" fmla="*/ 534724 w 6386648"/>
                <a:gd name="connsiteY857" fmla="*/ 1044336 h 1849426"/>
                <a:gd name="connsiteX858" fmla="*/ 516699 w 6386648"/>
                <a:gd name="connsiteY858" fmla="*/ 1026312 h 1849426"/>
                <a:gd name="connsiteX859" fmla="*/ 534724 w 6386648"/>
                <a:gd name="connsiteY859" fmla="*/ 1008287 h 1849426"/>
                <a:gd name="connsiteX860" fmla="*/ 3016083 w 6386648"/>
                <a:gd name="connsiteY860" fmla="*/ 1002279 h 1849426"/>
                <a:gd name="connsiteX861" fmla="*/ 3034108 w 6386648"/>
                <a:gd name="connsiteY861" fmla="*/ 1020303 h 1849426"/>
                <a:gd name="connsiteX862" fmla="*/ 3016083 w 6386648"/>
                <a:gd name="connsiteY862" fmla="*/ 1038328 h 1849426"/>
                <a:gd name="connsiteX863" fmla="*/ 2998058 w 6386648"/>
                <a:gd name="connsiteY863" fmla="*/ 1020303 h 1849426"/>
                <a:gd name="connsiteX864" fmla="*/ 3016083 w 6386648"/>
                <a:gd name="connsiteY864" fmla="*/ 1002279 h 1849426"/>
                <a:gd name="connsiteX865" fmla="*/ 294398 w 6386648"/>
                <a:gd name="connsiteY865" fmla="*/ 996271 h 1849426"/>
                <a:gd name="connsiteX866" fmla="*/ 312423 w 6386648"/>
                <a:gd name="connsiteY866" fmla="*/ 1014295 h 1849426"/>
                <a:gd name="connsiteX867" fmla="*/ 294398 w 6386648"/>
                <a:gd name="connsiteY867" fmla="*/ 1032320 h 1849426"/>
                <a:gd name="connsiteX868" fmla="*/ 276374 w 6386648"/>
                <a:gd name="connsiteY868" fmla="*/ 1014295 h 1849426"/>
                <a:gd name="connsiteX869" fmla="*/ 294398 w 6386648"/>
                <a:gd name="connsiteY869" fmla="*/ 996271 h 1849426"/>
                <a:gd name="connsiteX870" fmla="*/ 3676978 w 6386648"/>
                <a:gd name="connsiteY870" fmla="*/ 990263 h 1849426"/>
                <a:gd name="connsiteX871" fmla="*/ 3695003 w 6386648"/>
                <a:gd name="connsiteY871" fmla="*/ 1008287 h 1849426"/>
                <a:gd name="connsiteX872" fmla="*/ 3676978 w 6386648"/>
                <a:gd name="connsiteY872" fmla="*/ 1026312 h 1849426"/>
                <a:gd name="connsiteX873" fmla="*/ 3658953 w 6386648"/>
                <a:gd name="connsiteY873" fmla="*/ 1008287 h 1849426"/>
                <a:gd name="connsiteX874" fmla="*/ 3676978 w 6386648"/>
                <a:gd name="connsiteY874" fmla="*/ 990263 h 1849426"/>
                <a:gd name="connsiteX875" fmla="*/ 3544799 w 6386648"/>
                <a:gd name="connsiteY875" fmla="*/ 984255 h 1849426"/>
                <a:gd name="connsiteX876" fmla="*/ 3562824 w 6386648"/>
                <a:gd name="connsiteY876" fmla="*/ 1002279 h 1849426"/>
                <a:gd name="connsiteX877" fmla="*/ 3544799 w 6386648"/>
                <a:gd name="connsiteY877" fmla="*/ 1020304 h 1849426"/>
                <a:gd name="connsiteX878" fmla="*/ 3526775 w 6386648"/>
                <a:gd name="connsiteY878" fmla="*/ 1002279 h 1849426"/>
                <a:gd name="connsiteX879" fmla="*/ 3544799 w 6386648"/>
                <a:gd name="connsiteY879" fmla="*/ 984255 h 1849426"/>
                <a:gd name="connsiteX880" fmla="*/ 708959 w 6386648"/>
                <a:gd name="connsiteY880" fmla="*/ 984255 h 1849426"/>
                <a:gd name="connsiteX881" fmla="*/ 726984 w 6386648"/>
                <a:gd name="connsiteY881" fmla="*/ 1002279 h 1849426"/>
                <a:gd name="connsiteX882" fmla="*/ 708959 w 6386648"/>
                <a:gd name="connsiteY882" fmla="*/ 1020304 h 1849426"/>
                <a:gd name="connsiteX883" fmla="*/ 690935 w 6386648"/>
                <a:gd name="connsiteY883" fmla="*/ 1002279 h 1849426"/>
                <a:gd name="connsiteX884" fmla="*/ 708959 w 6386648"/>
                <a:gd name="connsiteY884" fmla="*/ 984255 h 1849426"/>
                <a:gd name="connsiteX885" fmla="*/ 3803149 w 6386648"/>
                <a:gd name="connsiteY885" fmla="*/ 978247 h 1849426"/>
                <a:gd name="connsiteX886" fmla="*/ 3821174 w 6386648"/>
                <a:gd name="connsiteY886" fmla="*/ 996272 h 1849426"/>
                <a:gd name="connsiteX887" fmla="*/ 3803149 w 6386648"/>
                <a:gd name="connsiteY887" fmla="*/ 1014296 h 1849426"/>
                <a:gd name="connsiteX888" fmla="*/ 3785125 w 6386648"/>
                <a:gd name="connsiteY888" fmla="*/ 996272 h 1849426"/>
                <a:gd name="connsiteX889" fmla="*/ 3803149 w 6386648"/>
                <a:gd name="connsiteY889" fmla="*/ 978247 h 1849426"/>
                <a:gd name="connsiteX890" fmla="*/ 1003358 w 6386648"/>
                <a:gd name="connsiteY890" fmla="*/ 978247 h 1849426"/>
                <a:gd name="connsiteX891" fmla="*/ 1021383 w 6386648"/>
                <a:gd name="connsiteY891" fmla="*/ 996272 h 1849426"/>
                <a:gd name="connsiteX892" fmla="*/ 1003358 w 6386648"/>
                <a:gd name="connsiteY892" fmla="*/ 1014296 h 1849426"/>
                <a:gd name="connsiteX893" fmla="*/ 985334 w 6386648"/>
                <a:gd name="connsiteY893" fmla="*/ 996272 h 1849426"/>
                <a:gd name="connsiteX894" fmla="*/ 1003358 w 6386648"/>
                <a:gd name="connsiteY894" fmla="*/ 978247 h 1849426"/>
                <a:gd name="connsiteX895" fmla="*/ 3196327 w 6386648"/>
                <a:gd name="connsiteY895" fmla="*/ 972238 h 1849426"/>
                <a:gd name="connsiteX896" fmla="*/ 3214352 w 6386648"/>
                <a:gd name="connsiteY896" fmla="*/ 990262 h 1849426"/>
                <a:gd name="connsiteX897" fmla="*/ 3196327 w 6386648"/>
                <a:gd name="connsiteY897" fmla="*/ 1008287 h 1849426"/>
                <a:gd name="connsiteX898" fmla="*/ 3178302 w 6386648"/>
                <a:gd name="connsiteY898" fmla="*/ 990262 h 1849426"/>
                <a:gd name="connsiteX899" fmla="*/ 3196327 w 6386648"/>
                <a:gd name="connsiteY899" fmla="*/ 972238 h 1849426"/>
                <a:gd name="connsiteX900" fmla="*/ 1183602 w 6386648"/>
                <a:gd name="connsiteY900" fmla="*/ 972238 h 1849426"/>
                <a:gd name="connsiteX901" fmla="*/ 1201627 w 6386648"/>
                <a:gd name="connsiteY901" fmla="*/ 990262 h 1849426"/>
                <a:gd name="connsiteX902" fmla="*/ 1183602 w 6386648"/>
                <a:gd name="connsiteY902" fmla="*/ 1008287 h 1849426"/>
                <a:gd name="connsiteX903" fmla="*/ 1165578 w 6386648"/>
                <a:gd name="connsiteY903" fmla="*/ 990262 h 1849426"/>
                <a:gd name="connsiteX904" fmla="*/ 1183602 w 6386648"/>
                <a:gd name="connsiteY904" fmla="*/ 972238 h 1849426"/>
                <a:gd name="connsiteX905" fmla="*/ 2271074 w 6386648"/>
                <a:gd name="connsiteY905" fmla="*/ 960222 h 1849426"/>
                <a:gd name="connsiteX906" fmla="*/ 2289099 w 6386648"/>
                <a:gd name="connsiteY906" fmla="*/ 978246 h 1849426"/>
                <a:gd name="connsiteX907" fmla="*/ 2271074 w 6386648"/>
                <a:gd name="connsiteY907" fmla="*/ 996271 h 1849426"/>
                <a:gd name="connsiteX908" fmla="*/ 2253050 w 6386648"/>
                <a:gd name="connsiteY908" fmla="*/ 978246 h 1849426"/>
                <a:gd name="connsiteX909" fmla="*/ 2271074 w 6386648"/>
                <a:gd name="connsiteY909" fmla="*/ 960222 h 1849426"/>
                <a:gd name="connsiteX910" fmla="*/ 1658245 w 6386648"/>
                <a:gd name="connsiteY910" fmla="*/ 960222 h 1849426"/>
                <a:gd name="connsiteX911" fmla="*/ 1676270 w 6386648"/>
                <a:gd name="connsiteY911" fmla="*/ 978246 h 1849426"/>
                <a:gd name="connsiteX912" fmla="*/ 1658245 w 6386648"/>
                <a:gd name="connsiteY912" fmla="*/ 996271 h 1849426"/>
                <a:gd name="connsiteX913" fmla="*/ 1640221 w 6386648"/>
                <a:gd name="connsiteY913" fmla="*/ 978246 h 1849426"/>
                <a:gd name="connsiteX914" fmla="*/ 1658245 w 6386648"/>
                <a:gd name="connsiteY914" fmla="*/ 960222 h 1849426"/>
                <a:gd name="connsiteX915" fmla="*/ 1958651 w 6386648"/>
                <a:gd name="connsiteY915" fmla="*/ 954214 h 1849426"/>
                <a:gd name="connsiteX916" fmla="*/ 1976676 w 6386648"/>
                <a:gd name="connsiteY916" fmla="*/ 972238 h 1849426"/>
                <a:gd name="connsiteX917" fmla="*/ 1958651 w 6386648"/>
                <a:gd name="connsiteY917" fmla="*/ 990263 h 1849426"/>
                <a:gd name="connsiteX918" fmla="*/ 1940627 w 6386648"/>
                <a:gd name="connsiteY918" fmla="*/ 972238 h 1849426"/>
                <a:gd name="connsiteX919" fmla="*/ 1958651 w 6386648"/>
                <a:gd name="connsiteY919" fmla="*/ 954214 h 1849426"/>
                <a:gd name="connsiteX920" fmla="*/ 2631562 w 6386648"/>
                <a:gd name="connsiteY920" fmla="*/ 948206 h 1849426"/>
                <a:gd name="connsiteX921" fmla="*/ 2649587 w 6386648"/>
                <a:gd name="connsiteY921" fmla="*/ 966231 h 1849426"/>
                <a:gd name="connsiteX922" fmla="*/ 2631562 w 6386648"/>
                <a:gd name="connsiteY922" fmla="*/ 984255 h 1849426"/>
                <a:gd name="connsiteX923" fmla="*/ 2613538 w 6386648"/>
                <a:gd name="connsiteY923" fmla="*/ 966231 h 1849426"/>
                <a:gd name="connsiteX924" fmla="*/ 2631562 w 6386648"/>
                <a:gd name="connsiteY924" fmla="*/ 948206 h 1849426"/>
                <a:gd name="connsiteX925" fmla="*/ 1838489 w 6386648"/>
                <a:gd name="connsiteY925" fmla="*/ 948206 h 1849426"/>
                <a:gd name="connsiteX926" fmla="*/ 1856514 w 6386648"/>
                <a:gd name="connsiteY926" fmla="*/ 966231 h 1849426"/>
                <a:gd name="connsiteX927" fmla="*/ 1838489 w 6386648"/>
                <a:gd name="connsiteY927" fmla="*/ 984255 h 1849426"/>
                <a:gd name="connsiteX928" fmla="*/ 1820465 w 6386648"/>
                <a:gd name="connsiteY928" fmla="*/ 966231 h 1849426"/>
                <a:gd name="connsiteX929" fmla="*/ 1838489 w 6386648"/>
                <a:gd name="connsiteY929" fmla="*/ 948206 h 1849426"/>
                <a:gd name="connsiteX930" fmla="*/ 3430644 w 6386648"/>
                <a:gd name="connsiteY930" fmla="*/ 942198 h 1849426"/>
                <a:gd name="connsiteX931" fmla="*/ 3448669 w 6386648"/>
                <a:gd name="connsiteY931" fmla="*/ 960222 h 1849426"/>
                <a:gd name="connsiteX932" fmla="*/ 3430644 w 6386648"/>
                <a:gd name="connsiteY932" fmla="*/ 978247 h 1849426"/>
                <a:gd name="connsiteX933" fmla="*/ 3412620 w 6386648"/>
                <a:gd name="connsiteY933" fmla="*/ 960222 h 1849426"/>
                <a:gd name="connsiteX934" fmla="*/ 3430644 w 6386648"/>
                <a:gd name="connsiteY934" fmla="*/ 942198 h 1849426"/>
                <a:gd name="connsiteX935" fmla="*/ 2529424 w 6386648"/>
                <a:gd name="connsiteY935" fmla="*/ 942198 h 1849426"/>
                <a:gd name="connsiteX936" fmla="*/ 2547449 w 6386648"/>
                <a:gd name="connsiteY936" fmla="*/ 960222 h 1849426"/>
                <a:gd name="connsiteX937" fmla="*/ 2529424 w 6386648"/>
                <a:gd name="connsiteY937" fmla="*/ 978247 h 1849426"/>
                <a:gd name="connsiteX938" fmla="*/ 2511400 w 6386648"/>
                <a:gd name="connsiteY938" fmla="*/ 960222 h 1849426"/>
                <a:gd name="connsiteX939" fmla="*/ 2529424 w 6386648"/>
                <a:gd name="connsiteY939" fmla="*/ 942198 h 1849426"/>
                <a:gd name="connsiteX940" fmla="*/ 889203 w 6386648"/>
                <a:gd name="connsiteY940" fmla="*/ 942198 h 1849426"/>
                <a:gd name="connsiteX941" fmla="*/ 907228 w 6386648"/>
                <a:gd name="connsiteY941" fmla="*/ 960222 h 1849426"/>
                <a:gd name="connsiteX942" fmla="*/ 889203 w 6386648"/>
                <a:gd name="connsiteY942" fmla="*/ 978247 h 1849426"/>
                <a:gd name="connsiteX943" fmla="*/ 871179 w 6386648"/>
                <a:gd name="connsiteY943" fmla="*/ 960222 h 1849426"/>
                <a:gd name="connsiteX944" fmla="*/ 889203 w 6386648"/>
                <a:gd name="connsiteY944" fmla="*/ 942198 h 1849426"/>
                <a:gd name="connsiteX945" fmla="*/ 3935328 w 6386648"/>
                <a:gd name="connsiteY945" fmla="*/ 936190 h 1849426"/>
                <a:gd name="connsiteX946" fmla="*/ 3953353 w 6386648"/>
                <a:gd name="connsiteY946" fmla="*/ 954214 h 1849426"/>
                <a:gd name="connsiteX947" fmla="*/ 3935328 w 6386648"/>
                <a:gd name="connsiteY947" fmla="*/ 972239 h 1849426"/>
                <a:gd name="connsiteX948" fmla="*/ 3917304 w 6386648"/>
                <a:gd name="connsiteY948" fmla="*/ 954214 h 1849426"/>
                <a:gd name="connsiteX949" fmla="*/ 3935328 w 6386648"/>
                <a:gd name="connsiteY949" fmla="*/ 936190 h 1849426"/>
                <a:gd name="connsiteX950" fmla="*/ 1303765 w 6386648"/>
                <a:gd name="connsiteY950" fmla="*/ 936190 h 1849426"/>
                <a:gd name="connsiteX951" fmla="*/ 1321790 w 6386648"/>
                <a:gd name="connsiteY951" fmla="*/ 954214 h 1849426"/>
                <a:gd name="connsiteX952" fmla="*/ 1303765 w 6386648"/>
                <a:gd name="connsiteY952" fmla="*/ 972239 h 1849426"/>
                <a:gd name="connsiteX953" fmla="*/ 1285741 w 6386648"/>
                <a:gd name="connsiteY953" fmla="*/ 954214 h 1849426"/>
                <a:gd name="connsiteX954" fmla="*/ 1303765 w 6386648"/>
                <a:gd name="connsiteY954" fmla="*/ 936190 h 1849426"/>
                <a:gd name="connsiteX955" fmla="*/ 600813 w 6386648"/>
                <a:gd name="connsiteY955" fmla="*/ 924173 h 1849426"/>
                <a:gd name="connsiteX956" fmla="*/ 618838 w 6386648"/>
                <a:gd name="connsiteY956" fmla="*/ 942197 h 1849426"/>
                <a:gd name="connsiteX957" fmla="*/ 600813 w 6386648"/>
                <a:gd name="connsiteY957" fmla="*/ 960222 h 1849426"/>
                <a:gd name="connsiteX958" fmla="*/ 582789 w 6386648"/>
                <a:gd name="connsiteY958" fmla="*/ 942197 h 1849426"/>
                <a:gd name="connsiteX959" fmla="*/ 600813 w 6386648"/>
                <a:gd name="connsiteY959" fmla="*/ 924173 h 1849426"/>
                <a:gd name="connsiteX960" fmla="*/ 3088181 w 6386648"/>
                <a:gd name="connsiteY960" fmla="*/ 918165 h 1849426"/>
                <a:gd name="connsiteX961" fmla="*/ 3106206 w 6386648"/>
                <a:gd name="connsiteY961" fmla="*/ 936190 h 1849426"/>
                <a:gd name="connsiteX962" fmla="*/ 3088181 w 6386648"/>
                <a:gd name="connsiteY962" fmla="*/ 954214 h 1849426"/>
                <a:gd name="connsiteX963" fmla="*/ 3070157 w 6386648"/>
                <a:gd name="connsiteY963" fmla="*/ 936190 h 1849426"/>
                <a:gd name="connsiteX964" fmla="*/ 3088181 w 6386648"/>
                <a:gd name="connsiteY964" fmla="*/ 918165 h 1849426"/>
                <a:gd name="connsiteX965" fmla="*/ 2883904 w 6386648"/>
                <a:gd name="connsiteY965" fmla="*/ 918165 h 1849426"/>
                <a:gd name="connsiteX966" fmla="*/ 2901929 w 6386648"/>
                <a:gd name="connsiteY966" fmla="*/ 936190 h 1849426"/>
                <a:gd name="connsiteX967" fmla="*/ 2883904 w 6386648"/>
                <a:gd name="connsiteY967" fmla="*/ 954214 h 1849426"/>
                <a:gd name="connsiteX968" fmla="*/ 2865880 w 6386648"/>
                <a:gd name="connsiteY968" fmla="*/ 936190 h 1849426"/>
                <a:gd name="connsiteX969" fmla="*/ 2883904 w 6386648"/>
                <a:gd name="connsiteY969" fmla="*/ 918165 h 1849426"/>
                <a:gd name="connsiteX970" fmla="*/ 2379221 w 6386648"/>
                <a:gd name="connsiteY970" fmla="*/ 918165 h 1849426"/>
                <a:gd name="connsiteX971" fmla="*/ 2397246 w 6386648"/>
                <a:gd name="connsiteY971" fmla="*/ 936190 h 1849426"/>
                <a:gd name="connsiteX972" fmla="*/ 2379221 w 6386648"/>
                <a:gd name="connsiteY972" fmla="*/ 954214 h 1849426"/>
                <a:gd name="connsiteX973" fmla="*/ 2361197 w 6386648"/>
                <a:gd name="connsiteY973" fmla="*/ 936190 h 1849426"/>
                <a:gd name="connsiteX974" fmla="*/ 2379221 w 6386648"/>
                <a:gd name="connsiteY974" fmla="*/ 918165 h 1849426"/>
                <a:gd name="connsiteX975" fmla="*/ 2120871 w 6386648"/>
                <a:gd name="connsiteY975" fmla="*/ 918165 h 1849426"/>
                <a:gd name="connsiteX976" fmla="*/ 2138896 w 6386648"/>
                <a:gd name="connsiteY976" fmla="*/ 936190 h 1849426"/>
                <a:gd name="connsiteX977" fmla="*/ 2120871 w 6386648"/>
                <a:gd name="connsiteY977" fmla="*/ 954214 h 1849426"/>
                <a:gd name="connsiteX978" fmla="*/ 2102847 w 6386648"/>
                <a:gd name="connsiteY978" fmla="*/ 936190 h 1849426"/>
                <a:gd name="connsiteX979" fmla="*/ 2120871 w 6386648"/>
                <a:gd name="connsiteY979" fmla="*/ 918165 h 1849426"/>
                <a:gd name="connsiteX980" fmla="*/ 3328506 w 6386648"/>
                <a:gd name="connsiteY980" fmla="*/ 906149 h 1849426"/>
                <a:gd name="connsiteX981" fmla="*/ 3346531 w 6386648"/>
                <a:gd name="connsiteY981" fmla="*/ 924173 h 1849426"/>
                <a:gd name="connsiteX982" fmla="*/ 3328506 w 6386648"/>
                <a:gd name="connsiteY982" fmla="*/ 942198 h 1849426"/>
                <a:gd name="connsiteX983" fmla="*/ 3310482 w 6386648"/>
                <a:gd name="connsiteY983" fmla="*/ 924173 h 1849426"/>
                <a:gd name="connsiteX984" fmla="*/ 3328506 w 6386648"/>
                <a:gd name="connsiteY984" fmla="*/ 906149 h 1849426"/>
                <a:gd name="connsiteX985" fmla="*/ 1508041 w 6386648"/>
                <a:gd name="connsiteY985" fmla="*/ 900141 h 1849426"/>
                <a:gd name="connsiteX986" fmla="*/ 1526066 w 6386648"/>
                <a:gd name="connsiteY986" fmla="*/ 918165 h 1849426"/>
                <a:gd name="connsiteX987" fmla="*/ 1508041 w 6386648"/>
                <a:gd name="connsiteY987" fmla="*/ 936190 h 1849426"/>
                <a:gd name="connsiteX988" fmla="*/ 1490017 w 6386648"/>
                <a:gd name="connsiteY988" fmla="*/ 918165 h 1849426"/>
                <a:gd name="connsiteX989" fmla="*/ 1508041 w 6386648"/>
                <a:gd name="connsiteY989" fmla="*/ 900141 h 1849426"/>
                <a:gd name="connsiteX990" fmla="*/ 2739709 w 6386648"/>
                <a:gd name="connsiteY990" fmla="*/ 894133 h 1849426"/>
                <a:gd name="connsiteX991" fmla="*/ 2757734 w 6386648"/>
                <a:gd name="connsiteY991" fmla="*/ 912157 h 1849426"/>
                <a:gd name="connsiteX992" fmla="*/ 2739709 w 6386648"/>
                <a:gd name="connsiteY992" fmla="*/ 930182 h 1849426"/>
                <a:gd name="connsiteX993" fmla="*/ 2721685 w 6386648"/>
                <a:gd name="connsiteY993" fmla="*/ 912157 h 1849426"/>
                <a:gd name="connsiteX994" fmla="*/ 2739709 w 6386648"/>
                <a:gd name="connsiteY994" fmla="*/ 894133 h 1849426"/>
                <a:gd name="connsiteX995" fmla="*/ 360487 w 6386648"/>
                <a:gd name="connsiteY995" fmla="*/ 894133 h 1849426"/>
                <a:gd name="connsiteX996" fmla="*/ 378512 w 6386648"/>
                <a:gd name="connsiteY996" fmla="*/ 912157 h 1849426"/>
                <a:gd name="connsiteX997" fmla="*/ 360487 w 6386648"/>
                <a:gd name="connsiteY997" fmla="*/ 930182 h 1849426"/>
                <a:gd name="connsiteX998" fmla="*/ 342463 w 6386648"/>
                <a:gd name="connsiteY998" fmla="*/ 912157 h 1849426"/>
                <a:gd name="connsiteX999" fmla="*/ 360487 w 6386648"/>
                <a:gd name="connsiteY999" fmla="*/ 894133 h 1849426"/>
                <a:gd name="connsiteX1000" fmla="*/ 1093480 w 6386648"/>
                <a:gd name="connsiteY1000" fmla="*/ 888125 h 1849426"/>
                <a:gd name="connsiteX1001" fmla="*/ 1111505 w 6386648"/>
                <a:gd name="connsiteY1001" fmla="*/ 906150 h 1849426"/>
                <a:gd name="connsiteX1002" fmla="*/ 1093480 w 6386648"/>
                <a:gd name="connsiteY1002" fmla="*/ 924174 h 1849426"/>
                <a:gd name="connsiteX1003" fmla="*/ 1075456 w 6386648"/>
                <a:gd name="connsiteY1003" fmla="*/ 906150 h 1849426"/>
                <a:gd name="connsiteX1004" fmla="*/ 1093480 w 6386648"/>
                <a:gd name="connsiteY1004" fmla="*/ 888125 h 1849426"/>
                <a:gd name="connsiteX1005" fmla="*/ 3707019 w 6386648"/>
                <a:gd name="connsiteY1005" fmla="*/ 882116 h 1849426"/>
                <a:gd name="connsiteX1006" fmla="*/ 3725044 w 6386648"/>
                <a:gd name="connsiteY1006" fmla="*/ 900140 h 1849426"/>
                <a:gd name="connsiteX1007" fmla="*/ 3707019 w 6386648"/>
                <a:gd name="connsiteY1007" fmla="*/ 918165 h 1849426"/>
                <a:gd name="connsiteX1008" fmla="*/ 3688994 w 6386648"/>
                <a:gd name="connsiteY1008" fmla="*/ 900140 h 1849426"/>
                <a:gd name="connsiteX1009" fmla="*/ 3707019 w 6386648"/>
                <a:gd name="connsiteY1009" fmla="*/ 882116 h 1849426"/>
                <a:gd name="connsiteX1010" fmla="*/ 1742358 w 6386648"/>
                <a:gd name="connsiteY1010" fmla="*/ 882116 h 1849426"/>
                <a:gd name="connsiteX1011" fmla="*/ 1760383 w 6386648"/>
                <a:gd name="connsiteY1011" fmla="*/ 900140 h 1849426"/>
                <a:gd name="connsiteX1012" fmla="*/ 1742358 w 6386648"/>
                <a:gd name="connsiteY1012" fmla="*/ 918165 h 1849426"/>
                <a:gd name="connsiteX1013" fmla="*/ 1724334 w 6386648"/>
                <a:gd name="connsiteY1013" fmla="*/ 900140 h 1849426"/>
                <a:gd name="connsiteX1014" fmla="*/ 1742358 w 6386648"/>
                <a:gd name="connsiteY1014" fmla="*/ 882116 h 1849426"/>
                <a:gd name="connsiteX1015" fmla="*/ 757024 w 6386648"/>
                <a:gd name="connsiteY1015" fmla="*/ 876108 h 1849426"/>
                <a:gd name="connsiteX1016" fmla="*/ 775049 w 6386648"/>
                <a:gd name="connsiteY1016" fmla="*/ 894132 h 1849426"/>
                <a:gd name="connsiteX1017" fmla="*/ 757024 w 6386648"/>
                <a:gd name="connsiteY1017" fmla="*/ 912157 h 1849426"/>
                <a:gd name="connsiteX1018" fmla="*/ 739000 w 6386648"/>
                <a:gd name="connsiteY1018" fmla="*/ 894132 h 1849426"/>
                <a:gd name="connsiteX1019" fmla="*/ 757024 w 6386648"/>
                <a:gd name="connsiteY1019" fmla="*/ 876108 h 1849426"/>
                <a:gd name="connsiteX1020" fmla="*/ 6104265 w 6386648"/>
                <a:gd name="connsiteY1020" fmla="*/ 870100 h 1849426"/>
                <a:gd name="connsiteX1021" fmla="*/ 6122290 w 6386648"/>
                <a:gd name="connsiteY1021" fmla="*/ 888124 h 1849426"/>
                <a:gd name="connsiteX1022" fmla="*/ 6104265 w 6386648"/>
                <a:gd name="connsiteY1022" fmla="*/ 906149 h 1849426"/>
                <a:gd name="connsiteX1023" fmla="*/ 6086241 w 6386648"/>
                <a:gd name="connsiteY1023" fmla="*/ 888124 h 1849426"/>
                <a:gd name="connsiteX1024" fmla="*/ 6104265 w 6386648"/>
                <a:gd name="connsiteY1024" fmla="*/ 870100 h 1849426"/>
                <a:gd name="connsiteX1025" fmla="*/ 474642 w 6386648"/>
                <a:gd name="connsiteY1025" fmla="*/ 870100 h 1849426"/>
                <a:gd name="connsiteX1026" fmla="*/ 492667 w 6386648"/>
                <a:gd name="connsiteY1026" fmla="*/ 888124 h 1849426"/>
                <a:gd name="connsiteX1027" fmla="*/ 474642 w 6386648"/>
                <a:gd name="connsiteY1027" fmla="*/ 906149 h 1849426"/>
                <a:gd name="connsiteX1028" fmla="*/ 456618 w 6386648"/>
                <a:gd name="connsiteY1028" fmla="*/ 888124 h 1849426"/>
                <a:gd name="connsiteX1029" fmla="*/ 474642 w 6386648"/>
                <a:gd name="connsiteY1029" fmla="*/ 870100 h 1849426"/>
                <a:gd name="connsiteX1030" fmla="*/ 3568832 w 6386648"/>
                <a:gd name="connsiteY1030" fmla="*/ 864092 h 1849426"/>
                <a:gd name="connsiteX1031" fmla="*/ 3586857 w 6386648"/>
                <a:gd name="connsiteY1031" fmla="*/ 882116 h 1849426"/>
                <a:gd name="connsiteX1032" fmla="*/ 3568832 w 6386648"/>
                <a:gd name="connsiteY1032" fmla="*/ 900141 h 1849426"/>
                <a:gd name="connsiteX1033" fmla="*/ 3550808 w 6386648"/>
                <a:gd name="connsiteY1033" fmla="*/ 882116 h 1849426"/>
                <a:gd name="connsiteX1034" fmla="*/ 3568832 w 6386648"/>
                <a:gd name="connsiteY1034" fmla="*/ 864092 h 1849426"/>
                <a:gd name="connsiteX1035" fmla="*/ 2980034 w 6386648"/>
                <a:gd name="connsiteY1035" fmla="*/ 864092 h 1849426"/>
                <a:gd name="connsiteX1036" fmla="*/ 2998059 w 6386648"/>
                <a:gd name="connsiteY1036" fmla="*/ 882116 h 1849426"/>
                <a:gd name="connsiteX1037" fmla="*/ 2980034 w 6386648"/>
                <a:gd name="connsiteY1037" fmla="*/ 900141 h 1849426"/>
                <a:gd name="connsiteX1038" fmla="*/ 2962010 w 6386648"/>
                <a:gd name="connsiteY1038" fmla="*/ 882116 h 1849426"/>
                <a:gd name="connsiteX1039" fmla="*/ 2980034 w 6386648"/>
                <a:gd name="connsiteY1039" fmla="*/ 864092 h 1849426"/>
                <a:gd name="connsiteX1040" fmla="*/ 2012725 w 6386648"/>
                <a:gd name="connsiteY1040" fmla="*/ 864092 h 1849426"/>
                <a:gd name="connsiteX1041" fmla="*/ 2030750 w 6386648"/>
                <a:gd name="connsiteY1041" fmla="*/ 882116 h 1849426"/>
                <a:gd name="connsiteX1042" fmla="*/ 2012725 w 6386648"/>
                <a:gd name="connsiteY1042" fmla="*/ 900141 h 1849426"/>
                <a:gd name="connsiteX1043" fmla="*/ 1994701 w 6386648"/>
                <a:gd name="connsiteY1043" fmla="*/ 882116 h 1849426"/>
                <a:gd name="connsiteX1044" fmla="*/ 2012725 w 6386648"/>
                <a:gd name="connsiteY1044" fmla="*/ 864092 h 1849426"/>
                <a:gd name="connsiteX1045" fmla="*/ 3857222 w 6386648"/>
                <a:gd name="connsiteY1045" fmla="*/ 858084 h 1849426"/>
                <a:gd name="connsiteX1046" fmla="*/ 3875247 w 6386648"/>
                <a:gd name="connsiteY1046" fmla="*/ 876109 h 1849426"/>
                <a:gd name="connsiteX1047" fmla="*/ 3857222 w 6386648"/>
                <a:gd name="connsiteY1047" fmla="*/ 894133 h 1849426"/>
                <a:gd name="connsiteX1048" fmla="*/ 3839197 w 6386648"/>
                <a:gd name="connsiteY1048" fmla="*/ 876109 h 1849426"/>
                <a:gd name="connsiteX1049" fmla="*/ 3857222 w 6386648"/>
                <a:gd name="connsiteY1049" fmla="*/ 858084 h 1849426"/>
                <a:gd name="connsiteX1050" fmla="*/ 1387878 w 6386648"/>
                <a:gd name="connsiteY1050" fmla="*/ 858084 h 1849426"/>
                <a:gd name="connsiteX1051" fmla="*/ 1405903 w 6386648"/>
                <a:gd name="connsiteY1051" fmla="*/ 876109 h 1849426"/>
                <a:gd name="connsiteX1052" fmla="*/ 1387878 w 6386648"/>
                <a:gd name="connsiteY1052" fmla="*/ 894133 h 1849426"/>
                <a:gd name="connsiteX1053" fmla="*/ 1369854 w 6386648"/>
                <a:gd name="connsiteY1053" fmla="*/ 876109 h 1849426"/>
                <a:gd name="connsiteX1054" fmla="*/ 1387878 w 6386648"/>
                <a:gd name="connsiteY1054" fmla="*/ 858084 h 1849426"/>
                <a:gd name="connsiteX1055" fmla="*/ 973317 w 6386648"/>
                <a:gd name="connsiteY1055" fmla="*/ 852076 h 1849426"/>
                <a:gd name="connsiteX1056" fmla="*/ 991342 w 6386648"/>
                <a:gd name="connsiteY1056" fmla="*/ 870100 h 1849426"/>
                <a:gd name="connsiteX1057" fmla="*/ 973317 w 6386648"/>
                <a:gd name="connsiteY1057" fmla="*/ 888125 h 1849426"/>
                <a:gd name="connsiteX1058" fmla="*/ 955293 w 6386648"/>
                <a:gd name="connsiteY1058" fmla="*/ 870100 h 1849426"/>
                <a:gd name="connsiteX1059" fmla="*/ 973317 w 6386648"/>
                <a:gd name="connsiteY1059" fmla="*/ 852076 h 1849426"/>
                <a:gd name="connsiteX1060" fmla="*/ 228308 w 6386648"/>
                <a:gd name="connsiteY1060" fmla="*/ 852076 h 1849426"/>
                <a:gd name="connsiteX1061" fmla="*/ 246333 w 6386648"/>
                <a:gd name="connsiteY1061" fmla="*/ 870100 h 1849426"/>
                <a:gd name="connsiteX1062" fmla="*/ 228308 w 6386648"/>
                <a:gd name="connsiteY1062" fmla="*/ 888125 h 1849426"/>
                <a:gd name="connsiteX1063" fmla="*/ 210284 w 6386648"/>
                <a:gd name="connsiteY1063" fmla="*/ 870100 h 1849426"/>
                <a:gd name="connsiteX1064" fmla="*/ 228308 w 6386648"/>
                <a:gd name="connsiteY1064" fmla="*/ 852076 h 1849426"/>
                <a:gd name="connsiteX1065" fmla="*/ 3196327 w 6386648"/>
                <a:gd name="connsiteY1065" fmla="*/ 846068 h 1849426"/>
                <a:gd name="connsiteX1066" fmla="*/ 3214352 w 6386648"/>
                <a:gd name="connsiteY1066" fmla="*/ 864092 h 1849426"/>
                <a:gd name="connsiteX1067" fmla="*/ 3196327 w 6386648"/>
                <a:gd name="connsiteY1067" fmla="*/ 882117 h 1849426"/>
                <a:gd name="connsiteX1068" fmla="*/ 3178302 w 6386648"/>
                <a:gd name="connsiteY1068" fmla="*/ 864092 h 1849426"/>
                <a:gd name="connsiteX1069" fmla="*/ 3196327 w 6386648"/>
                <a:gd name="connsiteY1069" fmla="*/ 846068 h 1849426"/>
                <a:gd name="connsiteX1070" fmla="*/ 6218419 w 6386648"/>
                <a:gd name="connsiteY1070" fmla="*/ 840059 h 1849426"/>
                <a:gd name="connsiteX1071" fmla="*/ 6236444 w 6386648"/>
                <a:gd name="connsiteY1071" fmla="*/ 858083 h 1849426"/>
                <a:gd name="connsiteX1072" fmla="*/ 6218419 w 6386648"/>
                <a:gd name="connsiteY1072" fmla="*/ 876108 h 1849426"/>
                <a:gd name="connsiteX1073" fmla="*/ 6200395 w 6386648"/>
                <a:gd name="connsiteY1073" fmla="*/ 858083 h 1849426"/>
                <a:gd name="connsiteX1074" fmla="*/ 6218419 w 6386648"/>
                <a:gd name="connsiteY1074" fmla="*/ 840059 h 1849426"/>
                <a:gd name="connsiteX1075" fmla="*/ 5978094 w 6386648"/>
                <a:gd name="connsiteY1075" fmla="*/ 834051 h 1849426"/>
                <a:gd name="connsiteX1076" fmla="*/ 5996119 w 6386648"/>
                <a:gd name="connsiteY1076" fmla="*/ 852075 h 1849426"/>
                <a:gd name="connsiteX1077" fmla="*/ 5978094 w 6386648"/>
                <a:gd name="connsiteY1077" fmla="*/ 870100 h 1849426"/>
                <a:gd name="connsiteX1078" fmla="*/ 5960070 w 6386648"/>
                <a:gd name="connsiteY1078" fmla="*/ 852075 h 1849426"/>
                <a:gd name="connsiteX1079" fmla="*/ 5978094 w 6386648"/>
                <a:gd name="connsiteY1079" fmla="*/ 834051 h 1849426"/>
                <a:gd name="connsiteX1080" fmla="*/ 2198977 w 6386648"/>
                <a:gd name="connsiteY1080" fmla="*/ 834051 h 1849426"/>
                <a:gd name="connsiteX1081" fmla="*/ 2217002 w 6386648"/>
                <a:gd name="connsiteY1081" fmla="*/ 852075 h 1849426"/>
                <a:gd name="connsiteX1082" fmla="*/ 2198977 w 6386648"/>
                <a:gd name="connsiteY1082" fmla="*/ 870100 h 1849426"/>
                <a:gd name="connsiteX1083" fmla="*/ 2180953 w 6386648"/>
                <a:gd name="connsiteY1083" fmla="*/ 852075 h 1849426"/>
                <a:gd name="connsiteX1084" fmla="*/ 2198977 w 6386648"/>
                <a:gd name="connsiteY1084" fmla="*/ 834051 h 1849426"/>
                <a:gd name="connsiteX1085" fmla="*/ 1622196 w 6386648"/>
                <a:gd name="connsiteY1085" fmla="*/ 834051 h 1849426"/>
                <a:gd name="connsiteX1086" fmla="*/ 1640221 w 6386648"/>
                <a:gd name="connsiteY1086" fmla="*/ 852075 h 1849426"/>
                <a:gd name="connsiteX1087" fmla="*/ 1622196 w 6386648"/>
                <a:gd name="connsiteY1087" fmla="*/ 870100 h 1849426"/>
                <a:gd name="connsiteX1088" fmla="*/ 1604172 w 6386648"/>
                <a:gd name="connsiteY1088" fmla="*/ 852075 h 1849426"/>
                <a:gd name="connsiteX1089" fmla="*/ 1622196 w 6386648"/>
                <a:gd name="connsiteY1089" fmla="*/ 834051 h 1849426"/>
                <a:gd name="connsiteX1090" fmla="*/ 1201626 w 6386648"/>
                <a:gd name="connsiteY1090" fmla="*/ 834051 h 1849426"/>
                <a:gd name="connsiteX1091" fmla="*/ 1219651 w 6386648"/>
                <a:gd name="connsiteY1091" fmla="*/ 852075 h 1849426"/>
                <a:gd name="connsiteX1092" fmla="*/ 1201626 w 6386648"/>
                <a:gd name="connsiteY1092" fmla="*/ 870100 h 1849426"/>
                <a:gd name="connsiteX1093" fmla="*/ 1183602 w 6386648"/>
                <a:gd name="connsiteY1093" fmla="*/ 852075 h 1849426"/>
                <a:gd name="connsiteX1094" fmla="*/ 1201626 w 6386648"/>
                <a:gd name="connsiteY1094" fmla="*/ 834051 h 1849426"/>
                <a:gd name="connsiteX1095" fmla="*/ 2469343 w 6386648"/>
                <a:gd name="connsiteY1095" fmla="*/ 828043 h 1849426"/>
                <a:gd name="connsiteX1096" fmla="*/ 2487368 w 6386648"/>
                <a:gd name="connsiteY1096" fmla="*/ 846068 h 1849426"/>
                <a:gd name="connsiteX1097" fmla="*/ 2469343 w 6386648"/>
                <a:gd name="connsiteY1097" fmla="*/ 864092 h 1849426"/>
                <a:gd name="connsiteX1098" fmla="*/ 2451319 w 6386648"/>
                <a:gd name="connsiteY1098" fmla="*/ 846068 h 1849426"/>
                <a:gd name="connsiteX1099" fmla="*/ 2469343 w 6386648"/>
                <a:gd name="connsiteY1099" fmla="*/ 828043 h 1849426"/>
                <a:gd name="connsiteX1100" fmla="*/ 3448669 w 6386648"/>
                <a:gd name="connsiteY1100" fmla="*/ 822035 h 1849426"/>
                <a:gd name="connsiteX1101" fmla="*/ 3466694 w 6386648"/>
                <a:gd name="connsiteY1101" fmla="*/ 840059 h 1849426"/>
                <a:gd name="connsiteX1102" fmla="*/ 3448669 w 6386648"/>
                <a:gd name="connsiteY1102" fmla="*/ 858084 h 1849426"/>
                <a:gd name="connsiteX1103" fmla="*/ 3430645 w 6386648"/>
                <a:gd name="connsiteY1103" fmla="*/ 840059 h 1849426"/>
                <a:gd name="connsiteX1104" fmla="*/ 3448669 w 6386648"/>
                <a:gd name="connsiteY1104" fmla="*/ 822035 h 1849426"/>
                <a:gd name="connsiteX1105" fmla="*/ 1874537 w 6386648"/>
                <a:gd name="connsiteY1105" fmla="*/ 822035 h 1849426"/>
                <a:gd name="connsiteX1106" fmla="*/ 1892562 w 6386648"/>
                <a:gd name="connsiteY1106" fmla="*/ 840059 h 1849426"/>
                <a:gd name="connsiteX1107" fmla="*/ 1874537 w 6386648"/>
                <a:gd name="connsiteY1107" fmla="*/ 858084 h 1849426"/>
                <a:gd name="connsiteX1108" fmla="*/ 1856513 w 6386648"/>
                <a:gd name="connsiteY1108" fmla="*/ 840059 h 1849426"/>
                <a:gd name="connsiteX1109" fmla="*/ 1874537 w 6386648"/>
                <a:gd name="connsiteY1109" fmla="*/ 822035 h 1849426"/>
                <a:gd name="connsiteX1110" fmla="*/ 2823823 w 6386648"/>
                <a:gd name="connsiteY1110" fmla="*/ 816027 h 1849426"/>
                <a:gd name="connsiteX1111" fmla="*/ 2841848 w 6386648"/>
                <a:gd name="connsiteY1111" fmla="*/ 834051 h 1849426"/>
                <a:gd name="connsiteX1112" fmla="*/ 2823823 w 6386648"/>
                <a:gd name="connsiteY1112" fmla="*/ 852076 h 1849426"/>
                <a:gd name="connsiteX1113" fmla="*/ 2805799 w 6386648"/>
                <a:gd name="connsiteY1113" fmla="*/ 834051 h 1849426"/>
                <a:gd name="connsiteX1114" fmla="*/ 2823823 w 6386648"/>
                <a:gd name="connsiteY1114" fmla="*/ 816027 h 1849426"/>
                <a:gd name="connsiteX1115" fmla="*/ 2595514 w 6386648"/>
                <a:gd name="connsiteY1115" fmla="*/ 816027 h 1849426"/>
                <a:gd name="connsiteX1116" fmla="*/ 2613539 w 6386648"/>
                <a:gd name="connsiteY1116" fmla="*/ 834051 h 1849426"/>
                <a:gd name="connsiteX1117" fmla="*/ 2595514 w 6386648"/>
                <a:gd name="connsiteY1117" fmla="*/ 852076 h 1849426"/>
                <a:gd name="connsiteX1118" fmla="*/ 2577489 w 6386648"/>
                <a:gd name="connsiteY1118" fmla="*/ 834051 h 1849426"/>
                <a:gd name="connsiteX1119" fmla="*/ 2595514 w 6386648"/>
                <a:gd name="connsiteY1119" fmla="*/ 816027 h 1849426"/>
                <a:gd name="connsiteX1120" fmla="*/ 2307124 w 6386648"/>
                <a:gd name="connsiteY1120" fmla="*/ 816027 h 1849426"/>
                <a:gd name="connsiteX1121" fmla="*/ 2325148 w 6386648"/>
                <a:gd name="connsiteY1121" fmla="*/ 834051 h 1849426"/>
                <a:gd name="connsiteX1122" fmla="*/ 2307124 w 6386648"/>
                <a:gd name="connsiteY1122" fmla="*/ 852076 h 1849426"/>
                <a:gd name="connsiteX1123" fmla="*/ 2289099 w 6386648"/>
                <a:gd name="connsiteY1123" fmla="*/ 834051 h 1849426"/>
                <a:gd name="connsiteX1124" fmla="*/ 2307124 w 6386648"/>
                <a:gd name="connsiteY1124" fmla="*/ 816027 h 1849426"/>
                <a:gd name="connsiteX1125" fmla="*/ 606821 w 6386648"/>
                <a:gd name="connsiteY1125" fmla="*/ 816027 h 1849426"/>
                <a:gd name="connsiteX1126" fmla="*/ 624846 w 6386648"/>
                <a:gd name="connsiteY1126" fmla="*/ 834051 h 1849426"/>
                <a:gd name="connsiteX1127" fmla="*/ 606821 w 6386648"/>
                <a:gd name="connsiteY1127" fmla="*/ 852076 h 1849426"/>
                <a:gd name="connsiteX1128" fmla="*/ 588797 w 6386648"/>
                <a:gd name="connsiteY1128" fmla="*/ 834051 h 1849426"/>
                <a:gd name="connsiteX1129" fmla="*/ 606821 w 6386648"/>
                <a:gd name="connsiteY1129" fmla="*/ 816027 h 1849426"/>
                <a:gd name="connsiteX1130" fmla="*/ 3292457 w 6386648"/>
                <a:gd name="connsiteY1130" fmla="*/ 791994 h 1849426"/>
                <a:gd name="connsiteX1131" fmla="*/ 3310482 w 6386648"/>
                <a:gd name="connsiteY1131" fmla="*/ 810018 h 1849426"/>
                <a:gd name="connsiteX1132" fmla="*/ 3292457 w 6386648"/>
                <a:gd name="connsiteY1132" fmla="*/ 828043 h 1849426"/>
                <a:gd name="connsiteX1133" fmla="*/ 3274433 w 6386648"/>
                <a:gd name="connsiteY1133" fmla="*/ 810018 h 1849426"/>
                <a:gd name="connsiteX1134" fmla="*/ 3292457 w 6386648"/>
                <a:gd name="connsiteY1134" fmla="*/ 791994 h 1849426"/>
                <a:gd name="connsiteX1135" fmla="*/ 859163 w 6386648"/>
                <a:gd name="connsiteY1135" fmla="*/ 791994 h 1849426"/>
                <a:gd name="connsiteX1136" fmla="*/ 877188 w 6386648"/>
                <a:gd name="connsiteY1136" fmla="*/ 810018 h 1849426"/>
                <a:gd name="connsiteX1137" fmla="*/ 859163 w 6386648"/>
                <a:gd name="connsiteY1137" fmla="*/ 828043 h 1849426"/>
                <a:gd name="connsiteX1138" fmla="*/ 841139 w 6386648"/>
                <a:gd name="connsiteY1138" fmla="*/ 810018 h 1849426"/>
                <a:gd name="connsiteX1139" fmla="*/ 859163 w 6386648"/>
                <a:gd name="connsiteY1139" fmla="*/ 791994 h 1849426"/>
                <a:gd name="connsiteX1140" fmla="*/ 1297756 w 6386648"/>
                <a:gd name="connsiteY1140" fmla="*/ 785986 h 1849426"/>
                <a:gd name="connsiteX1141" fmla="*/ 1315781 w 6386648"/>
                <a:gd name="connsiteY1141" fmla="*/ 804010 h 1849426"/>
                <a:gd name="connsiteX1142" fmla="*/ 1297756 w 6386648"/>
                <a:gd name="connsiteY1142" fmla="*/ 822035 h 1849426"/>
                <a:gd name="connsiteX1143" fmla="*/ 1279732 w 6386648"/>
                <a:gd name="connsiteY1143" fmla="*/ 804010 h 1849426"/>
                <a:gd name="connsiteX1144" fmla="*/ 1297756 w 6386648"/>
                <a:gd name="connsiteY1144" fmla="*/ 785986 h 1849426"/>
                <a:gd name="connsiteX1145" fmla="*/ 324438 w 6386648"/>
                <a:gd name="connsiteY1145" fmla="*/ 785986 h 1849426"/>
                <a:gd name="connsiteX1146" fmla="*/ 342463 w 6386648"/>
                <a:gd name="connsiteY1146" fmla="*/ 804010 h 1849426"/>
                <a:gd name="connsiteX1147" fmla="*/ 324438 w 6386648"/>
                <a:gd name="connsiteY1147" fmla="*/ 822035 h 1849426"/>
                <a:gd name="connsiteX1148" fmla="*/ 306414 w 6386648"/>
                <a:gd name="connsiteY1148" fmla="*/ 804010 h 1849426"/>
                <a:gd name="connsiteX1149" fmla="*/ 324438 w 6386648"/>
                <a:gd name="connsiteY1149" fmla="*/ 785986 h 1849426"/>
                <a:gd name="connsiteX1150" fmla="*/ 3755084 w 6386648"/>
                <a:gd name="connsiteY1150" fmla="*/ 779978 h 1849426"/>
                <a:gd name="connsiteX1151" fmla="*/ 3773109 w 6386648"/>
                <a:gd name="connsiteY1151" fmla="*/ 798002 h 1849426"/>
                <a:gd name="connsiteX1152" fmla="*/ 3755084 w 6386648"/>
                <a:gd name="connsiteY1152" fmla="*/ 816027 h 1849426"/>
                <a:gd name="connsiteX1153" fmla="*/ 3737060 w 6386648"/>
                <a:gd name="connsiteY1153" fmla="*/ 798002 h 1849426"/>
                <a:gd name="connsiteX1154" fmla="*/ 3755084 w 6386648"/>
                <a:gd name="connsiteY1154" fmla="*/ 779978 h 1849426"/>
                <a:gd name="connsiteX1155" fmla="*/ 1496026 w 6386648"/>
                <a:gd name="connsiteY1155" fmla="*/ 779978 h 1849426"/>
                <a:gd name="connsiteX1156" fmla="*/ 1514050 w 6386648"/>
                <a:gd name="connsiteY1156" fmla="*/ 798002 h 1849426"/>
                <a:gd name="connsiteX1157" fmla="*/ 1496026 w 6386648"/>
                <a:gd name="connsiteY1157" fmla="*/ 816027 h 1849426"/>
                <a:gd name="connsiteX1158" fmla="*/ 1478001 w 6386648"/>
                <a:gd name="connsiteY1158" fmla="*/ 798002 h 1849426"/>
                <a:gd name="connsiteX1159" fmla="*/ 1496026 w 6386648"/>
                <a:gd name="connsiteY1159" fmla="*/ 779978 h 1849426"/>
                <a:gd name="connsiteX1160" fmla="*/ 3622905 w 6386648"/>
                <a:gd name="connsiteY1160" fmla="*/ 767962 h 1849426"/>
                <a:gd name="connsiteX1161" fmla="*/ 3640930 w 6386648"/>
                <a:gd name="connsiteY1161" fmla="*/ 785987 h 1849426"/>
                <a:gd name="connsiteX1162" fmla="*/ 3622905 w 6386648"/>
                <a:gd name="connsiteY1162" fmla="*/ 804011 h 1849426"/>
                <a:gd name="connsiteX1163" fmla="*/ 3604881 w 6386648"/>
                <a:gd name="connsiteY1163" fmla="*/ 785987 h 1849426"/>
                <a:gd name="connsiteX1164" fmla="*/ 3622905 w 6386648"/>
                <a:gd name="connsiteY1164" fmla="*/ 767962 h 1849426"/>
                <a:gd name="connsiteX1165" fmla="*/ 3112213 w 6386648"/>
                <a:gd name="connsiteY1165" fmla="*/ 767962 h 1849426"/>
                <a:gd name="connsiteX1166" fmla="*/ 3130238 w 6386648"/>
                <a:gd name="connsiteY1166" fmla="*/ 785987 h 1849426"/>
                <a:gd name="connsiteX1167" fmla="*/ 3112213 w 6386648"/>
                <a:gd name="connsiteY1167" fmla="*/ 804011 h 1849426"/>
                <a:gd name="connsiteX1168" fmla="*/ 3094189 w 6386648"/>
                <a:gd name="connsiteY1168" fmla="*/ 785987 h 1849426"/>
                <a:gd name="connsiteX1169" fmla="*/ 3112213 w 6386648"/>
                <a:gd name="connsiteY1169" fmla="*/ 767962 h 1849426"/>
                <a:gd name="connsiteX1170" fmla="*/ 714968 w 6386648"/>
                <a:gd name="connsiteY1170" fmla="*/ 767962 h 1849426"/>
                <a:gd name="connsiteX1171" fmla="*/ 732992 w 6386648"/>
                <a:gd name="connsiteY1171" fmla="*/ 785987 h 1849426"/>
                <a:gd name="connsiteX1172" fmla="*/ 714968 w 6386648"/>
                <a:gd name="connsiteY1172" fmla="*/ 804011 h 1849426"/>
                <a:gd name="connsiteX1173" fmla="*/ 696943 w 6386648"/>
                <a:gd name="connsiteY1173" fmla="*/ 785987 h 1849426"/>
                <a:gd name="connsiteX1174" fmla="*/ 714968 w 6386648"/>
                <a:gd name="connsiteY1174" fmla="*/ 767962 h 1849426"/>
                <a:gd name="connsiteX1175" fmla="*/ 2986042 w 6386648"/>
                <a:gd name="connsiteY1175" fmla="*/ 761954 h 1849426"/>
                <a:gd name="connsiteX1176" fmla="*/ 3004067 w 6386648"/>
                <a:gd name="connsiteY1176" fmla="*/ 779978 h 1849426"/>
                <a:gd name="connsiteX1177" fmla="*/ 2986042 w 6386648"/>
                <a:gd name="connsiteY1177" fmla="*/ 798003 h 1849426"/>
                <a:gd name="connsiteX1178" fmla="*/ 2968017 w 6386648"/>
                <a:gd name="connsiteY1178" fmla="*/ 779978 h 1849426"/>
                <a:gd name="connsiteX1179" fmla="*/ 2986042 w 6386648"/>
                <a:gd name="connsiteY1179" fmla="*/ 761954 h 1849426"/>
                <a:gd name="connsiteX1180" fmla="*/ 1736351 w 6386648"/>
                <a:gd name="connsiteY1180" fmla="*/ 761954 h 1849426"/>
                <a:gd name="connsiteX1181" fmla="*/ 1754375 w 6386648"/>
                <a:gd name="connsiteY1181" fmla="*/ 779978 h 1849426"/>
                <a:gd name="connsiteX1182" fmla="*/ 1736351 w 6386648"/>
                <a:gd name="connsiteY1182" fmla="*/ 798003 h 1849426"/>
                <a:gd name="connsiteX1183" fmla="*/ 1718326 w 6386648"/>
                <a:gd name="connsiteY1183" fmla="*/ 779978 h 1849426"/>
                <a:gd name="connsiteX1184" fmla="*/ 1736351 w 6386648"/>
                <a:gd name="connsiteY1184" fmla="*/ 761954 h 1849426"/>
                <a:gd name="connsiteX1185" fmla="*/ 5863939 w 6386648"/>
                <a:gd name="connsiteY1185" fmla="*/ 755946 h 1849426"/>
                <a:gd name="connsiteX1186" fmla="*/ 5881964 w 6386648"/>
                <a:gd name="connsiteY1186" fmla="*/ 773970 h 1849426"/>
                <a:gd name="connsiteX1187" fmla="*/ 5863939 w 6386648"/>
                <a:gd name="connsiteY1187" fmla="*/ 791995 h 1849426"/>
                <a:gd name="connsiteX1188" fmla="*/ 5845915 w 6386648"/>
                <a:gd name="connsiteY1188" fmla="*/ 773970 h 1849426"/>
                <a:gd name="connsiteX1189" fmla="*/ 5863939 w 6386648"/>
                <a:gd name="connsiteY1189" fmla="*/ 755946 h 1849426"/>
                <a:gd name="connsiteX1190" fmla="*/ 2685636 w 6386648"/>
                <a:gd name="connsiteY1190" fmla="*/ 755946 h 1849426"/>
                <a:gd name="connsiteX1191" fmla="*/ 2703661 w 6386648"/>
                <a:gd name="connsiteY1191" fmla="*/ 773970 h 1849426"/>
                <a:gd name="connsiteX1192" fmla="*/ 2685636 w 6386648"/>
                <a:gd name="connsiteY1192" fmla="*/ 791995 h 1849426"/>
                <a:gd name="connsiteX1193" fmla="*/ 2667611 w 6386648"/>
                <a:gd name="connsiteY1193" fmla="*/ 773970 h 1849426"/>
                <a:gd name="connsiteX1194" fmla="*/ 2685636 w 6386648"/>
                <a:gd name="connsiteY1194" fmla="*/ 755946 h 1849426"/>
                <a:gd name="connsiteX1195" fmla="*/ 1069447 w 6386648"/>
                <a:gd name="connsiteY1195" fmla="*/ 755946 h 1849426"/>
                <a:gd name="connsiteX1196" fmla="*/ 1087472 w 6386648"/>
                <a:gd name="connsiteY1196" fmla="*/ 773970 h 1849426"/>
                <a:gd name="connsiteX1197" fmla="*/ 1069447 w 6386648"/>
                <a:gd name="connsiteY1197" fmla="*/ 791995 h 1849426"/>
                <a:gd name="connsiteX1198" fmla="*/ 1051423 w 6386648"/>
                <a:gd name="connsiteY1198" fmla="*/ 773970 h 1849426"/>
                <a:gd name="connsiteX1199" fmla="*/ 1069447 w 6386648"/>
                <a:gd name="connsiteY1199" fmla="*/ 755946 h 1849426"/>
                <a:gd name="connsiteX1200" fmla="*/ 3935328 w 6386648"/>
                <a:gd name="connsiteY1200" fmla="*/ 749937 h 1849426"/>
                <a:gd name="connsiteX1201" fmla="*/ 3953353 w 6386648"/>
                <a:gd name="connsiteY1201" fmla="*/ 767961 h 1849426"/>
                <a:gd name="connsiteX1202" fmla="*/ 3935328 w 6386648"/>
                <a:gd name="connsiteY1202" fmla="*/ 785986 h 1849426"/>
                <a:gd name="connsiteX1203" fmla="*/ 3917304 w 6386648"/>
                <a:gd name="connsiteY1203" fmla="*/ 767961 h 1849426"/>
                <a:gd name="connsiteX1204" fmla="*/ 3935328 w 6386648"/>
                <a:gd name="connsiteY1204" fmla="*/ 749937 h 1849426"/>
                <a:gd name="connsiteX1205" fmla="*/ 2114863 w 6386648"/>
                <a:gd name="connsiteY1205" fmla="*/ 749937 h 1849426"/>
                <a:gd name="connsiteX1206" fmla="*/ 2132888 w 6386648"/>
                <a:gd name="connsiteY1206" fmla="*/ 767961 h 1849426"/>
                <a:gd name="connsiteX1207" fmla="*/ 2114863 w 6386648"/>
                <a:gd name="connsiteY1207" fmla="*/ 785986 h 1849426"/>
                <a:gd name="connsiteX1208" fmla="*/ 2096839 w 6386648"/>
                <a:gd name="connsiteY1208" fmla="*/ 767961 h 1849426"/>
                <a:gd name="connsiteX1209" fmla="*/ 2114863 w 6386648"/>
                <a:gd name="connsiteY1209" fmla="*/ 749937 h 1849426"/>
                <a:gd name="connsiteX1210" fmla="*/ 2006717 w 6386648"/>
                <a:gd name="connsiteY1210" fmla="*/ 749937 h 1849426"/>
                <a:gd name="connsiteX1211" fmla="*/ 2024741 w 6386648"/>
                <a:gd name="connsiteY1211" fmla="*/ 767961 h 1849426"/>
                <a:gd name="connsiteX1212" fmla="*/ 2006717 w 6386648"/>
                <a:gd name="connsiteY1212" fmla="*/ 785986 h 1849426"/>
                <a:gd name="connsiteX1213" fmla="*/ 1988692 w 6386648"/>
                <a:gd name="connsiteY1213" fmla="*/ 767961 h 1849426"/>
                <a:gd name="connsiteX1214" fmla="*/ 2006717 w 6386648"/>
                <a:gd name="connsiteY1214" fmla="*/ 749937 h 1849426"/>
                <a:gd name="connsiteX1215" fmla="*/ 6116281 w 6386648"/>
                <a:gd name="connsiteY1215" fmla="*/ 737921 h 1849426"/>
                <a:gd name="connsiteX1216" fmla="*/ 6134306 w 6386648"/>
                <a:gd name="connsiteY1216" fmla="*/ 755946 h 1849426"/>
                <a:gd name="connsiteX1217" fmla="*/ 6116281 w 6386648"/>
                <a:gd name="connsiteY1217" fmla="*/ 773970 h 1849426"/>
                <a:gd name="connsiteX1218" fmla="*/ 6098257 w 6386648"/>
                <a:gd name="connsiteY1218" fmla="*/ 755946 h 1849426"/>
                <a:gd name="connsiteX1219" fmla="*/ 6116281 w 6386648"/>
                <a:gd name="connsiteY1219" fmla="*/ 737921 h 1849426"/>
                <a:gd name="connsiteX1220" fmla="*/ 2397246 w 6386648"/>
                <a:gd name="connsiteY1220" fmla="*/ 737921 h 1849426"/>
                <a:gd name="connsiteX1221" fmla="*/ 2415270 w 6386648"/>
                <a:gd name="connsiteY1221" fmla="*/ 755946 h 1849426"/>
                <a:gd name="connsiteX1222" fmla="*/ 2397246 w 6386648"/>
                <a:gd name="connsiteY1222" fmla="*/ 773970 h 1849426"/>
                <a:gd name="connsiteX1223" fmla="*/ 2379221 w 6386648"/>
                <a:gd name="connsiteY1223" fmla="*/ 755946 h 1849426"/>
                <a:gd name="connsiteX1224" fmla="*/ 2397246 w 6386648"/>
                <a:gd name="connsiteY1224" fmla="*/ 737921 h 1849426"/>
                <a:gd name="connsiteX1225" fmla="*/ 522707 w 6386648"/>
                <a:gd name="connsiteY1225" fmla="*/ 731913 h 1849426"/>
                <a:gd name="connsiteX1226" fmla="*/ 540732 w 6386648"/>
                <a:gd name="connsiteY1226" fmla="*/ 749937 h 1849426"/>
                <a:gd name="connsiteX1227" fmla="*/ 522707 w 6386648"/>
                <a:gd name="connsiteY1227" fmla="*/ 767962 h 1849426"/>
                <a:gd name="connsiteX1228" fmla="*/ 504683 w 6386648"/>
                <a:gd name="connsiteY1228" fmla="*/ 749937 h 1849426"/>
                <a:gd name="connsiteX1229" fmla="*/ 522707 w 6386648"/>
                <a:gd name="connsiteY1229" fmla="*/ 731913 h 1849426"/>
                <a:gd name="connsiteX1230" fmla="*/ 414561 w 6386648"/>
                <a:gd name="connsiteY1230" fmla="*/ 731913 h 1849426"/>
                <a:gd name="connsiteX1231" fmla="*/ 432586 w 6386648"/>
                <a:gd name="connsiteY1231" fmla="*/ 749937 h 1849426"/>
                <a:gd name="connsiteX1232" fmla="*/ 414561 w 6386648"/>
                <a:gd name="connsiteY1232" fmla="*/ 767962 h 1849426"/>
                <a:gd name="connsiteX1233" fmla="*/ 396537 w 6386648"/>
                <a:gd name="connsiteY1233" fmla="*/ 749937 h 1849426"/>
                <a:gd name="connsiteX1234" fmla="*/ 414561 w 6386648"/>
                <a:gd name="connsiteY1234" fmla="*/ 731913 h 1849426"/>
                <a:gd name="connsiteX1235" fmla="*/ 6236444 w 6386648"/>
                <a:gd name="connsiteY1235" fmla="*/ 725905 h 1849426"/>
                <a:gd name="connsiteX1236" fmla="*/ 6254469 w 6386648"/>
                <a:gd name="connsiteY1236" fmla="*/ 743929 h 1849426"/>
                <a:gd name="connsiteX1237" fmla="*/ 6236444 w 6386648"/>
                <a:gd name="connsiteY1237" fmla="*/ 761954 h 1849426"/>
                <a:gd name="connsiteX1238" fmla="*/ 6218420 w 6386648"/>
                <a:gd name="connsiteY1238" fmla="*/ 743929 h 1849426"/>
                <a:gd name="connsiteX1239" fmla="*/ 6236444 w 6386648"/>
                <a:gd name="connsiteY1239" fmla="*/ 725905 h 1849426"/>
                <a:gd name="connsiteX1240" fmla="*/ 961301 w 6386648"/>
                <a:gd name="connsiteY1240" fmla="*/ 725905 h 1849426"/>
                <a:gd name="connsiteX1241" fmla="*/ 979326 w 6386648"/>
                <a:gd name="connsiteY1241" fmla="*/ 743929 h 1849426"/>
                <a:gd name="connsiteX1242" fmla="*/ 961301 w 6386648"/>
                <a:gd name="connsiteY1242" fmla="*/ 761954 h 1849426"/>
                <a:gd name="connsiteX1243" fmla="*/ 943277 w 6386648"/>
                <a:gd name="connsiteY1243" fmla="*/ 743929 h 1849426"/>
                <a:gd name="connsiteX1244" fmla="*/ 961301 w 6386648"/>
                <a:gd name="connsiteY1244" fmla="*/ 725905 h 1849426"/>
                <a:gd name="connsiteX1245" fmla="*/ 3400604 w 6386648"/>
                <a:gd name="connsiteY1245" fmla="*/ 719897 h 1849426"/>
                <a:gd name="connsiteX1246" fmla="*/ 3418629 w 6386648"/>
                <a:gd name="connsiteY1246" fmla="*/ 737921 h 1849426"/>
                <a:gd name="connsiteX1247" fmla="*/ 3400604 w 6386648"/>
                <a:gd name="connsiteY1247" fmla="*/ 755946 h 1849426"/>
                <a:gd name="connsiteX1248" fmla="*/ 3382580 w 6386648"/>
                <a:gd name="connsiteY1248" fmla="*/ 737921 h 1849426"/>
                <a:gd name="connsiteX1249" fmla="*/ 3400604 w 6386648"/>
                <a:gd name="connsiteY1249" fmla="*/ 719897 h 1849426"/>
                <a:gd name="connsiteX1250" fmla="*/ 6002126 w 6386648"/>
                <a:gd name="connsiteY1250" fmla="*/ 713889 h 1849426"/>
                <a:gd name="connsiteX1251" fmla="*/ 6020151 w 6386648"/>
                <a:gd name="connsiteY1251" fmla="*/ 731913 h 1849426"/>
                <a:gd name="connsiteX1252" fmla="*/ 6002126 w 6386648"/>
                <a:gd name="connsiteY1252" fmla="*/ 749938 h 1849426"/>
                <a:gd name="connsiteX1253" fmla="*/ 5984102 w 6386648"/>
                <a:gd name="connsiteY1253" fmla="*/ 731913 h 1849426"/>
                <a:gd name="connsiteX1254" fmla="*/ 6002126 w 6386648"/>
                <a:gd name="connsiteY1254" fmla="*/ 713889 h 1849426"/>
                <a:gd name="connsiteX1255" fmla="*/ 1610179 w 6386648"/>
                <a:gd name="connsiteY1255" fmla="*/ 713889 h 1849426"/>
                <a:gd name="connsiteX1256" fmla="*/ 1628204 w 6386648"/>
                <a:gd name="connsiteY1256" fmla="*/ 731913 h 1849426"/>
                <a:gd name="connsiteX1257" fmla="*/ 1610179 w 6386648"/>
                <a:gd name="connsiteY1257" fmla="*/ 749938 h 1849426"/>
                <a:gd name="connsiteX1258" fmla="*/ 1592155 w 6386648"/>
                <a:gd name="connsiteY1258" fmla="*/ 731913 h 1849426"/>
                <a:gd name="connsiteX1259" fmla="*/ 1610179 w 6386648"/>
                <a:gd name="connsiteY1259" fmla="*/ 713889 h 1849426"/>
                <a:gd name="connsiteX1260" fmla="*/ 3520767 w 6386648"/>
                <a:gd name="connsiteY1260" fmla="*/ 707881 h 1849426"/>
                <a:gd name="connsiteX1261" fmla="*/ 3538792 w 6386648"/>
                <a:gd name="connsiteY1261" fmla="*/ 725906 h 1849426"/>
                <a:gd name="connsiteX1262" fmla="*/ 3520767 w 6386648"/>
                <a:gd name="connsiteY1262" fmla="*/ 743930 h 1849426"/>
                <a:gd name="connsiteX1263" fmla="*/ 3502743 w 6386648"/>
                <a:gd name="connsiteY1263" fmla="*/ 725906 h 1849426"/>
                <a:gd name="connsiteX1264" fmla="*/ 3520767 w 6386648"/>
                <a:gd name="connsiteY1264" fmla="*/ 707881 h 1849426"/>
                <a:gd name="connsiteX1265" fmla="*/ 2895920 w 6386648"/>
                <a:gd name="connsiteY1265" fmla="*/ 701872 h 1849426"/>
                <a:gd name="connsiteX1266" fmla="*/ 2913945 w 6386648"/>
                <a:gd name="connsiteY1266" fmla="*/ 719896 h 1849426"/>
                <a:gd name="connsiteX1267" fmla="*/ 2895920 w 6386648"/>
                <a:gd name="connsiteY1267" fmla="*/ 737921 h 1849426"/>
                <a:gd name="connsiteX1268" fmla="*/ 2877895 w 6386648"/>
                <a:gd name="connsiteY1268" fmla="*/ 719896 h 1849426"/>
                <a:gd name="connsiteX1269" fmla="*/ 2895920 w 6386648"/>
                <a:gd name="connsiteY1269" fmla="*/ 701872 h 1849426"/>
                <a:gd name="connsiteX1270" fmla="*/ 2547449 w 6386648"/>
                <a:gd name="connsiteY1270" fmla="*/ 701872 h 1849426"/>
                <a:gd name="connsiteX1271" fmla="*/ 2565474 w 6386648"/>
                <a:gd name="connsiteY1271" fmla="*/ 719896 h 1849426"/>
                <a:gd name="connsiteX1272" fmla="*/ 2547449 w 6386648"/>
                <a:gd name="connsiteY1272" fmla="*/ 737921 h 1849426"/>
                <a:gd name="connsiteX1273" fmla="*/ 2529425 w 6386648"/>
                <a:gd name="connsiteY1273" fmla="*/ 719896 h 1849426"/>
                <a:gd name="connsiteX1274" fmla="*/ 2547449 w 6386648"/>
                <a:gd name="connsiteY1274" fmla="*/ 701872 h 1849426"/>
                <a:gd name="connsiteX1275" fmla="*/ 2241034 w 6386648"/>
                <a:gd name="connsiteY1275" fmla="*/ 701872 h 1849426"/>
                <a:gd name="connsiteX1276" fmla="*/ 2259059 w 6386648"/>
                <a:gd name="connsiteY1276" fmla="*/ 719896 h 1849426"/>
                <a:gd name="connsiteX1277" fmla="*/ 2241034 w 6386648"/>
                <a:gd name="connsiteY1277" fmla="*/ 737921 h 1849426"/>
                <a:gd name="connsiteX1278" fmla="*/ 2223010 w 6386648"/>
                <a:gd name="connsiteY1278" fmla="*/ 719896 h 1849426"/>
                <a:gd name="connsiteX1279" fmla="*/ 2241034 w 6386648"/>
                <a:gd name="connsiteY1279" fmla="*/ 701872 h 1849426"/>
                <a:gd name="connsiteX1280" fmla="*/ 1411911 w 6386648"/>
                <a:gd name="connsiteY1280" fmla="*/ 701872 h 1849426"/>
                <a:gd name="connsiteX1281" fmla="*/ 1429936 w 6386648"/>
                <a:gd name="connsiteY1281" fmla="*/ 719896 h 1849426"/>
                <a:gd name="connsiteX1282" fmla="*/ 1411911 w 6386648"/>
                <a:gd name="connsiteY1282" fmla="*/ 737921 h 1849426"/>
                <a:gd name="connsiteX1283" fmla="*/ 1393887 w 6386648"/>
                <a:gd name="connsiteY1283" fmla="*/ 719896 h 1849426"/>
                <a:gd name="connsiteX1284" fmla="*/ 1411911 w 6386648"/>
                <a:gd name="connsiteY1284" fmla="*/ 701872 h 1849426"/>
                <a:gd name="connsiteX1285" fmla="*/ 1165578 w 6386648"/>
                <a:gd name="connsiteY1285" fmla="*/ 701872 h 1849426"/>
                <a:gd name="connsiteX1286" fmla="*/ 1183602 w 6386648"/>
                <a:gd name="connsiteY1286" fmla="*/ 719896 h 1849426"/>
                <a:gd name="connsiteX1287" fmla="*/ 1165578 w 6386648"/>
                <a:gd name="connsiteY1287" fmla="*/ 737921 h 1849426"/>
                <a:gd name="connsiteX1288" fmla="*/ 1147553 w 6386648"/>
                <a:gd name="connsiteY1288" fmla="*/ 719896 h 1849426"/>
                <a:gd name="connsiteX1289" fmla="*/ 1165578 w 6386648"/>
                <a:gd name="connsiteY1289" fmla="*/ 701872 h 1849426"/>
                <a:gd name="connsiteX1290" fmla="*/ 168227 w 6386648"/>
                <a:gd name="connsiteY1290" fmla="*/ 701872 h 1849426"/>
                <a:gd name="connsiteX1291" fmla="*/ 186252 w 6386648"/>
                <a:gd name="connsiteY1291" fmla="*/ 719896 h 1849426"/>
                <a:gd name="connsiteX1292" fmla="*/ 168227 w 6386648"/>
                <a:gd name="connsiteY1292" fmla="*/ 737921 h 1849426"/>
                <a:gd name="connsiteX1293" fmla="*/ 150203 w 6386648"/>
                <a:gd name="connsiteY1293" fmla="*/ 719896 h 1849426"/>
                <a:gd name="connsiteX1294" fmla="*/ 168227 w 6386648"/>
                <a:gd name="connsiteY1294" fmla="*/ 701872 h 1849426"/>
                <a:gd name="connsiteX1295" fmla="*/ 1910586 w 6386648"/>
                <a:gd name="connsiteY1295" fmla="*/ 695864 h 1849426"/>
                <a:gd name="connsiteX1296" fmla="*/ 1928611 w 6386648"/>
                <a:gd name="connsiteY1296" fmla="*/ 713888 h 1849426"/>
                <a:gd name="connsiteX1297" fmla="*/ 1910586 w 6386648"/>
                <a:gd name="connsiteY1297" fmla="*/ 731913 h 1849426"/>
                <a:gd name="connsiteX1298" fmla="*/ 1892562 w 6386648"/>
                <a:gd name="connsiteY1298" fmla="*/ 713888 h 1849426"/>
                <a:gd name="connsiteX1299" fmla="*/ 1910586 w 6386648"/>
                <a:gd name="connsiteY1299" fmla="*/ 695864 h 1849426"/>
                <a:gd name="connsiteX1300" fmla="*/ 3833190 w 6386648"/>
                <a:gd name="connsiteY1300" fmla="*/ 689856 h 1849426"/>
                <a:gd name="connsiteX1301" fmla="*/ 3851215 w 6386648"/>
                <a:gd name="connsiteY1301" fmla="*/ 707880 h 1849426"/>
                <a:gd name="connsiteX1302" fmla="*/ 3833190 w 6386648"/>
                <a:gd name="connsiteY1302" fmla="*/ 725905 h 1849426"/>
                <a:gd name="connsiteX1303" fmla="*/ 3815166 w 6386648"/>
                <a:gd name="connsiteY1303" fmla="*/ 707880 h 1849426"/>
                <a:gd name="connsiteX1304" fmla="*/ 3833190 w 6386648"/>
                <a:gd name="connsiteY1304" fmla="*/ 689856 h 1849426"/>
                <a:gd name="connsiteX1305" fmla="*/ 2787774 w 6386648"/>
                <a:gd name="connsiteY1305" fmla="*/ 689856 h 1849426"/>
                <a:gd name="connsiteX1306" fmla="*/ 2805799 w 6386648"/>
                <a:gd name="connsiteY1306" fmla="*/ 707880 h 1849426"/>
                <a:gd name="connsiteX1307" fmla="*/ 2787774 w 6386648"/>
                <a:gd name="connsiteY1307" fmla="*/ 725905 h 1849426"/>
                <a:gd name="connsiteX1308" fmla="*/ 2769750 w 6386648"/>
                <a:gd name="connsiteY1308" fmla="*/ 707880 h 1849426"/>
                <a:gd name="connsiteX1309" fmla="*/ 2787774 w 6386648"/>
                <a:gd name="connsiteY1309" fmla="*/ 689856 h 1849426"/>
                <a:gd name="connsiteX1310" fmla="*/ 5737768 w 6386648"/>
                <a:gd name="connsiteY1310" fmla="*/ 677840 h 1849426"/>
                <a:gd name="connsiteX1311" fmla="*/ 5755793 w 6386648"/>
                <a:gd name="connsiteY1311" fmla="*/ 695865 h 1849426"/>
                <a:gd name="connsiteX1312" fmla="*/ 5737768 w 6386648"/>
                <a:gd name="connsiteY1312" fmla="*/ 713889 h 1849426"/>
                <a:gd name="connsiteX1313" fmla="*/ 5719744 w 6386648"/>
                <a:gd name="connsiteY1313" fmla="*/ 695865 h 1849426"/>
                <a:gd name="connsiteX1314" fmla="*/ 5737768 w 6386648"/>
                <a:gd name="connsiteY1314" fmla="*/ 677840 h 1849426"/>
                <a:gd name="connsiteX1315" fmla="*/ 781057 w 6386648"/>
                <a:gd name="connsiteY1315" fmla="*/ 677840 h 1849426"/>
                <a:gd name="connsiteX1316" fmla="*/ 799082 w 6386648"/>
                <a:gd name="connsiteY1316" fmla="*/ 695865 h 1849426"/>
                <a:gd name="connsiteX1317" fmla="*/ 781057 w 6386648"/>
                <a:gd name="connsiteY1317" fmla="*/ 713889 h 1849426"/>
                <a:gd name="connsiteX1318" fmla="*/ 763033 w 6386648"/>
                <a:gd name="connsiteY1318" fmla="*/ 695865 h 1849426"/>
                <a:gd name="connsiteX1319" fmla="*/ 781057 w 6386648"/>
                <a:gd name="connsiteY1319" fmla="*/ 677840 h 1849426"/>
                <a:gd name="connsiteX1320" fmla="*/ 276373 w 6386648"/>
                <a:gd name="connsiteY1320" fmla="*/ 677840 h 1849426"/>
                <a:gd name="connsiteX1321" fmla="*/ 294398 w 6386648"/>
                <a:gd name="connsiteY1321" fmla="*/ 695865 h 1849426"/>
                <a:gd name="connsiteX1322" fmla="*/ 276373 w 6386648"/>
                <a:gd name="connsiteY1322" fmla="*/ 713889 h 1849426"/>
                <a:gd name="connsiteX1323" fmla="*/ 258349 w 6386648"/>
                <a:gd name="connsiteY1323" fmla="*/ 695865 h 1849426"/>
                <a:gd name="connsiteX1324" fmla="*/ 276373 w 6386648"/>
                <a:gd name="connsiteY1324" fmla="*/ 677840 h 1849426"/>
                <a:gd name="connsiteX1325" fmla="*/ 1784415 w 6386648"/>
                <a:gd name="connsiteY1325" fmla="*/ 671832 h 1849426"/>
                <a:gd name="connsiteX1326" fmla="*/ 1802440 w 6386648"/>
                <a:gd name="connsiteY1326" fmla="*/ 689856 h 1849426"/>
                <a:gd name="connsiteX1327" fmla="*/ 1784415 w 6386648"/>
                <a:gd name="connsiteY1327" fmla="*/ 707881 h 1849426"/>
                <a:gd name="connsiteX1328" fmla="*/ 1766391 w 6386648"/>
                <a:gd name="connsiteY1328" fmla="*/ 689856 h 1849426"/>
                <a:gd name="connsiteX1329" fmla="*/ 1784415 w 6386648"/>
                <a:gd name="connsiteY1329" fmla="*/ 671832 h 1849426"/>
                <a:gd name="connsiteX1330" fmla="*/ 3713027 w 6386648"/>
                <a:gd name="connsiteY1330" fmla="*/ 665824 h 1849426"/>
                <a:gd name="connsiteX1331" fmla="*/ 3731052 w 6386648"/>
                <a:gd name="connsiteY1331" fmla="*/ 683848 h 1849426"/>
                <a:gd name="connsiteX1332" fmla="*/ 3713027 w 6386648"/>
                <a:gd name="connsiteY1332" fmla="*/ 701873 h 1849426"/>
                <a:gd name="connsiteX1333" fmla="*/ 3695003 w 6386648"/>
                <a:gd name="connsiteY1333" fmla="*/ 683848 h 1849426"/>
                <a:gd name="connsiteX1334" fmla="*/ 3713027 w 6386648"/>
                <a:gd name="connsiteY1334" fmla="*/ 665824 h 1849426"/>
                <a:gd name="connsiteX1335" fmla="*/ 3274433 w 6386648"/>
                <a:gd name="connsiteY1335" fmla="*/ 665824 h 1849426"/>
                <a:gd name="connsiteX1336" fmla="*/ 3292458 w 6386648"/>
                <a:gd name="connsiteY1336" fmla="*/ 683848 h 1849426"/>
                <a:gd name="connsiteX1337" fmla="*/ 3274433 w 6386648"/>
                <a:gd name="connsiteY1337" fmla="*/ 701873 h 1849426"/>
                <a:gd name="connsiteX1338" fmla="*/ 3256409 w 6386648"/>
                <a:gd name="connsiteY1338" fmla="*/ 683848 h 1849426"/>
                <a:gd name="connsiteX1339" fmla="*/ 3274433 w 6386648"/>
                <a:gd name="connsiteY1339" fmla="*/ 665824 h 1849426"/>
                <a:gd name="connsiteX1340" fmla="*/ 1291748 w 6386648"/>
                <a:gd name="connsiteY1340" fmla="*/ 665824 h 1849426"/>
                <a:gd name="connsiteX1341" fmla="*/ 1309773 w 6386648"/>
                <a:gd name="connsiteY1341" fmla="*/ 683848 h 1849426"/>
                <a:gd name="connsiteX1342" fmla="*/ 1291748 w 6386648"/>
                <a:gd name="connsiteY1342" fmla="*/ 701873 h 1849426"/>
                <a:gd name="connsiteX1343" fmla="*/ 1273724 w 6386648"/>
                <a:gd name="connsiteY1343" fmla="*/ 683848 h 1849426"/>
                <a:gd name="connsiteX1344" fmla="*/ 1291748 w 6386648"/>
                <a:gd name="connsiteY1344" fmla="*/ 665824 h 1849426"/>
                <a:gd name="connsiteX1345" fmla="*/ 636862 w 6386648"/>
                <a:gd name="connsiteY1345" fmla="*/ 665824 h 1849426"/>
                <a:gd name="connsiteX1346" fmla="*/ 654887 w 6386648"/>
                <a:gd name="connsiteY1346" fmla="*/ 683848 h 1849426"/>
                <a:gd name="connsiteX1347" fmla="*/ 636862 w 6386648"/>
                <a:gd name="connsiteY1347" fmla="*/ 701873 h 1849426"/>
                <a:gd name="connsiteX1348" fmla="*/ 618838 w 6386648"/>
                <a:gd name="connsiteY1348" fmla="*/ 683848 h 1849426"/>
                <a:gd name="connsiteX1349" fmla="*/ 636862 w 6386648"/>
                <a:gd name="connsiteY1349" fmla="*/ 665824 h 1849426"/>
                <a:gd name="connsiteX1350" fmla="*/ 3172295 w 6386648"/>
                <a:gd name="connsiteY1350" fmla="*/ 659815 h 1849426"/>
                <a:gd name="connsiteX1351" fmla="*/ 3190320 w 6386648"/>
                <a:gd name="connsiteY1351" fmla="*/ 677839 h 1849426"/>
                <a:gd name="connsiteX1352" fmla="*/ 3172295 w 6386648"/>
                <a:gd name="connsiteY1352" fmla="*/ 695864 h 1849426"/>
                <a:gd name="connsiteX1353" fmla="*/ 3154271 w 6386648"/>
                <a:gd name="connsiteY1353" fmla="*/ 677839 h 1849426"/>
                <a:gd name="connsiteX1354" fmla="*/ 3172295 w 6386648"/>
                <a:gd name="connsiteY1354" fmla="*/ 659815 h 1849426"/>
                <a:gd name="connsiteX1355" fmla="*/ 6314550 w 6386648"/>
                <a:gd name="connsiteY1355" fmla="*/ 647799 h 1849426"/>
                <a:gd name="connsiteX1356" fmla="*/ 6332574 w 6386648"/>
                <a:gd name="connsiteY1356" fmla="*/ 665824 h 1849426"/>
                <a:gd name="connsiteX1357" fmla="*/ 6314550 w 6386648"/>
                <a:gd name="connsiteY1357" fmla="*/ 683848 h 1849426"/>
                <a:gd name="connsiteX1358" fmla="*/ 6296525 w 6386648"/>
                <a:gd name="connsiteY1358" fmla="*/ 665824 h 1849426"/>
                <a:gd name="connsiteX1359" fmla="*/ 6314550 w 6386648"/>
                <a:gd name="connsiteY1359" fmla="*/ 647799 h 1849426"/>
                <a:gd name="connsiteX1360" fmla="*/ 3040116 w 6386648"/>
                <a:gd name="connsiteY1360" fmla="*/ 647799 h 1849426"/>
                <a:gd name="connsiteX1361" fmla="*/ 3058141 w 6386648"/>
                <a:gd name="connsiteY1361" fmla="*/ 665824 h 1849426"/>
                <a:gd name="connsiteX1362" fmla="*/ 3040116 w 6386648"/>
                <a:gd name="connsiteY1362" fmla="*/ 683848 h 1849426"/>
                <a:gd name="connsiteX1363" fmla="*/ 3022092 w 6386648"/>
                <a:gd name="connsiteY1363" fmla="*/ 665824 h 1849426"/>
                <a:gd name="connsiteX1364" fmla="*/ 3040116 w 6386648"/>
                <a:gd name="connsiteY1364" fmla="*/ 647799 h 1849426"/>
                <a:gd name="connsiteX1365" fmla="*/ 4025450 w 6386648"/>
                <a:gd name="connsiteY1365" fmla="*/ 641791 h 1849426"/>
                <a:gd name="connsiteX1366" fmla="*/ 4043475 w 6386648"/>
                <a:gd name="connsiteY1366" fmla="*/ 659815 h 1849426"/>
                <a:gd name="connsiteX1367" fmla="*/ 4025450 w 6386648"/>
                <a:gd name="connsiteY1367" fmla="*/ 677840 h 1849426"/>
                <a:gd name="connsiteX1368" fmla="*/ 4007426 w 6386648"/>
                <a:gd name="connsiteY1368" fmla="*/ 659815 h 1849426"/>
                <a:gd name="connsiteX1369" fmla="*/ 4025450 w 6386648"/>
                <a:gd name="connsiteY1369" fmla="*/ 641791 h 1849426"/>
                <a:gd name="connsiteX1370" fmla="*/ 5948053 w 6386648"/>
                <a:gd name="connsiteY1370" fmla="*/ 629775 h 1849426"/>
                <a:gd name="connsiteX1371" fmla="*/ 5966078 w 6386648"/>
                <a:gd name="connsiteY1371" fmla="*/ 647799 h 1849426"/>
                <a:gd name="connsiteX1372" fmla="*/ 5948053 w 6386648"/>
                <a:gd name="connsiteY1372" fmla="*/ 665824 h 1849426"/>
                <a:gd name="connsiteX1373" fmla="*/ 5930029 w 6386648"/>
                <a:gd name="connsiteY1373" fmla="*/ 647799 h 1849426"/>
                <a:gd name="connsiteX1374" fmla="*/ 5948053 w 6386648"/>
                <a:gd name="connsiteY1374" fmla="*/ 629775 h 1849426"/>
                <a:gd name="connsiteX1375" fmla="*/ 2673619 w 6386648"/>
                <a:gd name="connsiteY1375" fmla="*/ 629775 h 1849426"/>
                <a:gd name="connsiteX1376" fmla="*/ 2691644 w 6386648"/>
                <a:gd name="connsiteY1376" fmla="*/ 647799 h 1849426"/>
                <a:gd name="connsiteX1377" fmla="*/ 2673619 w 6386648"/>
                <a:gd name="connsiteY1377" fmla="*/ 665824 h 1849426"/>
                <a:gd name="connsiteX1378" fmla="*/ 2655595 w 6386648"/>
                <a:gd name="connsiteY1378" fmla="*/ 647799 h 1849426"/>
                <a:gd name="connsiteX1379" fmla="*/ 2673619 w 6386648"/>
                <a:gd name="connsiteY1379" fmla="*/ 629775 h 1849426"/>
                <a:gd name="connsiteX1380" fmla="*/ 2331156 w 6386648"/>
                <a:gd name="connsiteY1380" fmla="*/ 629775 h 1849426"/>
                <a:gd name="connsiteX1381" fmla="*/ 2349181 w 6386648"/>
                <a:gd name="connsiteY1381" fmla="*/ 647799 h 1849426"/>
                <a:gd name="connsiteX1382" fmla="*/ 2331156 w 6386648"/>
                <a:gd name="connsiteY1382" fmla="*/ 665824 h 1849426"/>
                <a:gd name="connsiteX1383" fmla="*/ 2313132 w 6386648"/>
                <a:gd name="connsiteY1383" fmla="*/ 647799 h 1849426"/>
                <a:gd name="connsiteX1384" fmla="*/ 2331156 w 6386648"/>
                <a:gd name="connsiteY1384" fmla="*/ 629775 h 1849426"/>
                <a:gd name="connsiteX1385" fmla="*/ 1514049 w 6386648"/>
                <a:gd name="connsiteY1385" fmla="*/ 629775 h 1849426"/>
                <a:gd name="connsiteX1386" fmla="*/ 1532074 w 6386648"/>
                <a:gd name="connsiteY1386" fmla="*/ 647799 h 1849426"/>
                <a:gd name="connsiteX1387" fmla="*/ 1514049 w 6386648"/>
                <a:gd name="connsiteY1387" fmla="*/ 665824 h 1849426"/>
                <a:gd name="connsiteX1388" fmla="*/ 1496025 w 6386648"/>
                <a:gd name="connsiteY1388" fmla="*/ 647799 h 1849426"/>
                <a:gd name="connsiteX1389" fmla="*/ 1514049 w 6386648"/>
                <a:gd name="connsiteY1389" fmla="*/ 629775 h 1849426"/>
                <a:gd name="connsiteX1390" fmla="*/ 901219 w 6386648"/>
                <a:gd name="connsiteY1390" fmla="*/ 629775 h 1849426"/>
                <a:gd name="connsiteX1391" fmla="*/ 919244 w 6386648"/>
                <a:gd name="connsiteY1391" fmla="*/ 647799 h 1849426"/>
                <a:gd name="connsiteX1392" fmla="*/ 901219 w 6386648"/>
                <a:gd name="connsiteY1392" fmla="*/ 665824 h 1849426"/>
                <a:gd name="connsiteX1393" fmla="*/ 883195 w 6386648"/>
                <a:gd name="connsiteY1393" fmla="*/ 647799 h 1849426"/>
                <a:gd name="connsiteX1394" fmla="*/ 901219 w 6386648"/>
                <a:gd name="connsiteY1394" fmla="*/ 629775 h 1849426"/>
                <a:gd name="connsiteX1395" fmla="*/ 5827891 w 6386648"/>
                <a:gd name="connsiteY1395" fmla="*/ 617758 h 1849426"/>
                <a:gd name="connsiteX1396" fmla="*/ 5845916 w 6386648"/>
                <a:gd name="connsiteY1396" fmla="*/ 635783 h 1849426"/>
                <a:gd name="connsiteX1397" fmla="*/ 5827891 w 6386648"/>
                <a:gd name="connsiteY1397" fmla="*/ 653807 h 1849426"/>
                <a:gd name="connsiteX1398" fmla="*/ 5809867 w 6386648"/>
                <a:gd name="connsiteY1398" fmla="*/ 635783 h 1849426"/>
                <a:gd name="connsiteX1399" fmla="*/ 5827891 w 6386648"/>
                <a:gd name="connsiteY1399" fmla="*/ 617758 h 1849426"/>
                <a:gd name="connsiteX1400" fmla="*/ 2469343 w 6386648"/>
                <a:gd name="connsiteY1400" fmla="*/ 617758 h 1849426"/>
                <a:gd name="connsiteX1401" fmla="*/ 2487368 w 6386648"/>
                <a:gd name="connsiteY1401" fmla="*/ 635783 h 1849426"/>
                <a:gd name="connsiteX1402" fmla="*/ 2469343 w 6386648"/>
                <a:gd name="connsiteY1402" fmla="*/ 653807 h 1849426"/>
                <a:gd name="connsiteX1403" fmla="*/ 2451319 w 6386648"/>
                <a:gd name="connsiteY1403" fmla="*/ 635783 h 1849426"/>
                <a:gd name="connsiteX1404" fmla="*/ 2469343 w 6386648"/>
                <a:gd name="connsiteY1404" fmla="*/ 617758 h 1849426"/>
                <a:gd name="connsiteX1405" fmla="*/ 6110273 w 6386648"/>
                <a:gd name="connsiteY1405" fmla="*/ 611750 h 1849426"/>
                <a:gd name="connsiteX1406" fmla="*/ 6128298 w 6386648"/>
                <a:gd name="connsiteY1406" fmla="*/ 629774 h 1849426"/>
                <a:gd name="connsiteX1407" fmla="*/ 6110273 w 6386648"/>
                <a:gd name="connsiteY1407" fmla="*/ 647799 h 1849426"/>
                <a:gd name="connsiteX1408" fmla="*/ 6092248 w 6386648"/>
                <a:gd name="connsiteY1408" fmla="*/ 629774 h 1849426"/>
                <a:gd name="connsiteX1409" fmla="*/ 6110273 w 6386648"/>
                <a:gd name="connsiteY1409" fmla="*/ 611750 h 1849426"/>
                <a:gd name="connsiteX1410" fmla="*/ 3598872 w 6386648"/>
                <a:gd name="connsiteY1410" fmla="*/ 611750 h 1849426"/>
                <a:gd name="connsiteX1411" fmla="*/ 3616897 w 6386648"/>
                <a:gd name="connsiteY1411" fmla="*/ 629774 h 1849426"/>
                <a:gd name="connsiteX1412" fmla="*/ 3598872 w 6386648"/>
                <a:gd name="connsiteY1412" fmla="*/ 647799 h 1849426"/>
                <a:gd name="connsiteX1413" fmla="*/ 3580848 w 6386648"/>
                <a:gd name="connsiteY1413" fmla="*/ 629774 h 1849426"/>
                <a:gd name="connsiteX1414" fmla="*/ 3598872 w 6386648"/>
                <a:gd name="connsiteY1414" fmla="*/ 611750 h 1849426"/>
                <a:gd name="connsiteX1415" fmla="*/ 2150912 w 6386648"/>
                <a:gd name="connsiteY1415" fmla="*/ 611750 h 1849426"/>
                <a:gd name="connsiteX1416" fmla="*/ 2168937 w 6386648"/>
                <a:gd name="connsiteY1416" fmla="*/ 629774 h 1849426"/>
                <a:gd name="connsiteX1417" fmla="*/ 2150912 w 6386648"/>
                <a:gd name="connsiteY1417" fmla="*/ 647799 h 1849426"/>
                <a:gd name="connsiteX1418" fmla="*/ 2132888 w 6386648"/>
                <a:gd name="connsiteY1418" fmla="*/ 629774 h 1849426"/>
                <a:gd name="connsiteX1419" fmla="*/ 2150912 w 6386648"/>
                <a:gd name="connsiteY1419" fmla="*/ 611750 h 1849426"/>
                <a:gd name="connsiteX1420" fmla="*/ 2036758 w 6386648"/>
                <a:gd name="connsiteY1420" fmla="*/ 605742 h 1849426"/>
                <a:gd name="connsiteX1421" fmla="*/ 2054782 w 6386648"/>
                <a:gd name="connsiteY1421" fmla="*/ 623766 h 1849426"/>
                <a:gd name="connsiteX1422" fmla="*/ 2036758 w 6386648"/>
                <a:gd name="connsiteY1422" fmla="*/ 641791 h 1849426"/>
                <a:gd name="connsiteX1423" fmla="*/ 2018733 w 6386648"/>
                <a:gd name="connsiteY1423" fmla="*/ 623766 h 1849426"/>
                <a:gd name="connsiteX1424" fmla="*/ 2036758 w 6386648"/>
                <a:gd name="connsiteY1424" fmla="*/ 605742 h 1849426"/>
                <a:gd name="connsiteX1425" fmla="*/ 1652236 w 6386648"/>
                <a:gd name="connsiteY1425" fmla="*/ 605742 h 1849426"/>
                <a:gd name="connsiteX1426" fmla="*/ 1670261 w 6386648"/>
                <a:gd name="connsiteY1426" fmla="*/ 623766 h 1849426"/>
                <a:gd name="connsiteX1427" fmla="*/ 1652236 w 6386648"/>
                <a:gd name="connsiteY1427" fmla="*/ 641791 h 1849426"/>
                <a:gd name="connsiteX1428" fmla="*/ 1634212 w 6386648"/>
                <a:gd name="connsiteY1428" fmla="*/ 623766 h 1849426"/>
                <a:gd name="connsiteX1429" fmla="*/ 1652236 w 6386648"/>
                <a:gd name="connsiteY1429" fmla="*/ 605742 h 1849426"/>
                <a:gd name="connsiteX1430" fmla="*/ 1027390 w 6386648"/>
                <a:gd name="connsiteY1430" fmla="*/ 605742 h 1849426"/>
                <a:gd name="connsiteX1431" fmla="*/ 1045415 w 6386648"/>
                <a:gd name="connsiteY1431" fmla="*/ 623766 h 1849426"/>
                <a:gd name="connsiteX1432" fmla="*/ 1027390 w 6386648"/>
                <a:gd name="connsiteY1432" fmla="*/ 641791 h 1849426"/>
                <a:gd name="connsiteX1433" fmla="*/ 1009366 w 6386648"/>
                <a:gd name="connsiteY1433" fmla="*/ 623766 h 1849426"/>
                <a:gd name="connsiteX1434" fmla="*/ 1027390 w 6386648"/>
                <a:gd name="connsiteY1434" fmla="*/ 605742 h 1849426"/>
                <a:gd name="connsiteX1435" fmla="*/ 504684 w 6386648"/>
                <a:gd name="connsiteY1435" fmla="*/ 605742 h 1849426"/>
                <a:gd name="connsiteX1436" fmla="*/ 522708 w 6386648"/>
                <a:gd name="connsiteY1436" fmla="*/ 623766 h 1849426"/>
                <a:gd name="connsiteX1437" fmla="*/ 504684 w 6386648"/>
                <a:gd name="connsiteY1437" fmla="*/ 641791 h 1849426"/>
                <a:gd name="connsiteX1438" fmla="*/ 486659 w 6386648"/>
                <a:gd name="connsiteY1438" fmla="*/ 623766 h 1849426"/>
                <a:gd name="connsiteX1439" fmla="*/ 504684 w 6386648"/>
                <a:gd name="connsiteY1439" fmla="*/ 605742 h 1849426"/>
                <a:gd name="connsiteX1440" fmla="*/ 378512 w 6386648"/>
                <a:gd name="connsiteY1440" fmla="*/ 605742 h 1849426"/>
                <a:gd name="connsiteX1441" fmla="*/ 396537 w 6386648"/>
                <a:gd name="connsiteY1441" fmla="*/ 623766 h 1849426"/>
                <a:gd name="connsiteX1442" fmla="*/ 378512 w 6386648"/>
                <a:gd name="connsiteY1442" fmla="*/ 641791 h 1849426"/>
                <a:gd name="connsiteX1443" fmla="*/ 360488 w 6386648"/>
                <a:gd name="connsiteY1443" fmla="*/ 623766 h 1849426"/>
                <a:gd name="connsiteX1444" fmla="*/ 378512 w 6386648"/>
                <a:gd name="connsiteY1444" fmla="*/ 605742 h 1849426"/>
                <a:gd name="connsiteX1445" fmla="*/ 3358547 w 6386648"/>
                <a:gd name="connsiteY1445" fmla="*/ 599734 h 1849426"/>
                <a:gd name="connsiteX1446" fmla="*/ 3376572 w 6386648"/>
                <a:gd name="connsiteY1446" fmla="*/ 617758 h 1849426"/>
                <a:gd name="connsiteX1447" fmla="*/ 3358547 w 6386648"/>
                <a:gd name="connsiteY1447" fmla="*/ 635783 h 1849426"/>
                <a:gd name="connsiteX1448" fmla="*/ 3340523 w 6386648"/>
                <a:gd name="connsiteY1448" fmla="*/ 617758 h 1849426"/>
                <a:gd name="connsiteX1449" fmla="*/ 3358547 w 6386648"/>
                <a:gd name="connsiteY1449" fmla="*/ 599734 h 1849426"/>
                <a:gd name="connsiteX1450" fmla="*/ 3887263 w 6386648"/>
                <a:gd name="connsiteY1450" fmla="*/ 593726 h 1849426"/>
                <a:gd name="connsiteX1451" fmla="*/ 3905288 w 6386648"/>
                <a:gd name="connsiteY1451" fmla="*/ 611750 h 1849426"/>
                <a:gd name="connsiteX1452" fmla="*/ 3887263 w 6386648"/>
                <a:gd name="connsiteY1452" fmla="*/ 629775 h 1849426"/>
                <a:gd name="connsiteX1453" fmla="*/ 3869238 w 6386648"/>
                <a:gd name="connsiteY1453" fmla="*/ 611750 h 1849426"/>
                <a:gd name="connsiteX1454" fmla="*/ 3887263 w 6386648"/>
                <a:gd name="connsiteY1454" fmla="*/ 593726 h 1849426"/>
                <a:gd name="connsiteX1455" fmla="*/ 5623614 w 6386648"/>
                <a:gd name="connsiteY1455" fmla="*/ 587718 h 1849426"/>
                <a:gd name="connsiteX1456" fmla="*/ 5641639 w 6386648"/>
                <a:gd name="connsiteY1456" fmla="*/ 605743 h 1849426"/>
                <a:gd name="connsiteX1457" fmla="*/ 5623614 w 6386648"/>
                <a:gd name="connsiteY1457" fmla="*/ 623767 h 1849426"/>
                <a:gd name="connsiteX1458" fmla="*/ 5605590 w 6386648"/>
                <a:gd name="connsiteY1458" fmla="*/ 605743 h 1849426"/>
                <a:gd name="connsiteX1459" fmla="*/ 5623614 w 6386648"/>
                <a:gd name="connsiteY1459" fmla="*/ 587718 h 1849426"/>
                <a:gd name="connsiteX1460" fmla="*/ 4157629 w 6386648"/>
                <a:gd name="connsiteY1460" fmla="*/ 587718 h 1849426"/>
                <a:gd name="connsiteX1461" fmla="*/ 4175654 w 6386648"/>
                <a:gd name="connsiteY1461" fmla="*/ 605743 h 1849426"/>
                <a:gd name="connsiteX1462" fmla="*/ 4157629 w 6386648"/>
                <a:gd name="connsiteY1462" fmla="*/ 623767 h 1849426"/>
                <a:gd name="connsiteX1463" fmla="*/ 4139604 w 6386648"/>
                <a:gd name="connsiteY1463" fmla="*/ 605743 h 1849426"/>
                <a:gd name="connsiteX1464" fmla="*/ 4157629 w 6386648"/>
                <a:gd name="connsiteY1464" fmla="*/ 587718 h 1849426"/>
                <a:gd name="connsiteX1465" fmla="*/ 1886555 w 6386648"/>
                <a:gd name="connsiteY1465" fmla="*/ 587718 h 1849426"/>
                <a:gd name="connsiteX1466" fmla="*/ 1904579 w 6386648"/>
                <a:gd name="connsiteY1466" fmla="*/ 605743 h 1849426"/>
                <a:gd name="connsiteX1467" fmla="*/ 1886555 w 6386648"/>
                <a:gd name="connsiteY1467" fmla="*/ 623767 h 1849426"/>
                <a:gd name="connsiteX1468" fmla="*/ 1868530 w 6386648"/>
                <a:gd name="connsiteY1468" fmla="*/ 605743 h 1849426"/>
                <a:gd name="connsiteX1469" fmla="*/ 1886555 w 6386648"/>
                <a:gd name="connsiteY1469" fmla="*/ 587718 h 1849426"/>
                <a:gd name="connsiteX1470" fmla="*/ 1147553 w 6386648"/>
                <a:gd name="connsiteY1470" fmla="*/ 587718 h 1849426"/>
                <a:gd name="connsiteX1471" fmla="*/ 1165578 w 6386648"/>
                <a:gd name="connsiteY1471" fmla="*/ 605743 h 1849426"/>
                <a:gd name="connsiteX1472" fmla="*/ 1147553 w 6386648"/>
                <a:gd name="connsiteY1472" fmla="*/ 623767 h 1849426"/>
                <a:gd name="connsiteX1473" fmla="*/ 1129529 w 6386648"/>
                <a:gd name="connsiteY1473" fmla="*/ 605743 h 1849426"/>
                <a:gd name="connsiteX1474" fmla="*/ 1147553 w 6386648"/>
                <a:gd name="connsiteY1474" fmla="*/ 587718 h 1849426"/>
                <a:gd name="connsiteX1475" fmla="*/ 6212411 w 6386648"/>
                <a:gd name="connsiteY1475" fmla="*/ 581710 h 1849426"/>
                <a:gd name="connsiteX1476" fmla="*/ 6230436 w 6386648"/>
                <a:gd name="connsiteY1476" fmla="*/ 599734 h 1849426"/>
                <a:gd name="connsiteX1477" fmla="*/ 6212411 w 6386648"/>
                <a:gd name="connsiteY1477" fmla="*/ 617759 h 1849426"/>
                <a:gd name="connsiteX1478" fmla="*/ 6194387 w 6386648"/>
                <a:gd name="connsiteY1478" fmla="*/ 599734 h 1849426"/>
                <a:gd name="connsiteX1479" fmla="*/ 6212411 w 6386648"/>
                <a:gd name="connsiteY1479" fmla="*/ 581710 h 1849426"/>
                <a:gd name="connsiteX1480" fmla="*/ 3478710 w 6386648"/>
                <a:gd name="connsiteY1480" fmla="*/ 581710 h 1849426"/>
                <a:gd name="connsiteX1481" fmla="*/ 3496735 w 6386648"/>
                <a:gd name="connsiteY1481" fmla="*/ 599734 h 1849426"/>
                <a:gd name="connsiteX1482" fmla="*/ 3478710 w 6386648"/>
                <a:gd name="connsiteY1482" fmla="*/ 617759 h 1849426"/>
                <a:gd name="connsiteX1483" fmla="*/ 3460686 w 6386648"/>
                <a:gd name="connsiteY1483" fmla="*/ 599734 h 1849426"/>
                <a:gd name="connsiteX1484" fmla="*/ 3478710 w 6386648"/>
                <a:gd name="connsiteY1484" fmla="*/ 581710 h 1849426"/>
                <a:gd name="connsiteX1485" fmla="*/ 2883904 w 6386648"/>
                <a:gd name="connsiteY1485" fmla="*/ 581710 h 1849426"/>
                <a:gd name="connsiteX1486" fmla="*/ 2901929 w 6386648"/>
                <a:gd name="connsiteY1486" fmla="*/ 599734 h 1849426"/>
                <a:gd name="connsiteX1487" fmla="*/ 2883904 w 6386648"/>
                <a:gd name="connsiteY1487" fmla="*/ 617759 h 1849426"/>
                <a:gd name="connsiteX1488" fmla="*/ 2865880 w 6386648"/>
                <a:gd name="connsiteY1488" fmla="*/ 599734 h 1849426"/>
                <a:gd name="connsiteX1489" fmla="*/ 2883904 w 6386648"/>
                <a:gd name="connsiteY1489" fmla="*/ 581710 h 1849426"/>
                <a:gd name="connsiteX1490" fmla="*/ 4488076 w 6386648"/>
                <a:gd name="connsiteY1490" fmla="*/ 575702 h 1849426"/>
                <a:gd name="connsiteX1491" fmla="*/ 4506101 w 6386648"/>
                <a:gd name="connsiteY1491" fmla="*/ 593726 h 1849426"/>
                <a:gd name="connsiteX1492" fmla="*/ 4488076 w 6386648"/>
                <a:gd name="connsiteY1492" fmla="*/ 611751 h 1849426"/>
                <a:gd name="connsiteX1493" fmla="*/ 4470051 w 6386648"/>
                <a:gd name="connsiteY1493" fmla="*/ 593726 h 1849426"/>
                <a:gd name="connsiteX1494" fmla="*/ 4488076 w 6386648"/>
                <a:gd name="connsiteY1494" fmla="*/ 575702 h 1849426"/>
                <a:gd name="connsiteX1495" fmla="*/ 4313840 w 6386648"/>
                <a:gd name="connsiteY1495" fmla="*/ 575702 h 1849426"/>
                <a:gd name="connsiteX1496" fmla="*/ 4331865 w 6386648"/>
                <a:gd name="connsiteY1496" fmla="*/ 593726 h 1849426"/>
                <a:gd name="connsiteX1497" fmla="*/ 4313840 w 6386648"/>
                <a:gd name="connsiteY1497" fmla="*/ 611751 h 1849426"/>
                <a:gd name="connsiteX1498" fmla="*/ 4295816 w 6386648"/>
                <a:gd name="connsiteY1498" fmla="*/ 593726 h 1849426"/>
                <a:gd name="connsiteX1499" fmla="*/ 4313840 w 6386648"/>
                <a:gd name="connsiteY1499" fmla="*/ 575702 h 1849426"/>
                <a:gd name="connsiteX1500" fmla="*/ 1381870 w 6386648"/>
                <a:gd name="connsiteY1500" fmla="*/ 569693 h 1849426"/>
                <a:gd name="connsiteX1501" fmla="*/ 1399895 w 6386648"/>
                <a:gd name="connsiteY1501" fmla="*/ 587717 h 1849426"/>
                <a:gd name="connsiteX1502" fmla="*/ 1381870 w 6386648"/>
                <a:gd name="connsiteY1502" fmla="*/ 605742 h 1849426"/>
                <a:gd name="connsiteX1503" fmla="*/ 1363846 w 6386648"/>
                <a:gd name="connsiteY1503" fmla="*/ 587717 h 1849426"/>
                <a:gd name="connsiteX1504" fmla="*/ 1381870 w 6386648"/>
                <a:gd name="connsiteY1504" fmla="*/ 569693 h 1849426"/>
                <a:gd name="connsiteX1505" fmla="*/ 126170 w 6386648"/>
                <a:gd name="connsiteY1505" fmla="*/ 563685 h 1849426"/>
                <a:gd name="connsiteX1506" fmla="*/ 144195 w 6386648"/>
                <a:gd name="connsiteY1506" fmla="*/ 581709 h 1849426"/>
                <a:gd name="connsiteX1507" fmla="*/ 126170 w 6386648"/>
                <a:gd name="connsiteY1507" fmla="*/ 599734 h 1849426"/>
                <a:gd name="connsiteX1508" fmla="*/ 108146 w 6386648"/>
                <a:gd name="connsiteY1508" fmla="*/ 581709 h 1849426"/>
                <a:gd name="connsiteX1509" fmla="*/ 126170 w 6386648"/>
                <a:gd name="connsiteY1509" fmla="*/ 563685 h 1849426"/>
                <a:gd name="connsiteX1510" fmla="*/ 2583497 w 6386648"/>
                <a:gd name="connsiteY1510" fmla="*/ 557677 h 1849426"/>
                <a:gd name="connsiteX1511" fmla="*/ 2601522 w 6386648"/>
                <a:gd name="connsiteY1511" fmla="*/ 575702 h 1849426"/>
                <a:gd name="connsiteX1512" fmla="*/ 2583497 w 6386648"/>
                <a:gd name="connsiteY1512" fmla="*/ 593726 h 1849426"/>
                <a:gd name="connsiteX1513" fmla="*/ 2565473 w 6386648"/>
                <a:gd name="connsiteY1513" fmla="*/ 575702 h 1849426"/>
                <a:gd name="connsiteX1514" fmla="*/ 2583497 w 6386648"/>
                <a:gd name="connsiteY1514" fmla="*/ 557677 h 1849426"/>
                <a:gd name="connsiteX1515" fmla="*/ 246333 w 6386648"/>
                <a:gd name="connsiteY1515" fmla="*/ 557677 h 1849426"/>
                <a:gd name="connsiteX1516" fmla="*/ 264358 w 6386648"/>
                <a:gd name="connsiteY1516" fmla="*/ 575702 h 1849426"/>
                <a:gd name="connsiteX1517" fmla="*/ 246333 w 6386648"/>
                <a:gd name="connsiteY1517" fmla="*/ 593726 h 1849426"/>
                <a:gd name="connsiteX1518" fmla="*/ 228309 w 6386648"/>
                <a:gd name="connsiteY1518" fmla="*/ 575702 h 1849426"/>
                <a:gd name="connsiteX1519" fmla="*/ 246333 w 6386648"/>
                <a:gd name="connsiteY1519" fmla="*/ 557677 h 1849426"/>
                <a:gd name="connsiteX1520" fmla="*/ 1736351 w 6386648"/>
                <a:gd name="connsiteY1520" fmla="*/ 551669 h 1849426"/>
                <a:gd name="connsiteX1521" fmla="*/ 1754375 w 6386648"/>
                <a:gd name="connsiteY1521" fmla="*/ 569693 h 1849426"/>
                <a:gd name="connsiteX1522" fmla="*/ 1736351 w 6386648"/>
                <a:gd name="connsiteY1522" fmla="*/ 587718 h 1849426"/>
                <a:gd name="connsiteX1523" fmla="*/ 1718326 w 6386648"/>
                <a:gd name="connsiteY1523" fmla="*/ 569693 h 1849426"/>
                <a:gd name="connsiteX1524" fmla="*/ 1736351 w 6386648"/>
                <a:gd name="connsiteY1524" fmla="*/ 551669 h 1849426"/>
                <a:gd name="connsiteX1525" fmla="*/ 3731051 w 6386648"/>
                <a:gd name="connsiteY1525" fmla="*/ 545661 h 1849426"/>
                <a:gd name="connsiteX1526" fmla="*/ 3749076 w 6386648"/>
                <a:gd name="connsiteY1526" fmla="*/ 563685 h 1849426"/>
                <a:gd name="connsiteX1527" fmla="*/ 3731051 w 6386648"/>
                <a:gd name="connsiteY1527" fmla="*/ 581710 h 1849426"/>
                <a:gd name="connsiteX1528" fmla="*/ 3713027 w 6386648"/>
                <a:gd name="connsiteY1528" fmla="*/ 563685 h 1849426"/>
                <a:gd name="connsiteX1529" fmla="*/ 3731051 w 6386648"/>
                <a:gd name="connsiteY1529" fmla="*/ 545661 h 1849426"/>
                <a:gd name="connsiteX1530" fmla="*/ 2763741 w 6386648"/>
                <a:gd name="connsiteY1530" fmla="*/ 545661 h 1849426"/>
                <a:gd name="connsiteX1531" fmla="*/ 2781766 w 6386648"/>
                <a:gd name="connsiteY1531" fmla="*/ 563685 h 1849426"/>
                <a:gd name="connsiteX1532" fmla="*/ 2763741 w 6386648"/>
                <a:gd name="connsiteY1532" fmla="*/ 581710 h 1849426"/>
                <a:gd name="connsiteX1533" fmla="*/ 2745717 w 6386648"/>
                <a:gd name="connsiteY1533" fmla="*/ 563685 h 1849426"/>
                <a:gd name="connsiteX1534" fmla="*/ 2763741 w 6386648"/>
                <a:gd name="connsiteY1534" fmla="*/ 545661 h 1849426"/>
                <a:gd name="connsiteX1535" fmla="*/ 726984 w 6386648"/>
                <a:gd name="connsiteY1535" fmla="*/ 545661 h 1849426"/>
                <a:gd name="connsiteX1536" fmla="*/ 745009 w 6386648"/>
                <a:gd name="connsiteY1536" fmla="*/ 563685 h 1849426"/>
                <a:gd name="connsiteX1537" fmla="*/ 726984 w 6386648"/>
                <a:gd name="connsiteY1537" fmla="*/ 581710 h 1849426"/>
                <a:gd name="connsiteX1538" fmla="*/ 708960 w 6386648"/>
                <a:gd name="connsiteY1538" fmla="*/ 563685 h 1849426"/>
                <a:gd name="connsiteX1539" fmla="*/ 726984 w 6386648"/>
                <a:gd name="connsiteY1539" fmla="*/ 545661 h 1849426"/>
                <a:gd name="connsiteX1540" fmla="*/ 3136246 w 6386648"/>
                <a:gd name="connsiteY1540" fmla="*/ 539653 h 1849426"/>
                <a:gd name="connsiteX1541" fmla="*/ 3154271 w 6386648"/>
                <a:gd name="connsiteY1541" fmla="*/ 557677 h 1849426"/>
                <a:gd name="connsiteX1542" fmla="*/ 3136246 w 6386648"/>
                <a:gd name="connsiteY1542" fmla="*/ 575702 h 1849426"/>
                <a:gd name="connsiteX1543" fmla="*/ 3118221 w 6386648"/>
                <a:gd name="connsiteY1543" fmla="*/ 557677 h 1849426"/>
                <a:gd name="connsiteX1544" fmla="*/ 3136246 w 6386648"/>
                <a:gd name="connsiteY1544" fmla="*/ 539653 h 1849426"/>
                <a:gd name="connsiteX1545" fmla="*/ 3004067 w 6386648"/>
                <a:gd name="connsiteY1545" fmla="*/ 539653 h 1849426"/>
                <a:gd name="connsiteX1546" fmla="*/ 3022092 w 6386648"/>
                <a:gd name="connsiteY1546" fmla="*/ 557677 h 1849426"/>
                <a:gd name="connsiteX1547" fmla="*/ 3004067 w 6386648"/>
                <a:gd name="connsiteY1547" fmla="*/ 575702 h 1849426"/>
                <a:gd name="connsiteX1548" fmla="*/ 2986043 w 6386648"/>
                <a:gd name="connsiteY1548" fmla="*/ 557677 h 1849426"/>
                <a:gd name="connsiteX1549" fmla="*/ 3004067 w 6386648"/>
                <a:gd name="connsiteY1549" fmla="*/ 539653 h 1849426"/>
                <a:gd name="connsiteX1550" fmla="*/ 835130 w 6386648"/>
                <a:gd name="connsiteY1550" fmla="*/ 539653 h 1849426"/>
                <a:gd name="connsiteX1551" fmla="*/ 847146 w 6386648"/>
                <a:gd name="connsiteY1551" fmla="*/ 551669 h 1849426"/>
                <a:gd name="connsiteX1552" fmla="*/ 835130 w 6386648"/>
                <a:gd name="connsiteY1552" fmla="*/ 563685 h 1849426"/>
                <a:gd name="connsiteX1553" fmla="*/ 823114 w 6386648"/>
                <a:gd name="connsiteY1553" fmla="*/ 551669 h 1849426"/>
                <a:gd name="connsiteX1554" fmla="*/ 835130 w 6386648"/>
                <a:gd name="connsiteY1554" fmla="*/ 539653 h 1849426"/>
                <a:gd name="connsiteX1555" fmla="*/ 612829 w 6386648"/>
                <a:gd name="connsiteY1555" fmla="*/ 539653 h 1849426"/>
                <a:gd name="connsiteX1556" fmla="*/ 630854 w 6386648"/>
                <a:gd name="connsiteY1556" fmla="*/ 557677 h 1849426"/>
                <a:gd name="connsiteX1557" fmla="*/ 612829 w 6386648"/>
                <a:gd name="connsiteY1557" fmla="*/ 575702 h 1849426"/>
                <a:gd name="connsiteX1558" fmla="*/ 594805 w 6386648"/>
                <a:gd name="connsiteY1558" fmla="*/ 557677 h 1849426"/>
                <a:gd name="connsiteX1559" fmla="*/ 612829 w 6386648"/>
                <a:gd name="connsiteY1559" fmla="*/ 539653 h 1849426"/>
                <a:gd name="connsiteX1560" fmla="*/ 6014143 w 6386648"/>
                <a:gd name="connsiteY1560" fmla="*/ 533645 h 1849426"/>
                <a:gd name="connsiteX1561" fmla="*/ 6032168 w 6386648"/>
                <a:gd name="connsiteY1561" fmla="*/ 551669 h 1849426"/>
                <a:gd name="connsiteX1562" fmla="*/ 6014143 w 6386648"/>
                <a:gd name="connsiteY1562" fmla="*/ 569694 h 1849426"/>
                <a:gd name="connsiteX1563" fmla="*/ 5996119 w 6386648"/>
                <a:gd name="connsiteY1563" fmla="*/ 551669 h 1849426"/>
                <a:gd name="connsiteX1564" fmla="*/ 6014143 w 6386648"/>
                <a:gd name="connsiteY1564" fmla="*/ 533645 h 1849426"/>
                <a:gd name="connsiteX1565" fmla="*/ 5725752 w 6386648"/>
                <a:gd name="connsiteY1565" fmla="*/ 533645 h 1849426"/>
                <a:gd name="connsiteX1566" fmla="*/ 5743777 w 6386648"/>
                <a:gd name="connsiteY1566" fmla="*/ 551669 h 1849426"/>
                <a:gd name="connsiteX1567" fmla="*/ 5725752 w 6386648"/>
                <a:gd name="connsiteY1567" fmla="*/ 569694 h 1849426"/>
                <a:gd name="connsiteX1568" fmla="*/ 5707728 w 6386648"/>
                <a:gd name="connsiteY1568" fmla="*/ 551669 h 1849426"/>
                <a:gd name="connsiteX1569" fmla="*/ 5725752 w 6386648"/>
                <a:gd name="connsiteY1569" fmla="*/ 533645 h 1849426"/>
                <a:gd name="connsiteX1570" fmla="*/ 4013434 w 6386648"/>
                <a:gd name="connsiteY1570" fmla="*/ 533645 h 1849426"/>
                <a:gd name="connsiteX1571" fmla="*/ 4031459 w 6386648"/>
                <a:gd name="connsiteY1571" fmla="*/ 551669 h 1849426"/>
                <a:gd name="connsiteX1572" fmla="*/ 4013434 w 6386648"/>
                <a:gd name="connsiteY1572" fmla="*/ 569694 h 1849426"/>
                <a:gd name="connsiteX1573" fmla="*/ 3995410 w 6386648"/>
                <a:gd name="connsiteY1573" fmla="*/ 551669 h 1849426"/>
                <a:gd name="connsiteX1574" fmla="*/ 4013434 w 6386648"/>
                <a:gd name="connsiteY1574" fmla="*/ 533645 h 1849426"/>
                <a:gd name="connsiteX1575" fmla="*/ 2223009 w 6386648"/>
                <a:gd name="connsiteY1575" fmla="*/ 533645 h 1849426"/>
                <a:gd name="connsiteX1576" fmla="*/ 2241034 w 6386648"/>
                <a:gd name="connsiteY1576" fmla="*/ 551669 h 1849426"/>
                <a:gd name="connsiteX1577" fmla="*/ 2223009 w 6386648"/>
                <a:gd name="connsiteY1577" fmla="*/ 569694 h 1849426"/>
                <a:gd name="connsiteX1578" fmla="*/ 2204985 w 6386648"/>
                <a:gd name="connsiteY1578" fmla="*/ 551669 h 1849426"/>
                <a:gd name="connsiteX1579" fmla="*/ 2223009 w 6386648"/>
                <a:gd name="connsiteY1579" fmla="*/ 533645 h 1849426"/>
                <a:gd name="connsiteX1580" fmla="*/ 1249691 w 6386648"/>
                <a:gd name="connsiteY1580" fmla="*/ 533645 h 1849426"/>
                <a:gd name="connsiteX1581" fmla="*/ 1267716 w 6386648"/>
                <a:gd name="connsiteY1581" fmla="*/ 551669 h 1849426"/>
                <a:gd name="connsiteX1582" fmla="*/ 1249691 w 6386648"/>
                <a:gd name="connsiteY1582" fmla="*/ 569694 h 1849426"/>
                <a:gd name="connsiteX1583" fmla="*/ 1231667 w 6386648"/>
                <a:gd name="connsiteY1583" fmla="*/ 551669 h 1849426"/>
                <a:gd name="connsiteX1584" fmla="*/ 1249691 w 6386648"/>
                <a:gd name="connsiteY1584" fmla="*/ 533645 h 1849426"/>
                <a:gd name="connsiteX1585" fmla="*/ 2409261 w 6386648"/>
                <a:gd name="connsiteY1585" fmla="*/ 527636 h 1849426"/>
                <a:gd name="connsiteX1586" fmla="*/ 2427286 w 6386648"/>
                <a:gd name="connsiteY1586" fmla="*/ 545661 h 1849426"/>
                <a:gd name="connsiteX1587" fmla="*/ 2409261 w 6386648"/>
                <a:gd name="connsiteY1587" fmla="*/ 563685 h 1849426"/>
                <a:gd name="connsiteX1588" fmla="*/ 2391237 w 6386648"/>
                <a:gd name="connsiteY1588" fmla="*/ 545661 h 1849426"/>
                <a:gd name="connsiteX1589" fmla="*/ 2409261 w 6386648"/>
                <a:gd name="connsiteY1589" fmla="*/ 527636 h 1849426"/>
                <a:gd name="connsiteX1590" fmla="*/ 5527484 w 6386648"/>
                <a:gd name="connsiteY1590" fmla="*/ 521628 h 1849426"/>
                <a:gd name="connsiteX1591" fmla="*/ 5545509 w 6386648"/>
                <a:gd name="connsiteY1591" fmla="*/ 539652 h 1849426"/>
                <a:gd name="connsiteX1592" fmla="*/ 5527484 w 6386648"/>
                <a:gd name="connsiteY1592" fmla="*/ 557677 h 1849426"/>
                <a:gd name="connsiteX1593" fmla="*/ 5509460 w 6386648"/>
                <a:gd name="connsiteY1593" fmla="*/ 539652 h 1849426"/>
                <a:gd name="connsiteX1594" fmla="*/ 5527484 w 6386648"/>
                <a:gd name="connsiteY1594" fmla="*/ 521628 h 1849426"/>
                <a:gd name="connsiteX1595" fmla="*/ 4830540 w 6386648"/>
                <a:gd name="connsiteY1595" fmla="*/ 521628 h 1849426"/>
                <a:gd name="connsiteX1596" fmla="*/ 4848565 w 6386648"/>
                <a:gd name="connsiteY1596" fmla="*/ 539652 h 1849426"/>
                <a:gd name="connsiteX1597" fmla="*/ 4830540 w 6386648"/>
                <a:gd name="connsiteY1597" fmla="*/ 557677 h 1849426"/>
                <a:gd name="connsiteX1598" fmla="*/ 4812516 w 6386648"/>
                <a:gd name="connsiteY1598" fmla="*/ 539652 h 1849426"/>
                <a:gd name="connsiteX1599" fmla="*/ 4830540 w 6386648"/>
                <a:gd name="connsiteY1599" fmla="*/ 521628 h 1849426"/>
                <a:gd name="connsiteX1600" fmla="*/ 1514049 w 6386648"/>
                <a:gd name="connsiteY1600" fmla="*/ 521628 h 1849426"/>
                <a:gd name="connsiteX1601" fmla="*/ 1532074 w 6386648"/>
                <a:gd name="connsiteY1601" fmla="*/ 539652 h 1849426"/>
                <a:gd name="connsiteX1602" fmla="*/ 1514049 w 6386648"/>
                <a:gd name="connsiteY1602" fmla="*/ 557677 h 1849426"/>
                <a:gd name="connsiteX1603" fmla="*/ 1496025 w 6386648"/>
                <a:gd name="connsiteY1603" fmla="*/ 539652 h 1849426"/>
                <a:gd name="connsiteX1604" fmla="*/ 1514049 w 6386648"/>
                <a:gd name="connsiteY1604" fmla="*/ 521628 h 1849426"/>
                <a:gd name="connsiteX1605" fmla="*/ 6332574 w 6386648"/>
                <a:gd name="connsiteY1605" fmla="*/ 515620 h 1849426"/>
                <a:gd name="connsiteX1606" fmla="*/ 6350598 w 6386648"/>
                <a:gd name="connsiteY1606" fmla="*/ 533644 h 1849426"/>
                <a:gd name="connsiteX1607" fmla="*/ 6332574 w 6386648"/>
                <a:gd name="connsiteY1607" fmla="*/ 551669 h 1849426"/>
                <a:gd name="connsiteX1608" fmla="*/ 6314549 w 6386648"/>
                <a:gd name="connsiteY1608" fmla="*/ 533644 h 1849426"/>
                <a:gd name="connsiteX1609" fmla="*/ 6332574 w 6386648"/>
                <a:gd name="connsiteY1609" fmla="*/ 515620 h 1849426"/>
                <a:gd name="connsiteX1610" fmla="*/ 5893980 w 6386648"/>
                <a:gd name="connsiteY1610" fmla="*/ 509612 h 1849426"/>
                <a:gd name="connsiteX1611" fmla="*/ 5912005 w 6386648"/>
                <a:gd name="connsiteY1611" fmla="*/ 527636 h 1849426"/>
                <a:gd name="connsiteX1612" fmla="*/ 5893980 w 6386648"/>
                <a:gd name="connsiteY1612" fmla="*/ 545661 h 1849426"/>
                <a:gd name="connsiteX1613" fmla="*/ 5875956 w 6386648"/>
                <a:gd name="connsiteY1613" fmla="*/ 527636 h 1849426"/>
                <a:gd name="connsiteX1614" fmla="*/ 5893980 w 6386648"/>
                <a:gd name="connsiteY1614" fmla="*/ 509612 h 1849426"/>
                <a:gd name="connsiteX1615" fmla="*/ 3244392 w 6386648"/>
                <a:gd name="connsiteY1615" fmla="*/ 509612 h 1849426"/>
                <a:gd name="connsiteX1616" fmla="*/ 3262417 w 6386648"/>
                <a:gd name="connsiteY1616" fmla="*/ 527636 h 1849426"/>
                <a:gd name="connsiteX1617" fmla="*/ 3244392 w 6386648"/>
                <a:gd name="connsiteY1617" fmla="*/ 545661 h 1849426"/>
                <a:gd name="connsiteX1618" fmla="*/ 3226368 w 6386648"/>
                <a:gd name="connsiteY1618" fmla="*/ 527636 h 1849426"/>
                <a:gd name="connsiteX1619" fmla="*/ 3244392 w 6386648"/>
                <a:gd name="connsiteY1619" fmla="*/ 509612 h 1849426"/>
                <a:gd name="connsiteX1620" fmla="*/ 1982684 w 6386648"/>
                <a:gd name="connsiteY1620" fmla="*/ 509612 h 1849426"/>
                <a:gd name="connsiteX1621" fmla="*/ 2000709 w 6386648"/>
                <a:gd name="connsiteY1621" fmla="*/ 527636 h 1849426"/>
                <a:gd name="connsiteX1622" fmla="*/ 1982684 w 6386648"/>
                <a:gd name="connsiteY1622" fmla="*/ 545661 h 1849426"/>
                <a:gd name="connsiteX1623" fmla="*/ 1964660 w 6386648"/>
                <a:gd name="connsiteY1623" fmla="*/ 527636 h 1849426"/>
                <a:gd name="connsiteX1624" fmla="*/ 1982684 w 6386648"/>
                <a:gd name="connsiteY1624" fmla="*/ 509612 h 1849426"/>
                <a:gd name="connsiteX1625" fmla="*/ 5040825 w 6386648"/>
                <a:gd name="connsiteY1625" fmla="*/ 503604 h 1849426"/>
                <a:gd name="connsiteX1626" fmla="*/ 5058850 w 6386648"/>
                <a:gd name="connsiteY1626" fmla="*/ 521628 h 1849426"/>
                <a:gd name="connsiteX1627" fmla="*/ 5040825 w 6386648"/>
                <a:gd name="connsiteY1627" fmla="*/ 539653 h 1849426"/>
                <a:gd name="connsiteX1628" fmla="*/ 5022801 w 6386648"/>
                <a:gd name="connsiteY1628" fmla="*/ 521628 h 1849426"/>
                <a:gd name="connsiteX1629" fmla="*/ 5040825 w 6386648"/>
                <a:gd name="connsiteY1629" fmla="*/ 503604 h 1849426"/>
                <a:gd name="connsiteX1630" fmla="*/ 4926670 w 6386648"/>
                <a:gd name="connsiteY1630" fmla="*/ 503604 h 1849426"/>
                <a:gd name="connsiteX1631" fmla="*/ 4944695 w 6386648"/>
                <a:gd name="connsiteY1631" fmla="*/ 521628 h 1849426"/>
                <a:gd name="connsiteX1632" fmla="*/ 4926670 w 6386648"/>
                <a:gd name="connsiteY1632" fmla="*/ 539653 h 1849426"/>
                <a:gd name="connsiteX1633" fmla="*/ 4908646 w 6386648"/>
                <a:gd name="connsiteY1633" fmla="*/ 521628 h 1849426"/>
                <a:gd name="connsiteX1634" fmla="*/ 4926670 w 6386648"/>
                <a:gd name="connsiteY1634" fmla="*/ 503604 h 1849426"/>
                <a:gd name="connsiteX1635" fmla="*/ 5419337 w 6386648"/>
                <a:gd name="connsiteY1635" fmla="*/ 497596 h 1849426"/>
                <a:gd name="connsiteX1636" fmla="*/ 5437362 w 6386648"/>
                <a:gd name="connsiteY1636" fmla="*/ 515621 h 1849426"/>
                <a:gd name="connsiteX1637" fmla="*/ 5419337 w 6386648"/>
                <a:gd name="connsiteY1637" fmla="*/ 533645 h 1849426"/>
                <a:gd name="connsiteX1638" fmla="*/ 5401312 w 6386648"/>
                <a:gd name="connsiteY1638" fmla="*/ 515621 h 1849426"/>
                <a:gd name="connsiteX1639" fmla="*/ 5419337 w 6386648"/>
                <a:gd name="connsiteY1639" fmla="*/ 497596 h 1849426"/>
                <a:gd name="connsiteX1640" fmla="*/ 3610889 w 6386648"/>
                <a:gd name="connsiteY1640" fmla="*/ 497596 h 1849426"/>
                <a:gd name="connsiteX1641" fmla="*/ 3628914 w 6386648"/>
                <a:gd name="connsiteY1641" fmla="*/ 515621 h 1849426"/>
                <a:gd name="connsiteX1642" fmla="*/ 3610889 w 6386648"/>
                <a:gd name="connsiteY1642" fmla="*/ 533645 h 1849426"/>
                <a:gd name="connsiteX1643" fmla="*/ 3592865 w 6386648"/>
                <a:gd name="connsiteY1643" fmla="*/ 515621 h 1849426"/>
                <a:gd name="connsiteX1644" fmla="*/ 3610889 w 6386648"/>
                <a:gd name="connsiteY1644" fmla="*/ 497596 h 1849426"/>
                <a:gd name="connsiteX1645" fmla="*/ 967309 w 6386648"/>
                <a:gd name="connsiteY1645" fmla="*/ 497596 h 1849426"/>
                <a:gd name="connsiteX1646" fmla="*/ 985334 w 6386648"/>
                <a:gd name="connsiteY1646" fmla="*/ 515621 h 1849426"/>
                <a:gd name="connsiteX1647" fmla="*/ 967309 w 6386648"/>
                <a:gd name="connsiteY1647" fmla="*/ 533645 h 1849426"/>
                <a:gd name="connsiteX1648" fmla="*/ 949285 w 6386648"/>
                <a:gd name="connsiteY1648" fmla="*/ 515621 h 1849426"/>
                <a:gd name="connsiteX1649" fmla="*/ 967309 w 6386648"/>
                <a:gd name="connsiteY1649" fmla="*/ 497596 h 1849426"/>
                <a:gd name="connsiteX1650" fmla="*/ 450609 w 6386648"/>
                <a:gd name="connsiteY1650" fmla="*/ 497596 h 1849426"/>
                <a:gd name="connsiteX1651" fmla="*/ 468634 w 6386648"/>
                <a:gd name="connsiteY1651" fmla="*/ 515621 h 1849426"/>
                <a:gd name="connsiteX1652" fmla="*/ 450609 w 6386648"/>
                <a:gd name="connsiteY1652" fmla="*/ 533645 h 1849426"/>
                <a:gd name="connsiteX1653" fmla="*/ 432585 w 6386648"/>
                <a:gd name="connsiteY1653" fmla="*/ 515621 h 1849426"/>
                <a:gd name="connsiteX1654" fmla="*/ 450609 w 6386648"/>
                <a:gd name="connsiteY1654" fmla="*/ 497596 h 1849426"/>
                <a:gd name="connsiteX1655" fmla="*/ 4632272 w 6386648"/>
                <a:gd name="connsiteY1655" fmla="*/ 485580 h 1849426"/>
                <a:gd name="connsiteX1656" fmla="*/ 4650297 w 6386648"/>
                <a:gd name="connsiteY1656" fmla="*/ 503604 h 1849426"/>
                <a:gd name="connsiteX1657" fmla="*/ 4632272 w 6386648"/>
                <a:gd name="connsiteY1657" fmla="*/ 521629 h 1849426"/>
                <a:gd name="connsiteX1658" fmla="*/ 4614248 w 6386648"/>
                <a:gd name="connsiteY1658" fmla="*/ 503604 h 1849426"/>
                <a:gd name="connsiteX1659" fmla="*/ 4632272 w 6386648"/>
                <a:gd name="connsiteY1659" fmla="*/ 485580 h 1849426"/>
                <a:gd name="connsiteX1660" fmla="*/ 4379930 w 6386648"/>
                <a:gd name="connsiteY1660" fmla="*/ 485580 h 1849426"/>
                <a:gd name="connsiteX1661" fmla="*/ 4397955 w 6386648"/>
                <a:gd name="connsiteY1661" fmla="*/ 503604 h 1849426"/>
                <a:gd name="connsiteX1662" fmla="*/ 4379930 w 6386648"/>
                <a:gd name="connsiteY1662" fmla="*/ 521629 h 1849426"/>
                <a:gd name="connsiteX1663" fmla="*/ 4361906 w 6386648"/>
                <a:gd name="connsiteY1663" fmla="*/ 503604 h 1849426"/>
                <a:gd name="connsiteX1664" fmla="*/ 4379930 w 6386648"/>
                <a:gd name="connsiteY1664" fmla="*/ 485580 h 1849426"/>
                <a:gd name="connsiteX1665" fmla="*/ 5160987 w 6386648"/>
                <a:gd name="connsiteY1665" fmla="*/ 479571 h 1849426"/>
                <a:gd name="connsiteX1666" fmla="*/ 5179012 w 6386648"/>
                <a:gd name="connsiteY1666" fmla="*/ 497595 h 1849426"/>
                <a:gd name="connsiteX1667" fmla="*/ 5160987 w 6386648"/>
                <a:gd name="connsiteY1667" fmla="*/ 515620 h 1849426"/>
                <a:gd name="connsiteX1668" fmla="*/ 5142963 w 6386648"/>
                <a:gd name="connsiteY1668" fmla="*/ 497595 h 1849426"/>
                <a:gd name="connsiteX1669" fmla="*/ 5160987 w 6386648"/>
                <a:gd name="connsiteY1669" fmla="*/ 479571 h 1849426"/>
                <a:gd name="connsiteX1670" fmla="*/ 4241743 w 6386648"/>
                <a:gd name="connsiteY1670" fmla="*/ 479571 h 1849426"/>
                <a:gd name="connsiteX1671" fmla="*/ 4259768 w 6386648"/>
                <a:gd name="connsiteY1671" fmla="*/ 497595 h 1849426"/>
                <a:gd name="connsiteX1672" fmla="*/ 4241743 w 6386648"/>
                <a:gd name="connsiteY1672" fmla="*/ 515620 h 1849426"/>
                <a:gd name="connsiteX1673" fmla="*/ 4223719 w 6386648"/>
                <a:gd name="connsiteY1673" fmla="*/ 497595 h 1849426"/>
                <a:gd name="connsiteX1674" fmla="*/ 4241743 w 6386648"/>
                <a:gd name="connsiteY1674" fmla="*/ 479571 h 1849426"/>
                <a:gd name="connsiteX1675" fmla="*/ 3821173 w 6386648"/>
                <a:gd name="connsiteY1675" fmla="*/ 479571 h 1849426"/>
                <a:gd name="connsiteX1676" fmla="*/ 3839198 w 6386648"/>
                <a:gd name="connsiteY1676" fmla="*/ 497595 h 1849426"/>
                <a:gd name="connsiteX1677" fmla="*/ 3821173 w 6386648"/>
                <a:gd name="connsiteY1677" fmla="*/ 515620 h 1849426"/>
                <a:gd name="connsiteX1678" fmla="*/ 3803149 w 6386648"/>
                <a:gd name="connsiteY1678" fmla="*/ 497595 h 1849426"/>
                <a:gd name="connsiteX1679" fmla="*/ 3821173 w 6386648"/>
                <a:gd name="connsiteY1679" fmla="*/ 479571 h 1849426"/>
                <a:gd name="connsiteX1680" fmla="*/ 3364555 w 6386648"/>
                <a:gd name="connsiteY1680" fmla="*/ 479571 h 1849426"/>
                <a:gd name="connsiteX1681" fmla="*/ 3382580 w 6386648"/>
                <a:gd name="connsiteY1681" fmla="*/ 497595 h 1849426"/>
                <a:gd name="connsiteX1682" fmla="*/ 3364555 w 6386648"/>
                <a:gd name="connsiteY1682" fmla="*/ 515620 h 1849426"/>
                <a:gd name="connsiteX1683" fmla="*/ 3346531 w 6386648"/>
                <a:gd name="connsiteY1683" fmla="*/ 497595 h 1849426"/>
                <a:gd name="connsiteX1684" fmla="*/ 3364555 w 6386648"/>
                <a:gd name="connsiteY1684" fmla="*/ 479571 h 1849426"/>
                <a:gd name="connsiteX1685" fmla="*/ 1093480 w 6386648"/>
                <a:gd name="connsiteY1685" fmla="*/ 479571 h 1849426"/>
                <a:gd name="connsiteX1686" fmla="*/ 1111505 w 6386648"/>
                <a:gd name="connsiteY1686" fmla="*/ 497595 h 1849426"/>
                <a:gd name="connsiteX1687" fmla="*/ 1093480 w 6386648"/>
                <a:gd name="connsiteY1687" fmla="*/ 515620 h 1849426"/>
                <a:gd name="connsiteX1688" fmla="*/ 1075456 w 6386648"/>
                <a:gd name="connsiteY1688" fmla="*/ 497595 h 1849426"/>
                <a:gd name="connsiteX1689" fmla="*/ 1093480 w 6386648"/>
                <a:gd name="connsiteY1689" fmla="*/ 479571 h 1849426"/>
                <a:gd name="connsiteX1690" fmla="*/ 5299175 w 6386648"/>
                <a:gd name="connsiteY1690" fmla="*/ 473563 h 1849426"/>
                <a:gd name="connsiteX1691" fmla="*/ 5317200 w 6386648"/>
                <a:gd name="connsiteY1691" fmla="*/ 491587 h 1849426"/>
                <a:gd name="connsiteX1692" fmla="*/ 5299175 w 6386648"/>
                <a:gd name="connsiteY1692" fmla="*/ 509612 h 1849426"/>
                <a:gd name="connsiteX1693" fmla="*/ 5281150 w 6386648"/>
                <a:gd name="connsiteY1693" fmla="*/ 491587 h 1849426"/>
                <a:gd name="connsiteX1694" fmla="*/ 5299175 w 6386648"/>
                <a:gd name="connsiteY1694" fmla="*/ 473563 h 1849426"/>
                <a:gd name="connsiteX1695" fmla="*/ 4506101 w 6386648"/>
                <a:gd name="connsiteY1695" fmla="*/ 473563 h 1849426"/>
                <a:gd name="connsiteX1696" fmla="*/ 4524126 w 6386648"/>
                <a:gd name="connsiteY1696" fmla="*/ 491587 h 1849426"/>
                <a:gd name="connsiteX1697" fmla="*/ 4506101 w 6386648"/>
                <a:gd name="connsiteY1697" fmla="*/ 509612 h 1849426"/>
                <a:gd name="connsiteX1698" fmla="*/ 4488077 w 6386648"/>
                <a:gd name="connsiteY1698" fmla="*/ 491587 h 1849426"/>
                <a:gd name="connsiteX1699" fmla="*/ 4506101 w 6386648"/>
                <a:gd name="connsiteY1699" fmla="*/ 473563 h 1849426"/>
                <a:gd name="connsiteX1700" fmla="*/ 4115572 w 6386648"/>
                <a:gd name="connsiteY1700" fmla="*/ 473563 h 1849426"/>
                <a:gd name="connsiteX1701" fmla="*/ 4133597 w 6386648"/>
                <a:gd name="connsiteY1701" fmla="*/ 491587 h 1849426"/>
                <a:gd name="connsiteX1702" fmla="*/ 4115572 w 6386648"/>
                <a:gd name="connsiteY1702" fmla="*/ 509612 h 1849426"/>
                <a:gd name="connsiteX1703" fmla="*/ 4097548 w 6386648"/>
                <a:gd name="connsiteY1703" fmla="*/ 491587 h 1849426"/>
                <a:gd name="connsiteX1704" fmla="*/ 4115572 w 6386648"/>
                <a:gd name="connsiteY1704" fmla="*/ 473563 h 1849426"/>
                <a:gd name="connsiteX1705" fmla="*/ 2295107 w 6386648"/>
                <a:gd name="connsiteY1705" fmla="*/ 473563 h 1849426"/>
                <a:gd name="connsiteX1706" fmla="*/ 2313132 w 6386648"/>
                <a:gd name="connsiteY1706" fmla="*/ 491587 h 1849426"/>
                <a:gd name="connsiteX1707" fmla="*/ 2295107 w 6386648"/>
                <a:gd name="connsiteY1707" fmla="*/ 509612 h 1849426"/>
                <a:gd name="connsiteX1708" fmla="*/ 2277083 w 6386648"/>
                <a:gd name="connsiteY1708" fmla="*/ 491587 h 1849426"/>
                <a:gd name="connsiteX1709" fmla="*/ 2295107 w 6386648"/>
                <a:gd name="connsiteY1709" fmla="*/ 473563 h 1849426"/>
                <a:gd name="connsiteX1710" fmla="*/ 1838489 w 6386648"/>
                <a:gd name="connsiteY1710" fmla="*/ 473563 h 1849426"/>
                <a:gd name="connsiteX1711" fmla="*/ 1856514 w 6386648"/>
                <a:gd name="connsiteY1711" fmla="*/ 491587 h 1849426"/>
                <a:gd name="connsiteX1712" fmla="*/ 1838489 w 6386648"/>
                <a:gd name="connsiteY1712" fmla="*/ 509612 h 1849426"/>
                <a:gd name="connsiteX1713" fmla="*/ 1820465 w 6386648"/>
                <a:gd name="connsiteY1713" fmla="*/ 491587 h 1849426"/>
                <a:gd name="connsiteX1714" fmla="*/ 1838489 w 6386648"/>
                <a:gd name="connsiteY1714" fmla="*/ 473563 h 1849426"/>
                <a:gd name="connsiteX1715" fmla="*/ 2889912 w 6386648"/>
                <a:gd name="connsiteY1715" fmla="*/ 467555 h 1849426"/>
                <a:gd name="connsiteX1716" fmla="*/ 2907937 w 6386648"/>
                <a:gd name="connsiteY1716" fmla="*/ 485580 h 1849426"/>
                <a:gd name="connsiteX1717" fmla="*/ 2889912 w 6386648"/>
                <a:gd name="connsiteY1717" fmla="*/ 503604 h 1849426"/>
                <a:gd name="connsiteX1718" fmla="*/ 2871888 w 6386648"/>
                <a:gd name="connsiteY1718" fmla="*/ 485580 h 1849426"/>
                <a:gd name="connsiteX1719" fmla="*/ 2889912 w 6386648"/>
                <a:gd name="connsiteY1719" fmla="*/ 467555 h 1849426"/>
                <a:gd name="connsiteX1720" fmla="*/ 2108855 w 6386648"/>
                <a:gd name="connsiteY1720" fmla="*/ 467555 h 1849426"/>
                <a:gd name="connsiteX1721" fmla="*/ 2126880 w 6386648"/>
                <a:gd name="connsiteY1721" fmla="*/ 485580 h 1849426"/>
                <a:gd name="connsiteX1722" fmla="*/ 2108855 w 6386648"/>
                <a:gd name="connsiteY1722" fmla="*/ 503604 h 1849426"/>
                <a:gd name="connsiteX1723" fmla="*/ 2090831 w 6386648"/>
                <a:gd name="connsiteY1723" fmla="*/ 485580 h 1849426"/>
                <a:gd name="connsiteX1724" fmla="*/ 2108855 w 6386648"/>
                <a:gd name="connsiteY1724" fmla="*/ 467555 h 1849426"/>
                <a:gd name="connsiteX1725" fmla="*/ 1616189 w 6386648"/>
                <a:gd name="connsiteY1725" fmla="*/ 467555 h 1849426"/>
                <a:gd name="connsiteX1726" fmla="*/ 1634213 w 6386648"/>
                <a:gd name="connsiteY1726" fmla="*/ 485580 h 1849426"/>
                <a:gd name="connsiteX1727" fmla="*/ 1616189 w 6386648"/>
                <a:gd name="connsiteY1727" fmla="*/ 503604 h 1849426"/>
                <a:gd name="connsiteX1728" fmla="*/ 1598164 w 6386648"/>
                <a:gd name="connsiteY1728" fmla="*/ 485580 h 1849426"/>
                <a:gd name="connsiteX1729" fmla="*/ 1616189 w 6386648"/>
                <a:gd name="connsiteY1729" fmla="*/ 467555 h 1849426"/>
                <a:gd name="connsiteX1730" fmla="*/ 330447 w 6386648"/>
                <a:gd name="connsiteY1730" fmla="*/ 467555 h 1849426"/>
                <a:gd name="connsiteX1731" fmla="*/ 348472 w 6386648"/>
                <a:gd name="connsiteY1731" fmla="*/ 485580 h 1849426"/>
                <a:gd name="connsiteX1732" fmla="*/ 330447 w 6386648"/>
                <a:gd name="connsiteY1732" fmla="*/ 503604 h 1849426"/>
                <a:gd name="connsiteX1733" fmla="*/ 312423 w 6386648"/>
                <a:gd name="connsiteY1733" fmla="*/ 485580 h 1849426"/>
                <a:gd name="connsiteX1734" fmla="*/ 330447 w 6386648"/>
                <a:gd name="connsiteY1734" fmla="*/ 467555 h 1849426"/>
                <a:gd name="connsiteX1735" fmla="*/ 3935328 w 6386648"/>
                <a:gd name="connsiteY1735" fmla="*/ 461547 h 1849426"/>
                <a:gd name="connsiteX1736" fmla="*/ 3953353 w 6386648"/>
                <a:gd name="connsiteY1736" fmla="*/ 479571 h 1849426"/>
                <a:gd name="connsiteX1737" fmla="*/ 3935328 w 6386648"/>
                <a:gd name="connsiteY1737" fmla="*/ 497596 h 1849426"/>
                <a:gd name="connsiteX1738" fmla="*/ 3917304 w 6386648"/>
                <a:gd name="connsiteY1738" fmla="*/ 479571 h 1849426"/>
                <a:gd name="connsiteX1739" fmla="*/ 3935328 w 6386648"/>
                <a:gd name="connsiteY1739" fmla="*/ 461547 h 1849426"/>
                <a:gd name="connsiteX1740" fmla="*/ 6224427 w 6386648"/>
                <a:gd name="connsiteY1740" fmla="*/ 455539 h 1849426"/>
                <a:gd name="connsiteX1741" fmla="*/ 6242452 w 6386648"/>
                <a:gd name="connsiteY1741" fmla="*/ 473563 h 1849426"/>
                <a:gd name="connsiteX1742" fmla="*/ 6224427 w 6386648"/>
                <a:gd name="connsiteY1742" fmla="*/ 491588 h 1849426"/>
                <a:gd name="connsiteX1743" fmla="*/ 6206403 w 6386648"/>
                <a:gd name="connsiteY1743" fmla="*/ 473563 h 1849426"/>
                <a:gd name="connsiteX1744" fmla="*/ 6224427 w 6386648"/>
                <a:gd name="connsiteY1744" fmla="*/ 455539 h 1849426"/>
                <a:gd name="connsiteX1745" fmla="*/ 6110273 w 6386648"/>
                <a:gd name="connsiteY1745" fmla="*/ 455539 h 1849426"/>
                <a:gd name="connsiteX1746" fmla="*/ 6128298 w 6386648"/>
                <a:gd name="connsiteY1746" fmla="*/ 473563 h 1849426"/>
                <a:gd name="connsiteX1747" fmla="*/ 6110273 w 6386648"/>
                <a:gd name="connsiteY1747" fmla="*/ 491588 h 1849426"/>
                <a:gd name="connsiteX1748" fmla="*/ 6092248 w 6386648"/>
                <a:gd name="connsiteY1748" fmla="*/ 473563 h 1849426"/>
                <a:gd name="connsiteX1749" fmla="*/ 6110273 w 6386648"/>
                <a:gd name="connsiteY1749" fmla="*/ 455539 h 1849426"/>
                <a:gd name="connsiteX1750" fmla="*/ 3496734 w 6386648"/>
                <a:gd name="connsiteY1750" fmla="*/ 455539 h 1849426"/>
                <a:gd name="connsiteX1751" fmla="*/ 3514759 w 6386648"/>
                <a:gd name="connsiteY1751" fmla="*/ 473563 h 1849426"/>
                <a:gd name="connsiteX1752" fmla="*/ 3496734 w 6386648"/>
                <a:gd name="connsiteY1752" fmla="*/ 491588 h 1849426"/>
                <a:gd name="connsiteX1753" fmla="*/ 3478709 w 6386648"/>
                <a:gd name="connsiteY1753" fmla="*/ 473563 h 1849426"/>
                <a:gd name="connsiteX1754" fmla="*/ 3496734 w 6386648"/>
                <a:gd name="connsiteY1754" fmla="*/ 455539 h 1849426"/>
                <a:gd name="connsiteX1755" fmla="*/ 1333805 w 6386648"/>
                <a:gd name="connsiteY1755" fmla="*/ 455539 h 1849426"/>
                <a:gd name="connsiteX1756" fmla="*/ 1351830 w 6386648"/>
                <a:gd name="connsiteY1756" fmla="*/ 473563 h 1849426"/>
                <a:gd name="connsiteX1757" fmla="*/ 1333805 w 6386648"/>
                <a:gd name="connsiteY1757" fmla="*/ 491588 h 1849426"/>
                <a:gd name="connsiteX1758" fmla="*/ 1315781 w 6386648"/>
                <a:gd name="connsiteY1758" fmla="*/ 473563 h 1849426"/>
                <a:gd name="connsiteX1759" fmla="*/ 1333805 w 6386648"/>
                <a:gd name="connsiteY1759" fmla="*/ 455539 h 1849426"/>
                <a:gd name="connsiteX1760" fmla="*/ 2727693 w 6386648"/>
                <a:gd name="connsiteY1760" fmla="*/ 449531 h 1849426"/>
                <a:gd name="connsiteX1761" fmla="*/ 2745718 w 6386648"/>
                <a:gd name="connsiteY1761" fmla="*/ 467555 h 1849426"/>
                <a:gd name="connsiteX1762" fmla="*/ 2727693 w 6386648"/>
                <a:gd name="connsiteY1762" fmla="*/ 485580 h 1849426"/>
                <a:gd name="connsiteX1763" fmla="*/ 2709669 w 6386648"/>
                <a:gd name="connsiteY1763" fmla="*/ 467555 h 1849426"/>
                <a:gd name="connsiteX1764" fmla="*/ 2727693 w 6386648"/>
                <a:gd name="connsiteY1764" fmla="*/ 449531 h 1849426"/>
                <a:gd name="connsiteX1765" fmla="*/ 2607530 w 6386648"/>
                <a:gd name="connsiteY1765" fmla="*/ 449531 h 1849426"/>
                <a:gd name="connsiteX1766" fmla="*/ 2625555 w 6386648"/>
                <a:gd name="connsiteY1766" fmla="*/ 467555 h 1849426"/>
                <a:gd name="connsiteX1767" fmla="*/ 2607530 w 6386648"/>
                <a:gd name="connsiteY1767" fmla="*/ 485580 h 1849426"/>
                <a:gd name="connsiteX1768" fmla="*/ 2589506 w 6386648"/>
                <a:gd name="connsiteY1768" fmla="*/ 467555 h 1849426"/>
                <a:gd name="connsiteX1769" fmla="*/ 2607530 w 6386648"/>
                <a:gd name="connsiteY1769" fmla="*/ 449531 h 1849426"/>
                <a:gd name="connsiteX1770" fmla="*/ 5797850 w 6386648"/>
                <a:gd name="connsiteY1770" fmla="*/ 443523 h 1849426"/>
                <a:gd name="connsiteX1771" fmla="*/ 5815875 w 6386648"/>
                <a:gd name="connsiteY1771" fmla="*/ 461547 h 1849426"/>
                <a:gd name="connsiteX1772" fmla="*/ 5797850 w 6386648"/>
                <a:gd name="connsiteY1772" fmla="*/ 479572 h 1849426"/>
                <a:gd name="connsiteX1773" fmla="*/ 5779826 w 6386648"/>
                <a:gd name="connsiteY1773" fmla="*/ 461547 h 1849426"/>
                <a:gd name="connsiteX1774" fmla="*/ 5797850 w 6386648"/>
                <a:gd name="connsiteY1774" fmla="*/ 443523 h 1849426"/>
                <a:gd name="connsiteX1775" fmla="*/ 5653655 w 6386648"/>
                <a:gd name="connsiteY1775" fmla="*/ 443523 h 1849426"/>
                <a:gd name="connsiteX1776" fmla="*/ 5671680 w 6386648"/>
                <a:gd name="connsiteY1776" fmla="*/ 461547 h 1849426"/>
                <a:gd name="connsiteX1777" fmla="*/ 5653655 w 6386648"/>
                <a:gd name="connsiteY1777" fmla="*/ 479572 h 1849426"/>
                <a:gd name="connsiteX1778" fmla="*/ 5635631 w 6386648"/>
                <a:gd name="connsiteY1778" fmla="*/ 461547 h 1849426"/>
                <a:gd name="connsiteX1779" fmla="*/ 5653655 w 6386648"/>
                <a:gd name="connsiteY1779" fmla="*/ 443523 h 1849426"/>
                <a:gd name="connsiteX1780" fmla="*/ 96129 w 6386648"/>
                <a:gd name="connsiteY1780" fmla="*/ 437514 h 1849426"/>
                <a:gd name="connsiteX1781" fmla="*/ 114154 w 6386648"/>
                <a:gd name="connsiteY1781" fmla="*/ 455539 h 1849426"/>
                <a:gd name="connsiteX1782" fmla="*/ 96129 w 6386648"/>
                <a:gd name="connsiteY1782" fmla="*/ 473563 h 1849426"/>
                <a:gd name="connsiteX1783" fmla="*/ 78105 w 6386648"/>
                <a:gd name="connsiteY1783" fmla="*/ 455539 h 1849426"/>
                <a:gd name="connsiteX1784" fmla="*/ 96129 w 6386648"/>
                <a:gd name="connsiteY1784" fmla="*/ 437514 h 1849426"/>
                <a:gd name="connsiteX1785" fmla="*/ 3058140 w 6386648"/>
                <a:gd name="connsiteY1785" fmla="*/ 431506 h 1849426"/>
                <a:gd name="connsiteX1786" fmla="*/ 3076165 w 6386648"/>
                <a:gd name="connsiteY1786" fmla="*/ 449530 h 1849426"/>
                <a:gd name="connsiteX1787" fmla="*/ 3058140 w 6386648"/>
                <a:gd name="connsiteY1787" fmla="*/ 467555 h 1849426"/>
                <a:gd name="connsiteX1788" fmla="*/ 3040116 w 6386648"/>
                <a:gd name="connsiteY1788" fmla="*/ 449530 h 1849426"/>
                <a:gd name="connsiteX1789" fmla="*/ 3058140 w 6386648"/>
                <a:gd name="connsiteY1789" fmla="*/ 431506 h 1849426"/>
                <a:gd name="connsiteX1790" fmla="*/ 2493375 w 6386648"/>
                <a:gd name="connsiteY1790" fmla="*/ 431506 h 1849426"/>
                <a:gd name="connsiteX1791" fmla="*/ 2511400 w 6386648"/>
                <a:gd name="connsiteY1791" fmla="*/ 449530 h 1849426"/>
                <a:gd name="connsiteX1792" fmla="*/ 2493375 w 6386648"/>
                <a:gd name="connsiteY1792" fmla="*/ 467555 h 1849426"/>
                <a:gd name="connsiteX1793" fmla="*/ 2475351 w 6386648"/>
                <a:gd name="connsiteY1793" fmla="*/ 449530 h 1849426"/>
                <a:gd name="connsiteX1794" fmla="*/ 2493375 w 6386648"/>
                <a:gd name="connsiteY1794" fmla="*/ 431506 h 1849426"/>
                <a:gd name="connsiteX1795" fmla="*/ 216292 w 6386648"/>
                <a:gd name="connsiteY1795" fmla="*/ 431506 h 1849426"/>
                <a:gd name="connsiteX1796" fmla="*/ 234317 w 6386648"/>
                <a:gd name="connsiteY1796" fmla="*/ 449530 h 1849426"/>
                <a:gd name="connsiteX1797" fmla="*/ 216292 w 6386648"/>
                <a:gd name="connsiteY1797" fmla="*/ 467555 h 1849426"/>
                <a:gd name="connsiteX1798" fmla="*/ 198268 w 6386648"/>
                <a:gd name="connsiteY1798" fmla="*/ 449530 h 1849426"/>
                <a:gd name="connsiteX1799" fmla="*/ 216292 w 6386648"/>
                <a:gd name="connsiteY1799" fmla="*/ 431506 h 1849426"/>
                <a:gd name="connsiteX1800" fmla="*/ 4758442 w 6386648"/>
                <a:gd name="connsiteY1800" fmla="*/ 425498 h 1849426"/>
                <a:gd name="connsiteX1801" fmla="*/ 4776467 w 6386648"/>
                <a:gd name="connsiteY1801" fmla="*/ 443522 h 1849426"/>
                <a:gd name="connsiteX1802" fmla="*/ 4758442 w 6386648"/>
                <a:gd name="connsiteY1802" fmla="*/ 461547 h 1849426"/>
                <a:gd name="connsiteX1803" fmla="*/ 4740417 w 6386648"/>
                <a:gd name="connsiteY1803" fmla="*/ 443522 h 1849426"/>
                <a:gd name="connsiteX1804" fmla="*/ 4758442 w 6386648"/>
                <a:gd name="connsiteY1804" fmla="*/ 425498 h 1849426"/>
                <a:gd name="connsiteX1805" fmla="*/ 1453968 w 6386648"/>
                <a:gd name="connsiteY1805" fmla="*/ 425498 h 1849426"/>
                <a:gd name="connsiteX1806" fmla="*/ 1471993 w 6386648"/>
                <a:gd name="connsiteY1806" fmla="*/ 443522 h 1849426"/>
                <a:gd name="connsiteX1807" fmla="*/ 1453968 w 6386648"/>
                <a:gd name="connsiteY1807" fmla="*/ 461547 h 1849426"/>
                <a:gd name="connsiteX1808" fmla="*/ 1435944 w 6386648"/>
                <a:gd name="connsiteY1808" fmla="*/ 443522 h 1849426"/>
                <a:gd name="connsiteX1809" fmla="*/ 1453968 w 6386648"/>
                <a:gd name="connsiteY1809" fmla="*/ 425498 h 1849426"/>
                <a:gd name="connsiteX1810" fmla="*/ 552748 w 6386648"/>
                <a:gd name="connsiteY1810" fmla="*/ 425498 h 1849426"/>
                <a:gd name="connsiteX1811" fmla="*/ 570773 w 6386648"/>
                <a:gd name="connsiteY1811" fmla="*/ 443522 h 1849426"/>
                <a:gd name="connsiteX1812" fmla="*/ 552748 w 6386648"/>
                <a:gd name="connsiteY1812" fmla="*/ 461547 h 1849426"/>
                <a:gd name="connsiteX1813" fmla="*/ 534724 w 6386648"/>
                <a:gd name="connsiteY1813" fmla="*/ 443522 h 1849426"/>
                <a:gd name="connsiteX1814" fmla="*/ 552748 w 6386648"/>
                <a:gd name="connsiteY1814" fmla="*/ 425498 h 1849426"/>
                <a:gd name="connsiteX1815" fmla="*/ 1742358 w 6386648"/>
                <a:gd name="connsiteY1815" fmla="*/ 419490 h 1849426"/>
                <a:gd name="connsiteX1816" fmla="*/ 1760383 w 6386648"/>
                <a:gd name="connsiteY1816" fmla="*/ 437514 h 1849426"/>
                <a:gd name="connsiteX1817" fmla="*/ 1742358 w 6386648"/>
                <a:gd name="connsiteY1817" fmla="*/ 455539 h 1849426"/>
                <a:gd name="connsiteX1818" fmla="*/ 1724334 w 6386648"/>
                <a:gd name="connsiteY1818" fmla="*/ 437514 h 1849426"/>
                <a:gd name="connsiteX1819" fmla="*/ 1742358 w 6386648"/>
                <a:gd name="connsiteY1819" fmla="*/ 419490 h 1849426"/>
                <a:gd name="connsiteX1820" fmla="*/ 1183602 w 6386648"/>
                <a:gd name="connsiteY1820" fmla="*/ 413482 h 1849426"/>
                <a:gd name="connsiteX1821" fmla="*/ 1201627 w 6386648"/>
                <a:gd name="connsiteY1821" fmla="*/ 431506 h 1849426"/>
                <a:gd name="connsiteX1822" fmla="*/ 1183602 w 6386648"/>
                <a:gd name="connsiteY1822" fmla="*/ 449531 h 1849426"/>
                <a:gd name="connsiteX1823" fmla="*/ 1165578 w 6386648"/>
                <a:gd name="connsiteY1823" fmla="*/ 431506 h 1849426"/>
                <a:gd name="connsiteX1824" fmla="*/ 1183602 w 6386648"/>
                <a:gd name="connsiteY1824" fmla="*/ 413482 h 1849426"/>
                <a:gd name="connsiteX1825" fmla="*/ 895212 w 6386648"/>
                <a:gd name="connsiteY1825" fmla="*/ 413482 h 1849426"/>
                <a:gd name="connsiteX1826" fmla="*/ 913236 w 6386648"/>
                <a:gd name="connsiteY1826" fmla="*/ 431506 h 1849426"/>
                <a:gd name="connsiteX1827" fmla="*/ 895212 w 6386648"/>
                <a:gd name="connsiteY1827" fmla="*/ 449531 h 1849426"/>
                <a:gd name="connsiteX1828" fmla="*/ 877187 w 6386648"/>
                <a:gd name="connsiteY1828" fmla="*/ 431506 h 1849426"/>
                <a:gd name="connsiteX1829" fmla="*/ 895212 w 6386648"/>
                <a:gd name="connsiteY1829" fmla="*/ 413482 h 1849426"/>
                <a:gd name="connsiteX1830" fmla="*/ 672910 w 6386648"/>
                <a:gd name="connsiteY1830" fmla="*/ 413482 h 1849426"/>
                <a:gd name="connsiteX1831" fmla="*/ 690935 w 6386648"/>
                <a:gd name="connsiteY1831" fmla="*/ 431506 h 1849426"/>
                <a:gd name="connsiteX1832" fmla="*/ 672910 w 6386648"/>
                <a:gd name="connsiteY1832" fmla="*/ 449531 h 1849426"/>
                <a:gd name="connsiteX1833" fmla="*/ 654886 w 6386648"/>
                <a:gd name="connsiteY1833" fmla="*/ 431506 h 1849426"/>
                <a:gd name="connsiteX1834" fmla="*/ 672910 w 6386648"/>
                <a:gd name="connsiteY1834" fmla="*/ 413482 h 1849426"/>
                <a:gd name="connsiteX1835" fmla="*/ 3719035 w 6386648"/>
                <a:gd name="connsiteY1835" fmla="*/ 407474 h 1849426"/>
                <a:gd name="connsiteX1836" fmla="*/ 3737060 w 6386648"/>
                <a:gd name="connsiteY1836" fmla="*/ 425499 h 1849426"/>
                <a:gd name="connsiteX1837" fmla="*/ 3719035 w 6386648"/>
                <a:gd name="connsiteY1837" fmla="*/ 443523 h 1849426"/>
                <a:gd name="connsiteX1838" fmla="*/ 3701011 w 6386648"/>
                <a:gd name="connsiteY1838" fmla="*/ 425499 h 1849426"/>
                <a:gd name="connsiteX1839" fmla="*/ 3719035 w 6386648"/>
                <a:gd name="connsiteY1839" fmla="*/ 407474 h 1849426"/>
                <a:gd name="connsiteX1840" fmla="*/ 6002126 w 6386648"/>
                <a:gd name="connsiteY1840" fmla="*/ 401466 h 1849426"/>
                <a:gd name="connsiteX1841" fmla="*/ 6020151 w 6386648"/>
                <a:gd name="connsiteY1841" fmla="*/ 419490 h 1849426"/>
                <a:gd name="connsiteX1842" fmla="*/ 6002126 w 6386648"/>
                <a:gd name="connsiteY1842" fmla="*/ 437515 h 1849426"/>
                <a:gd name="connsiteX1843" fmla="*/ 5984102 w 6386648"/>
                <a:gd name="connsiteY1843" fmla="*/ 419490 h 1849426"/>
                <a:gd name="connsiteX1844" fmla="*/ 6002126 w 6386648"/>
                <a:gd name="connsiteY1844" fmla="*/ 401466 h 1849426"/>
                <a:gd name="connsiteX1845" fmla="*/ 1970668 w 6386648"/>
                <a:gd name="connsiteY1845" fmla="*/ 401466 h 1849426"/>
                <a:gd name="connsiteX1846" fmla="*/ 1988693 w 6386648"/>
                <a:gd name="connsiteY1846" fmla="*/ 419490 h 1849426"/>
                <a:gd name="connsiteX1847" fmla="*/ 1970668 w 6386648"/>
                <a:gd name="connsiteY1847" fmla="*/ 437515 h 1849426"/>
                <a:gd name="connsiteX1848" fmla="*/ 1952644 w 6386648"/>
                <a:gd name="connsiteY1848" fmla="*/ 419490 h 1849426"/>
                <a:gd name="connsiteX1849" fmla="*/ 1970668 w 6386648"/>
                <a:gd name="connsiteY1849" fmla="*/ 401466 h 1849426"/>
                <a:gd name="connsiteX1850" fmla="*/ 5533492 w 6386648"/>
                <a:gd name="connsiteY1850" fmla="*/ 395457 h 1849426"/>
                <a:gd name="connsiteX1851" fmla="*/ 5551517 w 6386648"/>
                <a:gd name="connsiteY1851" fmla="*/ 413481 h 1849426"/>
                <a:gd name="connsiteX1852" fmla="*/ 5533492 w 6386648"/>
                <a:gd name="connsiteY1852" fmla="*/ 431506 h 1849426"/>
                <a:gd name="connsiteX1853" fmla="*/ 5515468 w 6386648"/>
                <a:gd name="connsiteY1853" fmla="*/ 413481 h 1849426"/>
                <a:gd name="connsiteX1854" fmla="*/ 5533492 w 6386648"/>
                <a:gd name="connsiteY1854" fmla="*/ 395457 h 1849426"/>
                <a:gd name="connsiteX1855" fmla="*/ 3166287 w 6386648"/>
                <a:gd name="connsiteY1855" fmla="*/ 395457 h 1849426"/>
                <a:gd name="connsiteX1856" fmla="*/ 3184312 w 6386648"/>
                <a:gd name="connsiteY1856" fmla="*/ 413481 h 1849426"/>
                <a:gd name="connsiteX1857" fmla="*/ 3166287 w 6386648"/>
                <a:gd name="connsiteY1857" fmla="*/ 431506 h 1849426"/>
                <a:gd name="connsiteX1858" fmla="*/ 3148262 w 6386648"/>
                <a:gd name="connsiteY1858" fmla="*/ 413481 h 1849426"/>
                <a:gd name="connsiteX1859" fmla="*/ 3166287 w 6386648"/>
                <a:gd name="connsiteY1859" fmla="*/ 395457 h 1849426"/>
                <a:gd name="connsiteX1860" fmla="*/ 2373213 w 6386648"/>
                <a:gd name="connsiteY1860" fmla="*/ 395457 h 1849426"/>
                <a:gd name="connsiteX1861" fmla="*/ 2391238 w 6386648"/>
                <a:gd name="connsiteY1861" fmla="*/ 413481 h 1849426"/>
                <a:gd name="connsiteX1862" fmla="*/ 2373213 w 6386648"/>
                <a:gd name="connsiteY1862" fmla="*/ 431506 h 1849426"/>
                <a:gd name="connsiteX1863" fmla="*/ 2355189 w 6386648"/>
                <a:gd name="connsiteY1863" fmla="*/ 413481 h 1849426"/>
                <a:gd name="connsiteX1864" fmla="*/ 2373213 w 6386648"/>
                <a:gd name="connsiteY1864" fmla="*/ 395457 h 1849426"/>
                <a:gd name="connsiteX1865" fmla="*/ 787065 w 6386648"/>
                <a:gd name="connsiteY1865" fmla="*/ 395457 h 1849426"/>
                <a:gd name="connsiteX1866" fmla="*/ 805090 w 6386648"/>
                <a:gd name="connsiteY1866" fmla="*/ 413481 h 1849426"/>
                <a:gd name="connsiteX1867" fmla="*/ 787065 w 6386648"/>
                <a:gd name="connsiteY1867" fmla="*/ 431506 h 1849426"/>
                <a:gd name="connsiteX1868" fmla="*/ 769041 w 6386648"/>
                <a:gd name="connsiteY1868" fmla="*/ 413481 h 1849426"/>
                <a:gd name="connsiteX1869" fmla="*/ 787065 w 6386648"/>
                <a:gd name="connsiteY1869" fmla="*/ 395457 h 1849426"/>
                <a:gd name="connsiteX1870" fmla="*/ 6344591 w 6386648"/>
                <a:gd name="connsiteY1870" fmla="*/ 389449 h 1849426"/>
                <a:gd name="connsiteX1871" fmla="*/ 6362615 w 6386648"/>
                <a:gd name="connsiteY1871" fmla="*/ 407473 h 1849426"/>
                <a:gd name="connsiteX1872" fmla="*/ 6344591 w 6386648"/>
                <a:gd name="connsiteY1872" fmla="*/ 425498 h 1849426"/>
                <a:gd name="connsiteX1873" fmla="*/ 6326566 w 6386648"/>
                <a:gd name="connsiteY1873" fmla="*/ 407473 h 1849426"/>
                <a:gd name="connsiteX1874" fmla="*/ 6344591 w 6386648"/>
                <a:gd name="connsiteY1874" fmla="*/ 389449 h 1849426"/>
                <a:gd name="connsiteX1875" fmla="*/ 5407321 w 6386648"/>
                <a:gd name="connsiteY1875" fmla="*/ 383441 h 1849426"/>
                <a:gd name="connsiteX1876" fmla="*/ 5425346 w 6386648"/>
                <a:gd name="connsiteY1876" fmla="*/ 401465 h 1849426"/>
                <a:gd name="connsiteX1877" fmla="*/ 5407321 w 6386648"/>
                <a:gd name="connsiteY1877" fmla="*/ 419490 h 1849426"/>
                <a:gd name="connsiteX1878" fmla="*/ 5389297 w 6386648"/>
                <a:gd name="connsiteY1878" fmla="*/ 401465 h 1849426"/>
                <a:gd name="connsiteX1879" fmla="*/ 5407321 w 6386648"/>
                <a:gd name="connsiteY1879" fmla="*/ 383441 h 1849426"/>
                <a:gd name="connsiteX1880" fmla="*/ 5233085 w 6386648"/>
                <a:gd name="connsiteY1880" fmla="*/ 383441 h 1849426"/>
                <a:gd name="connsiteX1881" fmla="*/ 5251110 w 6386648"/>
                <a:gd name="connsiteY1881" fmla="*/ 401465 h 1849426"/>
                <a:gd name="connsiteX1882" fmla="*/ 5233085 w 6386648"/>
                <a:gd name="connsiteY1882" fmla="*/ 419490 h 1849426"/>
                <a:gd name="connsiteX1883" fmla="*/ 5215061 w 6386648"/>
                <a:gd name="connsiteY1883" fmla="*/ 401465 h 1849426"/>
                <a:gd name="connsiteX1884" fmla="*/ 5233085 w 6386648"/>
                <a:gd name="connsiteY1884" fmla="*/ 383441 h 1849426"/>
                <a:gd name="connsiteX1885" fmla="*/ 4956711 w 6386648"/>
                <a:gd name="connsiteY1885" fmla="*/ 383441 h 1849426"/>
                <a:gd name="connsiteX1886" fmla="*/ 4974736 w 6386648"/>
                <a:gd name="connsiteY1886" fmla="*/ 401465 h 1849426"/>
                <a:gd name="connsiteX1887" fmla="*/ 4956711 w 6386648"/>
                <a:gd name="connsiteY1887" fmla="*/ 419490 h 1849426"/>
                <a:gd name="connsiteX1888" fmla="*/ 4938687 w 6386648"/>
                <a:gd name="connsiteY1888" fmla="*/ 401465 h 1849426"/>
                <a:gd name="connsiteX1889" fmla="*/ 4956711 w 6386648"/>
                <a:gd name="connsiteY1889" fmla="*/ 383441 h 1849426"/>
                <a:gd name="connsiteX1890" fmla="*/ 3604880 w 6386648"/>
                <a:gd name="connsiteY1890" fmla="*/ 377433 h 1849426"/>
                <a:gd name="connsiteX1891" fmla="*/ 3622905 w 6386648"/>
                <a:gd name="connsiteY1891" fmla="*/ 395458 h 1849426"/>
                <a:gd name="connsiteX1892" fmla="*/ 3604880 w 6386648"/>
                <a:gd name="connsiteY1892" fmla="*/ 413482 h 1849426"/>
                <a:gd name="connsiteX1893" fmla="*/ 3586856 w 6386648"/>
                <a:gd name="connsiteY1893" fmla="*/ 395458 h 1849426"/>
                <a:gd name="connsiteX1894" fmla="*/ 3604880 w 6386648"/>
                <a:gd name="connsiteY1894" fmla="*/ 377433 h 1849426"/>
                <a:gd name="connsiteX1895" fmla="*/ 5082882 w 6386648"/>
                <a:gd name="connsiteY1895" fmla="*/ 371425 h 1849426"/>
                <a:gd name="connsiteX1896" fmla="*/ 5100907 w 6386648"/>
                <a:gd name="connsiteY1896" fmla="*/ 389449 h 1849426"/>
                <a:gd name="connsiteX1897" fmla="*/ 5082882 w 6386648"/>
                <a:gd name="connsiteY1897" fmla="*/ 407474 h 1849426"/>
                <a:gd name="connsiteX1898" fmla="*/ 5064858 w 6386648"/>
                <a:gd name="connsiteY1898" fmla="*/ 389449 h 1849426"/>
                <a:gd name="connsiteX1899" fmla="*/ 5082882 w 6386648"/>
                <a:gd name="connsiteY1899" fmla="*/ 371425 h 1849426"/>
                <a:gd name="connsiteX1900" fmla="*/ 4638280 w 6386648"/>
                <a:gd name="connsiteY1900" fmla="*/ 371425 h 1849426"/>
                <a:gd name="connsiteX1901" fmla="*/ 4656305 w 6386648"/>
                <a:gd name="connsiteY1901" fmla="*/ 389449 h 1849426"/>
                <a:gd name="connsiteX1902" fmla="*/ 4638280 w 6386648"/>
                <a:gd name="connsiteY1902" fmla="*/ 407474 h 1849426"/>
                <a:gd name="connsiteX1903" fmla="*/ 4620255 w 6386648"/>
                <a:gd name="connsiteY1903" fmla="*/ 389449 h 1849426"/>
                <a:gd name="connsiteX1904" fmla="*/ 4638280 w 6386648"/>
                <a:gd name="connsiteY1904" fmla="*/ 371425 h 1849426"/>
                <a:gd name="connsiteX1905" fmla="*/ 4289808 w 6386648"/>
                <a:gd name="connsiteY1905" fmla="*/ 371425 h 1849426"/>
                <a:gd name="connsiteX1906" fmla="*/ 4307833 w 6386648"/>
                <a:gd name="connsiteY1906" fmla="*/ 389449 h 1849426"/>
                <a:gd name="connsiteX1907" fmla="*/ 4289808 w 6386648"/>
                <a:gd name="connsiteY1907" fmla="*/ 407474 h 1849426"/>
                <a:gd name="connsiteX1908" fmla="*/ 4271784 w 6386648"/>
                <a:gd name="connsiteY1908" fmla="*/ 389449 h 1849426"/>
                <a:gd name="connsiteX1909" fmla="*/ 4289808 w 6386648"/>
                <a:gd name="connsiteY1909" fmla="*/ 371425 h 1849426"/>
                <a:gd name="connsiteX1910" fmla="*/ 3412620 w 6386648"/>
                <a:gd name="connsiteY1910" fmla="*/ 371425 h 1849426"/>
                <a:gd name="connsiteX1911" fmla="*/ 3430645 w 6386648"/>
                <a:gd name="connsiteY1911" fmla="*/ 389449 h 1849426"/>
                <a:gd name="connsiteX1912" fmla="*/ 3412620 w 6386648"/>
                <a:gd name="connsiteY1912" fmla="*/ 407474 h 1849426"/>
                <a:gd name="connsiteX1913" fmla="*/ 3394596 w 6386648"/>
                <a:gd name="connsiteY1913" fmla="*/ 389449 h 1849426"/>
                <a:gd name="connsiteX1914" fmla="*/ 3412620 w 6386648"/>
                <a:gd name="connsiteY1914" fmla="*/ 371425 h 1849426"/>
                <a:gd name="connsiteX1915" fmla="*/ 3286449 w 6386648"/>
                <a:gd name="connsiteY1915" fmla="*/ 371425 h 1849426"/>
                <a:gd name="connsiteX1916" fmla="*/ 3304474 w 6386648"/>
                <a:gd name="connsiteY1916" fmla="*/ 389449 h 1849426"/>
                <a:gd name="connsiteX1917" fmla="*/ 3286449 w 6386648"/>
                <a:gd name="connsiteY1917" fmla="*/ 407474 h 1849426"/>
                <a:gd name="connsiteX1918" fmla="*/ 3268424 w 6386648"/>
                <a:gd name="connsiteY1918" fmla="*/ 389449 h 1849426"/>
                <a:gd name="connsiteX1919" fmla="*/ 3286449 w 6386648"/>
                <a:gd name="connsiteY1919" fmla="*/ 371425 h 1849426"/>
                <a:gd name="connsiteX1920" fmla="*/ 2204985 w 6386648"/>
                <a:gd name="connsiteY1920" fmla="*/ 371425 h 1849426"/>
                <a:gd name="connsiteX1921" fmla="*/ 2223010 w 6386648"/>
                <a:gd name="connsiteY1921" fmla="*/ 389449 h 1849426"/>
                <a:gd name="connsiteX1922" fmla="*/ 2204985 w 6386648"/>
                <a:gd name="connsiteY1922" fmla="*/ 407474 h 1849426"/>
                <a:gd name="connsiteX1923" fmla="*/ 2186961 w 6386648"/>
                <a:gd name="connsiteY1923" fmla="*/ 389449 h 1849426"/>
                <a:gd name="connsiteX1924" fmla="*/ 2204985 w 6386648"/>
                <a:gd name="connsiteY1924" fmla="*/ 371425 h 1849426"/>
                <a:gd name="connsiteX1925" fmla="*/ 1033398 w 6386648"/>
                <a:gd name="connsiteY1925" fmla="*/ 371425 h 1849426"/>
                <a:gd name="connsiteX1926" fmla="*/ 1051423 w 6386648"/>
                <a:gd name="connsiteY1926" fmla="*/ 389449 h 1849426"/>
                <a:gd name="connsiteX1927" fmla="*/ 1033398 w 6386648"/>
                <a:gd name="connsiteY1927" fmla="*/ 407474 h 1849426"/>
                <a:gd name="connsiteX1928" fmla="*/ 1015374 w 6386648"/>
                <a:gd name="connsiteY1928" fmla="*/ 389449 h 1849426"/>
                <a:gd name="connsiteX1929" fmla="*/ 1033398 w 6386648"/>
                <a:gd name="connsiteY1929" fmla="*/ 371425 h 1849426"/>
                <a:gd name="connsiteX1930" fmla="*/ 432585 w 6386648"/>
                <a:gd name="connsiteY1930" fmla="*/ 371425 h 1849426"/>
                <a:gd name="connsiteX1931" fmla="*/ 450610 w 6386648"/>
                <a:gd name="connsiteY1931" fmla="*/ 389449 h 1849426"/>
                <a:gd name="connsiteX1932" fmla="*/ 432585 w 6386648"/>
                <a:gd name="connsiteY1932" fmla="*/ 407474 h 1849426"/>
                <a:gd name="connsiteX1933" fmla="*/ 414561 w 6386648"/>
                <a:gd name="connsiteY1933" fmla="*/ 389449 h 1849426"/>
                <a:gd name="connsiteX1934" fmla="*/ 432585 w 6386648"/>
                <a:gd name="connsiteY1934" fmla="*/ 371425 h 1849426"/>
                <a:gd name="connsiteX1935" fmla="*/ 4037466 w 6386648"/>
                <a:gd name="connsiteY1935" fmla="*/ 365417 h 1849426"/>
                <a:gd name="connsiteX1936" fmla="*/ 4055491 w 6386648"/>
                <a:gd name="connsiteY1936" fmla="*/ 383441 h 1849426"/>
                <a:gd name="connsiteX1937" fmla="*/ 4037466 w 6386648"/>
                <a:gd name="connsiteY1937" fmla="*/ 401466 h 1849426"/>
                <a:gd name="connsiteX1938" fmla="*/ 4019441 w 6386648"/>
                <a:gd name="connsiteY1938" fmla="*/ 383441 h 1849426"/>
                <a:gd name="connsiteX1939" fmla="*/ 4037466 w 6386648"/>
                <a:gd name="connsiteY1939" fmla="*/ 365417 h 1849426"/>
                <a:gd name="connsiteX1940" fmla="*/ 2943986 w 6386648"/>
                <a:gd name="connsiteY1940" fmla="*/ 365417 h 1849426"/>
                <a:gd name="connsiteX1941" fmla="*/ 2962011 w 6386648"/>
                <a:gd name="connsiteY1941" fmla="*/ 383441 h 1849426"/>
                <a:gd name="connsiteX1942" fmla="*/ 2943986 w 6386648"/>
                <a:gd name="connsiteY1942" fmla="*/ 401466 h 1849426"/>
                <a:gd name="connsiteX1943" fmla="*/ 2925962 w 6386648"/>
                <a:gd name="connsiteY1943" fmla="*/ 383441 h 1849426"/>
                <a:gd name="connsiteX1944" fmla="*/ 2943986 w 6386648"/>
                <a:gd name="connsiteY1944" fmla="*/ 365417 h 1849426"/>
                <a:gd name="connsiteX1945" fmla="*/ 2811807 w 6386648"/>
                <a:gd name="connsiteY1945" fmla="*/ 365417 h 1849426"/>
                <a:gd name="connsiteX1946" fmla="*/ 2829832 w 6386648"/>
                <a:gd name="connsiteY1946" fmla="*/ 383441 h 1849426"/>
                <a:gd name="connsiteX1947" fmla="*/ 2811807 w 6386648"/>
                <a:gd name="connsiteY1947" fmla="*/ 401466 h 1849426"/>
                <a:gd name="connsiteX1948" fmla="*/ 2793783 w 6386648"/>
                <a:gd name="connsiteY1948" fmla="*/ 383441 h 1849426"/>
                <a:gd name="connsiteX1949" fmla="*/ 2811807 w 6386648"/>
                <a:gd name="connsiteY1949" fmla="*/ 365417 h 1849426"/>
                <a:gd name="connsiteX1950" fmla="*/ 5899988 w 6386648"/>
                <a:gd name="connsiteY1950" fmla="*/ 353401 h 1849426"/>
                <a:gd name="connsiteX1951" fmla="*/ 5918013 w 6386648"/>
                <a:gd name="connsiteY1951" fmla="*/ 371425 h 1849426"/>
                <a:gd name="connsiteX1952" fmla="*/ 5899988 w 6386648"/>
                <a:gd name="connsiteY1952" fmla="*/ 389450 h 1849426"/>
                <a:gd name="connsiteX1953" fmla="*/ 5881963 w 6386648"/>
                <a:gd name="connsiteY1953" fmla="*/ 371425 h 1849426"/>
                <a:gd name="connsiteX1954" fmla="*/ 5899988 w 6386648"/>
                <a:gd name="connsiteY1954" fmla="*/ 353401 h 1849426"/>
                <a:gd name="connsiteX1955" fmla="*/ 4842556 w 6386648"/>
                <a:gd name="connsiteY1955" fmla="*/ 353401 h 1849426"/>
                <a:gd name="connsiteX1956" fmla="*/ 4860581 w 6386648"/>
                <a:gd name="connsiteY1956" fmla="*/ 371425 h 1849426"/>
                <a:gd name="connsiteX1957" fmla="*/ 4842556 w 6386648"/>
                <a:gd name="connsiteY1957" fmla="*/ 389450 h 1849426"/>
                <a:gd name="connsiteX1958" fmla="*/ 4824532 w 6386648"/>
                <a:gd name="connsiteY1958" fmla="*/ 371425 h 1849426"/>
                <a:gd name="connsiteX1959" fmla="*/ 4842556 w 6386648"/>
                <a:gd name="connsiteY1959" fmla="*/ 353401 h 1849426"/>
                <a:gd name="connsiteX1960" fmla="*/ 4518117 w 6386648"/>
                <a:gd name="connsiteY1960" fmla="*/ 353401 h 1849426"/>
                <a:gd name="connsiteX1961" fmla="*/ 4536142 w 6386648"/>
                <a:gd name="connsiteY1961" fmla="*/ 371425 h 1849426"/>
                <a:gd name="connsiteX1962" fmla="*/ 4518117 w 6386648"/>
                <a:gd name="connsiteY1962" fmla="*/ 389450 h 1849426"/>
                <a:gd name="connsiteX1963" fmla="*/ 4500092 w 6386648"/>
                <a:gd name="connsiteY1963" fmla="*/ 371425 h 1849426"/>
                <a:gd name="connsiteX1964" fmla="*/ 4518117 w 6386648"/>
                <a:gd name="connsiteY1964" fmla="*/ 353401 h 1849426"/>
                <a:gd name="connsiteX1965" fmla="*/ 4403962 w 6386648"/>
                <a:gd name="connsiteY1965" fmla="*/ 353401 h 1849426"/>
                <a:gd name="connsiteX1966" fmla="*/ 4421987 w 6386648"/>
                <a:gd name="connsiteY1966" fmla="*/ 371425 h 1849426"/>
                <a:gd name="connsiteX1967" fmla="*/ 4403962 w 6386648"/>
                <a:gd name="connsiteY1967" fmla="*/ 389450 h 1849426"/>
                <a:gd name="connsiteX1968" fmla="*/ 4385938 w 6386648"/>
                <a:gd name="connsiteY1968" fmla="*/ 371425 h 1849426"/>
                <a:gd name="connsiteX1969" fmla="*/ 4403962 w 6386648"/>
                <a:gd name="connsiteY1969" fmla="*/ 353401 h 1849426"/>
                <a:gd name="connsiteX1970" fmla="*/ 4151621 w 6386648"/>
                <a:gd name="connsiteY1970" fmla="*/ 353401 h 1849426"/>
                <a:gd name="connsiteX1971" fmla="*/ 4169646 w 6386648"/>
                <a:gd name="connsiteY1971" fmla="*/ 371425 h 1849426"/>
                <a:gd name="connsiteX1972" fmla="*/ 4151621 w 6386648"/>
                <a:gd name="connsiteY1972" fmla="*/ 389450 h 1849426"/>
                <a:gd name="connsiteX1973" fmla="*/ 4133597 w 6386648"/>
                <a:gd name="connsiteY1973" fmla="*/ 371425 h 1849426"/>
                <a:gd name="connsiteX1974" fmla="*/ 4151621 w 6386648"/>
                <a:gd name="connsiteY1974" fmla="*/ 353401 h 1849426"/>
                <a:gd name="connsiteX1975" fmla="*/ 3911295 w 6386648"/>
                <a:gd name="connsiteY1975" fmla="*/ 347392 h 1849426"/>
                <a:gd name="connsiteX1976" fmla="*/ 3929320 w 6386648"/>
                <a:gd name="connsiteY1976" fmla="*/ 365417 h 1849426"/>
                <a:gd name="connsiteX1977" fmla="*/ 3911295 w 6386648"/>
                <a:gd name="connsiteY1977" fmla="*/ 383441 h 1849426"/>
                <a:gd name="connsiteX1978" fmla="*/ 3893271 w 6386648"/>
                <a:gd name="connsiteY1978" fmla="*/ 365417 h 1849426"/>
                <a:gd name="connsiteX1979" fmla="*/ 3911295 w 6386648"/>
                <a:gd name="connsiteY1979" fmla="*/ 347392 h 1849426"/>
                <a:gd name="connsiteX1980" fmla="*/ 2078814 w 6386648"/>
                <a:gd name="connsiteY1980" fmla="*/ 347392 h 1849426"/>
                <a:gd name="connsiteX1981" fmla="*/ 2096839 w 6386648"/>
                <a:gd name="connsiteY1981" fmla="*/ 365417 h 1849426"/>
                <a:gd name="connsiteX1982" fmla="*/ 2078814 w 6386648"/>
                <a:gd name="connsiteY1982" fmla="*/ 383441 h 1849426"/>
                <a:gd name="connsiteX1983" fmla="*/ 2060790 w 6386648"/>
                <a:gd name="connsiteY1983" fmla="*/ 365417 h 1849426"/>
                <a:gd name="connsiteX1984" fmla="*/ 2078814 w 6386648"/>
                <a:gd name="connsiteY1984" fmla="*/ 347392 h 1849426"/>
                <a:gd name="connsiteX1985" fmla="*/ 1345823 w 6386648"/>
                <a:gd name="connsiteY1985" fmla="*/ 347392 h 1849426"/>
                <a:gd name="connsiteX1986" fmla="*/ 1363847 w 6386648"/>
                <a:gd name="connsiteY1986" fmla="*/ 365417 h 1849426"/>
                <a:gd name="connsiteX1987" fmla="*/ 1345823 w 6386648"/>
                <a:gd name="connsiteY1987" fmla="*/ 383441 h 1849426"/>
                <a:gd name="connsiteX1988" fmla="*/ 1327798 w 6386648"/>
                <a:gd name="connsiteY1988" fmla="*/ 365417 h 1849426"/>
                <a:gd name="connsiteX1989" fmla="*/ 1345823 w 6386648"/>
                <a:gd name="connsiteY1989" fmla="*/ 347392 h 1849426"/>
                <a:gd name="connsiteX1990" fmla="*/ 1556107 w 6386648"/>
                <a:gd name="connsiteY1990" fmla="*/ 341384 h 1849426"/>
                <a:gd name="connsiteX1991" fmla="*/ 1574131 w 6386648"/>
                <a:gd name="connsiteY1991" fmla="*/ 359408 h 1849426"/>
                <a:gd name="connsiteX1992" fmla="*/ 1556107 w 6386648"/>
                <a:gd name="connsiteY1992" fmla="*/ 377433 h 1849426"/>
                <a:gd name="connsiteX1993" fmla="*/ 1538082 w 6386648"/>
                <a:gd name="connsiteY1993" fmla="*/ 359408 h 1849426"/>
                <a:gd name="connsiteX1994" fmla="*/ 1556107 w 6386648"/>
                <a:gd name="connsiteY1994" fmla="*/ 341384 h 1849426"/>
                <a:gd name="connsiteX1995" fmla="*/ 306414 w 6386648"/>
                <a:gd name="connsiteY1995" fmla="*/ 341384 h 1849426"/>
                <a:gd name="connsiteX1996" fmla="*/ 324439 w 6386648"/>
                <a:gd name="connsiteY1996" fmla="*/ 359408 h 1849426"/>
                <a:gd name="connsiteX1997" fmla="*/ 306414 w 6386648"/>
                <a:gd name="connsiteY1997" fmla="*/ 377433 h 1849426"/>
                <a:gd name="connsiteX1998" fmla="*/ 288390 w 6386648"/>
                <a:gd name="connsiteY1998" fmla="*/ 359408 h 1849426"/>
                <a:gd name="connsiteX1999" fmla="*/ 306414 w 6386648"/>
                <a:gd name="connsiteY1999" fmla="*/ 341384 h 1849426"/>
                <a:gd name="connsiteX2000" fmla="*/ 6206403 w 6386648"/>
                <a:gd name="connsiteY2000" fmla="*/ 335376 h 1849426"/>
                <a:gd name="connsiteX2001" fmla="*/ 6224428 w 6386648"/>
                <a:gd name="connsiteY2001" fmla="*/ 353400 h 1849426"/>
                <a:gd name="connsiteX2002" fmla="*/ 6206403 w 6386648"/>
                <a:gd name="connsiteY2002" fmla="*/ 371425 h 1849426"/>
                <a:gd name="connsiteX2003" fmla="*/ 6188379 w 6386648"/>
                <a:gd name="connsiteY2003" fmla="*/ 353400 h 1849426"/>
                <a:gd name="connsiteX2004" fmla="*/ 6206403 w 6386648"/>
                <a:gd name="connsiteY2004" fmla="*/ 335376 h 1849426"/>
                <a:gd name="connsiteX2005" fmla="*/ 1670261 w 6386648"/>
                <a:gd name="connsiteY2005" fmla="*/ 335376 h 1849426"/>
                <a:gd name="connsiteX2006" fmla="*/ 1688286 w 6386648"/>
                <a:gd name="connsiteY2006" fmla="*/ 353400 h 1849426"/>
                <a:gd name="connsiteX2007" fmla="*/ 1670261 w 6386648"/>
                <a:gd name="connsiteY2007" fmla="*/ 371425 h 1849426"/>
                <a:gd name="connsiteX2008" fmla="*/ 1652237 w 6386648"/>
                <a:gd name="connsiteY2008" fmla="*/ 353400 h 1849426"/>
                <a:gd name="connsiteX2009" fmla="*/ 1670261 w 6386648"/>
                <a:gd name="connsiteY2009" fmla="*/ 335376 h 1849426"/>
                <a:gd name="connsiteX2010" fmla="*/ 5767809 w 6386648"/>
                <a:gd name="connsiteY2010" fmla="*/ 329368 h 1849426"/>
                <a:gd name="connsiteX2011" fmla="*/ 5785834 w 6386648"/>
                <a:gd name="connsiteY2011" fmla="*/ 347392 h 1849426"/>
                <a:gd name="connsiteX2012" fmla="*/ 5767809 w 6386648"/>
                <a:gd name="connsiteY2012" fmla="*/ 365417 h 1849426"/>
                <a:gd name="connsiteX2013" fmla="*/ 5749785 w 6386648"/>
                <a:gd name="connsiteY2013" fmla="*/ 347392 h 1849426"/>
                <a:gd name="connsiteX2014" fmla="*/ 5767809 w 6386648"/>
                <a:gd name="connsiteY2014" fmla="*/ 329368 h 1849426"/>
                <a:gd name="connsiteX2015" fmla="*/ 3797141 w 6386648"/>
                <a:gd name="connsiteY2015" fmla="*/ 329368 h 1849426"/>
                <a:gd name="connsiteX2016" fmla="*/ 3815166 w 6386648"/>
                <a:gd name="connsiteY2016" fmla="*/ 347392 h 1849426"/>
                <a:gd name="connsiteX2017" fmla="*/ 3797141 w 6386648"/>
                <a:gd name="connsiteY2017" fmla="*/ 365417 h 1849426"/>
                <a:gd name="connsiteX2018" fmla="*/ 3779116 w 6386648"/>
                <a:gd name="connsiteY2018" fmla="*/ 347392 h 1849426"/>
                <a:gd name="connsiteX2019" fmla="*/ 3797141 w 6386648"/>
                <a:gd name="connsiteY2019" fmla="*/ 329368 h 1849426"/>
                <a:gd name="connsiteX2020" fmla="*/ 2673619 w 6386648"/>
                <a:gd name="connsiteY2020" fmla="*/ 329368 h 1849426"/>
                <a:gd name="connsiteX2021" fmla="*/ 2691644 w 6386648"/>
                <a:gd name="connsiteY2021" fmla="*/ 347392 h 1849426"/>
                <a:gd name="connsiteX2022" fmla="*/ 2673619 w 6386648"/>
                <a:gd name="connsiteY2022" fmla="*/ 365417 h 1849426"/>
                <a:gd name="connsiteX2023" fmla="*/ 2655595 w 6386648"/>
                <a:gd name="connsiteY2023" fmla="*/ 347392 h 1849426"/>
                <a:gd name="connsiteX2024" fmla="*/ 2673619 w 6386648"/>
                <a:gd name="connsiteY2024" fmla="*/ 329368 h 1849426"/>
                <a:gd name="connsiteX2025" fmla="*/ 1898570 w 6386648"/>
                <a:gd name="connsiteY2025" fmla="*/ 329368 h 1849426"/>
                <a:gd name="connsiteX2026" fmla="*/ 1916595 w 6386648"/>
                <a:gd name="connsiteY2026" fmla="*/ 347392 h 1849426"/>
                <a:gd name="connsiteX2027" fmla="*/ 1898570 w 6386648"/>
                <a:gd name="connsiteY2027" fmla="*/ 365417 h 1849426"/>
                <a:gd name="connsiteX2028" fmla="*/ 1880546 w 6386648"/>
                <a:gd name="connsiteY2028" fmla="*/ 347392 h 1849426"/>
                <a:gd name="connsiteX2029" fmla="*/ 1898570 w 6386648"/>
                <a:gd name="connsiteY2029" fmla="*/ 329368 h 1849426"/>
                <a:gd name="connsiteX2030" fmla="*/ 66089 w 6386648"/>
                <a:gd name="connsiteY2030" fmla="*/ 323360 h 1849426"/>
                <a:gd name="connsiteX2031" fmla="*/ 84114 w 6386648"/>
                <a:gd name="connsiteY2031" fmla="*/ 341384 h 1849426"/>
                <a:gd name="connsiteX2032" fmla="*/ 66089 w 6386648"/>
                <a:gd name="connsiteY2032" fmla="*/ 359409 h 1849426"/>
                <a:gd name="connsiteX2033" fmla="*/ 48065 w 6386648"/>
                <a:gd name="connsiteY2033" fmla="*/ 341384 h 1849426"/>
                <a:gd name="connsiteX2034" fmla="*/ 66089 w 6386648"/>
                <a:gd name="connsiteY2034" fmla="*/ 323360 h 1849426"/>
                <a:gd name="connsiteX2035" fmla="*/ 5647646 w 6386648"/>
                <a:gd name="connsiteY2035" fmla="*/ 317352 h 1849426"/>
                <a:gd name="connsiteX2036" fmla="*/ 5665671 w 6386648"/>
                <a:gd name="connsiteY2036" fmla="*/ 335377 h 1849426"/>
                <a:gd name="connsiteX2037" fmla="*/ 5647646 w 6386648"/>
                <a:gd name="connsiteY2037" fmla="*/ 353401 h 1849426"/>
                <a:gd name="connsiteX2038" fmla="*/ 5629622 w 6386648"/>
                <a:gd name="connsiteY2038" fmla="*/ 335377 h 1849426"/>
                <a:gd name="connsiteX2039" fmla="*/ 5647646 w 6386648"/>
                <a:gd name="connsiteY2039" fmla="*/ 317352 h 1849426"/>
                <a:gd name="connsiteX2040" fmla="*/ 3064148 w 6386648"/>
                <a:gd name="connsiteY2040" fmla="*/ 311344 h 1849426"/>
                <a:gd name="connsiteX2041" fmla="*/ 3082173 w 6386648"/>
                <a:gd name="connsiteY2041" fmla="*/ 329368 h 1849426"/>
                <a:gd name="connsiteX2042" fmla="*/ 3064148 w 6386648"/>
                <a:gd name="connsiteY2042" fmla="*/ 347393 h 1849426"/>
                <a:gd name="connsiteX2043" fmla="*/ 3046124 w 6386648"/>
                <a:gd name="connsiteY2043" fmla="*/ 329368 h 1849426"/>
                <a:gd name="connsiteX2044" fmla="*/ 3064148 w 6386648"/>
                <a:gd name="connsiteY2044" fmla="*/ 311344 h 1849426"/>
                <a:gd name="connsiteX2045" fmla="*/ 2553457 w 6386648"/>
                <a:gd name="connsiteY2045" fmla="*/ 311344 h 1849426"/>
                <a:gd name="connsiteX2046" fmla="*/ 2571482 w 6386648"/>
                <a:gd name="connsiteY2046" fmla="*/ 329368 h 1849426"/>
                <a:gd name="connsiteX2047" fmla="*/ 2553457 w 6386648"/>
                <a:gd name="connsiteY2047" fmla="*/ 347393 h 1849426"/>
                <a:gd name="connsiteX2048" fmla="*/ 2535433 w 6386648"/>
                <a:gd name="connsiteY2048" fmla="*/ 329368 h 1849426"/>
                <a:gd name="connsiteX2049" fmla="*/ 2553457 w 6386648"/>
                <a:gd name="connsiteY2049" fmla="*/ 311344 h 1849426"/>
                <a:gd name="connsiteX2050" fmla="*/ 6098257 w 6386648"/>
                <a:gd name="connsiteY2050" fmla="*/ 305335 h 1849426"/>
                <a:gd name="connsiteX2051" fmla="*/ 6116282 w 6386648"/>
                <a:gd name="connsiteY2051" fmla="*/ 323359 h 1849426"/>
                <a:gd name="connsiteX2052" fmla="*/ 6098257 w 6386648"/>
                <a:gd name="connsiteY2052" fmla="*/ 341384 h 1849426"/>
                <a:gd name="connsiteX2053" fmla="*/ 6080233 w 6386648"/>
                <a:gd name="connsiteY2053" fmla="*/ 323359 h 1849426"/>
                <a:gd name="connsiteX2054" fmla="*/ 6098257 w 6386648"/>
                <a:gd name="connsiteY2054" fmla="*/ 305335 h 1849426"/>
                <a:gd name="connsiteX2055" fmla="*/ 1231667 w 6386648"/>
                <a:gd name="connsiteY2055" fmla="*/ 305335 h 1849426"/>
                <a:gd name="connsiteX2056" fmla="*/ 1249692 w 6386648"/>
                <a:gd name="connsiteY2056" fmla="*/ 323359 h 1849426"/>
                <a:gd name="connsiteX2057" fmla="*/ 1231667 w 6386648"/>
                <a:gd name="connsiteY2057" fmla="*/ 341384 h 1849426"/>
                <a:gd name="connsiteX2058" fmla="*/ 1213643 w 6386648"/>
                <a:gd name="connsiteY2058" fmla="*/ 323359 h 1849426"/>
                <a:gd name="connsiteX2059" fmla="*/ 1231667 w 6386648"/>
                <a:gd name="connsiteY2059" fmla="*/ 305335 h 1849426"/>
                <a:gd name="connsiteX2060" fmla="*/ 174235 w 6386648"/>
                <a:gd name="connsiteY2060" fmla="*/ 305335 h 1849426"/>
                <a:gd name="connsiteX2061" fmla="*/ 192260 w 6386648"/>
                <a:gd name="connsiteY2061" fmla="*/ 323359 h 1849426"/>
                <a:gd name="connsiteX2062" fmla="*/ 174235 w 6386648"/>
                <a:gd name="connsiteY2062" fmla="*/ 341384 h 1849426"/>
                <a:gd name="connsiteX2063" fmla="*/ 156211 w 6386648"/>
                <a:gd name="connsiteY2063" fmla="*/ 323359 h 1849426"/>
                <a:gd name="connsiteX2064" fmla="*/ 174235 w 6386648"/>
                <a:gd name="connsiteY2064" fmla="*/ 305335 h 1849426"/>
                <a:gd name="connsiteX2065" fmla="*/ 3520767 w 6386648"/>
                <a:gd name="connsiteY2065" fmla="*/ 299327 h 1849426"/>
                <a:gd name="connsiteX2066" fmla="*/ 3538792 w 6386648"/>
                <a:gd name="connsiteY2066" fmla="*/ 317351 h 1849426"/>
                <a:gd name="connsiteX2067" fmla="*/ 3520767 w 6386648"/>
                <a:gd name="connsiteY2067" fmla="*/ 335376 h 1849426"/>
                <a:gd name="connsiteX2068" fmla="*/ 3502743 w 6386648"/>
                <a:gd name="connsiteY2068" fmla="*/ 317351 h 1849426"/>
                <a:gd name="connsiteX2069" fmla="*/ 3520767 w 6386648"/>
                <a:gd name="connsiteY2069" fmla="*/ 299327 h 1849426"/>
                <a:gd name="connsiteX2070" fmla="*/ 5347240 w 6386648"/>
                <a:gd name="connsiteY2070" fmla="*/ 293319 h 1849426"/>
                <a:gd name="connsiteX2071" fmla="*/ 5365265 w 6386648"/>
                <a:gd name="connsiteY2071" fmla="*/ 311343 h 1849426"/>
                <a:gd name="connsiteX2072" fmla="*/ 5347240 w 6386648"/>
                <a:gd name="connsiteY2072" fmla="*/ 329368 h 1849426"/>
                <a:gd name="connsiteX2073" fmla="*/ 5329216 w 6386648"/>
                <a:gd name="connsiteY2073" fmla="*/ 311343 h 1849426"/>
                <a:gd name="connsiteX2074" fmla="*/ 5347240 w 6386648"/>
                <a:gd name="connsiteY2074" fmla="*/ 293319 h 1849426"/>
                <a:gd name="connsiteX2075" fmla="*/ 2439302 w 6386648"/>
                <a:gd name="connsiteY2075" fmla="*/ 293319 h 1849426"/>
                <a:gd name="connsiteX2076" fmla="*/ 2457327 w 6386648"/>
                <a:gd name="connsiteY2076" fmla="*/ 311343 h 1849426"/>
                <a:gd name="connsiteX2077" fmla="*/ 2439302 w 6386648"/>
                <a:gd name="connsiteY2077" fmla="*/ 329368 h 1849426"/>
                <a:gd name="connsiteX2078" fmla="*/ 2421278 w 6386648"/>
                <a:gd name="connsiteY2078" fmla="*/ 311343 h 1849426"/>
                <a:gd name="connsiteX2079" fmla="*/ 2439302 w 6386648"/>
                <a:gd name="connsiteY2079" fmla="*/ 293319 h 1849426"/>
                <a:gd name="connsiteX2080" fmla="*/ 2301115 w 6386648"/>
                <a:gd name="connsiteY2080" fmla="*/ 293319 h 1849426"/>
                <a:gd name="connsiteX2081" fmla="*/ 2319140 w 6386648"/>
                <a:gd name="connsiteY2081" fmla="*/ 311343 h 1849426"/>
                <a:gd name="connsiteX2082" fmla="*/ 2301115 w 6386648"/>
                <a:gd name="connsiteY2082" fmla="*/ 329368 h 1849426"/>
                <a:gd name="connsiteX2083" fmla="*/ 2283091 w 6386648"/>
                <a:gd name="connsiteY2083" fmla="*/ 311343 h 1849426"/>
                <a:gd name="connsiteX2084" fmla="*/ 2301115 w 6386648"/>
                <a:gd name="connsiteY2084" fmla="*/ 293319 h 1849426"/>
                <a:gd name="connsiteX2085" fmla="*/ 1447960 w 6386648"/>
                <a:gd name="connsiteY2085" fmla="*/ 293319 h 1849426"/>
                <a:gd name="connsiteX2086" fmla="*/ 1465985 w 6386648"/>
                <a:gd name="connsiteY2086" fmla="*/ 311343 h 1849426"/>
                <a:gd name="connsiteX2087" fmla="*/ 1447960 w 6386648"/>
                <a:gd name="connsiteY2087" fmla="*/ 329368 h 1849426"/>
                <a:gd name="connsiteX2088" fmla="*/ 1429936 w 6386648"/>
                <a:gd name="connsiteY2088" fmla="*/ 311343 h 1849426"/>
                <a:gd name="connsiteX2089" fmla="*/ 1447960 w 6386648"/>
                <a:gd name="connsiteY2089" fmla="*/ 293319 h 1849426"/>
                <a:gd name="connsiteX2090" fmla="*/ 901219 w 6386648"/>
                <a:gd name="connsiteY2090" fmla="*/ 293319 h 1849426"/>
                <a:gd name="connsiteX2091" fmla="*/ 919244 w 6386648"/>
                <a:gd name="connsiteY2091" fmla="*/ 311343 h 1849426"/>
                <a:gd name="connsiteX2092" fmla="*/ 901219 w 6386648"/>
                <a:gd name="connsiteY2092" fmla="*/ 329368 h 1849426"/>
                <a:gd name="connsiteX2093" fmla="*/ 883195 w 6386648"/>
                <a:gd name="connsiteY2093" fmla="*/ 311343 h 1849426"/>
                <a:gd name="connsiteX2094" fmla="*/ 901219 w 6386648"/>
                <a:gd name="connsiteY2094" fmla="*/ 293319 h 1849426"/>
                <a:gd name="connsiteX2095" fmla="*/ 552748 w 6386648"/>
                <a:gd name="connsiteY2095" fmla="*/ 293319 h 1849426"/>
                <a:gd name="connsiteX2096" fmla="*/ 570773 w 6386648"/>
                <a:gd name="connsiteY2096" fmla="*/ 311343 h 1849426"/>
                <a:gd name="connsiteX2097" fmla="*/ 552748 w 6386648"/>
                <a:gd name="connsiteY2097" fmla="*/ 329368 h 1849426"/>
                <a:gd name="connsiteX2098" fmla="*/ 534724 w 6386648"/>
                <a:gd name="connsiteY2098" fmla="*/ 311343 h 1849426"/>
                <a:gd name="connsiteX2099" fmla="*/ 552748 w 6386648"/>
                <a:gd name="connsiteY2099" fmla="*/ 293319 h 1849426"/>
                <a:gd name="connsiteX2100" fmla="*/ 6326566 w 6386648"/>
                <a:gd name="connsiteY2100" fmla="*/ 287311 h 1849426"/>
                <a:gd name="connsiteX2101" fmla="*/ 6344591 w 6386648"/>
                <a:gd name="connsiteY2101" fmla="*/ 305336 h 1849426"/>
                <a:gd name="connsiteX2102" fmla="*/ 6326566 w 6386648"/>
                <a:gd name="connsiteY2102" fmla="*/ 323360 h 1849426"/>
                <a:gd name="connsiteX2103" fmla="*/ 6308542 w 6386648"/>
                <a:gd name="connsiteY2103" fmla="*/ 305336 h 1849426"/>
                <a:gd name="connsiteX2104" fmla="*/ 6326566 w 6386648"/>
                <a:gd name="connsiteY2104" fmla="*/ 287311 h 1849426"/>
                <a:gd name="connsiteX2105" fmla="*/ 5503451 w 6386648"/>
                <a:gd name="connsiteY2105" fmla="*/ 287311 h 1849426"/>
                <a:gd name="connsiteX2106" fmla="*/ 5521476 w 6386648"/>
                <a:gd name="connsiteY2106" fmla="*/ 305336 h 1849426"/>
                <a:gd name="connsiteX2107" fmla="*/ 5503451 w 6386648"/>
                <a:gd name="connsiteY2107" fmla="*/ 323360 h 1849426"/>
                <a:gd name="connsiteX2108" fmla="*/ 5485427 w 6386648"/>
                <a:gd name="connsiteY2108" fmla="*/ 305336 h 1849426"/>
                <a:gd name="connsiteX2109" fmla="*/ 5503451 w 6386648"/>
                <a:gd name="connsiteY2109" fmla="*/ 287311 h 1849426"/>
                <a:gd name="connsiteX2110" fmla="*/ 1808448 w 6386648"/>
                <a:gd name="connsiteY2110" fmla="*/ 287311 h 1849426"/>
                <a:gd name="connsiteX2111" fmla="*/ 1826473 w 6386648"/>
                <a:gd name="connsiteY2111" fmla="*/ 305336 h 1849426"/>
                <a:gd name="connsiteX2112" fmla="*/ 1808448 w 6386648"/>
                <a:gd name="connsiteY2112" fmla="*/ 323360 h 1849426"/>
                <a:gd name="connsiteX2113" fmla="*/ 1790424 w 6386648"/>
                <a:gd name="connsiteY2113" fmla="*/ 305336 h 1849426"/>
                <a:gd name="connsiteX2114" fmla="*/ 1808448 w 6386648"/>
                <a:gd name="connsiteY2114" fmla="*/ 287311 h 1849426"/>
                <a:gd name="connsiteX2115" fmla="*/ 672910 w 6386648"/>
                <a:gd name="connsiteY2115" fmla="*/ 287311 h 1849426"/>
                <a:gd name="connsiteX2116" fmla="*/ 690935 w 6386648"/>
                <a:gd name="connsiteY2116" fmla="*/ 305336 h 1849426"/>
                <a:gd name="connsiteX2117" fmla="*/ 672910 w 6386648"/>
                <a:gd name="connsiteY2117" fmla="*/ 323360 h 1849426"/>
                <a:gd name="connsiteX2118" fmla="*/ 654886 w 6386648"/>
                <a:gd name="connsiteY2118" fmla="*/ 305336 h 1849426"/>
                <a:gd name="connsiteX2119" fmla="*/ 672910 w 6386648"/>
                <a:gd name="connsiteY2119" fmla="*/ 287311 h 1849426"/>
                <a:gd name="connsiteX2120" fmla="*/ 4710377 w 6386648"/>
                <a:gd name="connsiteY2120" fmla="*/ 275295 h 1849426"/>
                <a:gd name="connsiteX2121" fmla="*/ 4728402 w 6386648"/>
                <a:gd name="connsiteY2121" fmla="*/ 293319 h 1849426"/>
                <a:gd name="connsiteX2122" fmla="*/ 4710377 w 6386648"/>
                <a:gd name="connsiteY2122" fmla="*/ 311344 h 1849426"/>
                <a:gd name="connsiteX2123" fmla="*/ 4692353 w 6386648"/>
                <a:gd name="connsiteY2123" fmla="*/ 293319 h 1849426"/>
                <a:gd name="connsiteX2124" fmla="*/ 4710377 w 6386648"/>
                <a:gd name="connsiteY2124" fmla="*/ 275295 h 1849426"/>
                <a:gd name="connsiteX2125" fmla="*/ 4962719 w 6386648"/>
                <a:gd name="connsiteY2125" fmla="*/ 269287 h 1849426"/>
                <a:gd name="connsiteX2126" fmla="*/ 4980744 w 6386648"/>
                <a:gd name="connsiteY2126" fmla="*/ 287311 h 1849426"/>
                <a:gd name="connsiteX2127" fmla="*/ 4962719 w 6386648"/>
                <a:gd name="connsiteY2127" fmla="*/ 305336 h 1849426"/>
                <a:gd name="connsiteX2128" fmla="*/ 4944695 w 6386648"/>
                <a:gd name="connsiteY2128" fmla="*/ 287311 h 1849426"/>
                <a:gd name="connsiteX2129" fmla="*/ 4962719 w 6386648"/>
                <a:gd name="connsiteY2129" fmla="*/ 269287 h 1849426"/>
                <a:gd name="connsiteX2130" fmla="*/ 3652945 w 6386648"/>
                <a:gd name="connsiteY2130" fmla="*/ 269287 h 1849426"/>
                <a:gd name="connsiteX2131" fmla="*/ 3670970 w 6386648"/>
                <a:gd name="connsiteY2131" fmla="*/ 287311 h 1849426"/>
                <a:gd name="connsiteX2132" fmla="*/ 3652945 w 6386648"/>
                <a:gd name="connsiteY2132" fmla="*/ 305336 h 1849426"/>
                <a:gd name="connsiteX2133" fmla="*/ 3634921 w 6386648"/>
                <a:gd name="connsiteY2133" fmla="*/ 287311 h 1849426"/>
                <a:gd name="connsiteX2134" fmla="*/ 3652945 w 6386648"/>
                <a:gd name="connsiteY2134" fmla="*/ 269287 h 1849426"/>
                <a:gd name="connsiteX2135" fmla="*/ 1123520 w 6386648"/>
                <a:gd name="connsiteY2135" fmla="*/ 269287 h 1849426"/>
                <a:gd name="connsiteX2136" fmla="*/ 1141545 w 6386648"/>
                <a:gd name="connsiteY2136" fmla="*/ 287311 h 1849426"/>
                <a:gd name="connsiteX2137" fmla="*/ 1123520 w 6386648"/>
                <a:gd name="connsiteY2137" fmla="*/ 305336 h 1849426"/>
                <a:gd name="connsiteX2138" fmla="*/ 1105496 w 6386648"/>
                <a:gd name="connsiteY2138" fmla="*/ 287311 h 1849426"/>
                <a:gd name="connsiteX2139" fmla="*/ 1123520 w 6386648"/>
                <a:gd name="connsiteY2139" fmla="*/ 269287 h 1849426"/>
                <a:gd name="connsiteX2140" fmla="*/ 5112922 w 6386648"/>
                <a:gd name="connsiteY2140" fmla="*/ 263279 h 1849426"/>
                <a:gd name="connsiteX2141" fmla="*/ 5130947 w 6386648"/>
                <a:gd name="connsiteY2141" fmla="*/ 281303 h 1849426"/>
                <a:gd name="connsiteX2142" fmla="*/ 5112922 w 6386648"/>
                <a:gd name="connsiteY2142" fmla="*/ 299328 h 1849426"/>
                <a:gd name="connsiteX2143" fmla="*/ 5094898 w 6386648"/>
                <a:gd name="connsiteY2143" fmla="*/ 281303 h 1849426"/>
                <a:gd name="connsiteX2144" fmla="*/ 5112922 w 6386648"/>
                <a:gd name="connsiteY2144" fmla="*/ 263279 h 1849426"/>
                <a:gd name="connsiteX2145" fmla="*/ 4217710 w 6386648"/>
                <a:gd name="connsiteY2145" fmla="*/ 263279 h 1849426"/>
                <a:gd name="connsiteX2146" fmla="*/ 4235735 w 6386648"/>
                <a:gd name="connsiteY2146" fmla="*/ 281303 h 1849426"/>
                <a:gd name="connsiteX2147" fmla="*/ 4217710 w 6386648"/>
                <a:gd name="connsiteY2147" fmla="*/ 299328 h 1849426"/>
                <a:gd name="connsiteX2148" fmla="*/ 4199685 w 6386648"/>
                <a:gd name="connsiteY2148" fmla="*/ 281303 h 1849426"/>
                <a:gd name="connsiteX2149" fmla="*/ 4217710 w 6386648"/>
                <a:gd name="connsiteY2149" fmla="*/ 263279 h 1849426"/>
                <a:gd name="connsiteX2150" fmla="*/ 3190319 w 6386648"/>
                <a:gd name="connsiteY2150" fmla="*/ 263279 h 1849426"/>
                <a:gd name="connsiteX2151" fmla="*/ 3208344 w 6386648"/>
                <a:gd name="connsiteY2151" fmla="*/ 281303 h 1849426"/>
                <a:gd name="connsiteX2152" fmla="*/ 3190319 w 6386648"/>
                <a:gd name="connsiteY2152" fmla="*/ 299328 h 1849426"/>
                <a:gd name="connsiteX2153" fmla="*/ 3172295 w 6386648"/>
                <a:gd name="connsiteY2153" fmla="*/ 281303 h 1849426"/>
                <a:gd name="connsiteX2154" fmla="*/ 3190319 w 6386648"/>
                <a:gd name="connsiteY2154" fmla="*/ 263279 h 1849426"/>
                <a:gd name="connsiteX2155" fmla="*/ 5996118 w 6386648"/>
                <a:gd name="connsiteY2155" fmla="*/ 257270 h 1849426"/>
                <a:gd name="connsiteX2156" fmla="*/ 6014143 w 6386648"/>
                <a:gd name="connsiteY2156" fmla="*/ 275295 h 1849426"/>
                <a:gd name="connsiteX2157" fmla="*/ 5996118 w 6386648"/>
                <a:gd name="connsiteY2157" fmla="*/ 293319 h 1849426"/>
                <a:gd name="connsiteX2158" fmla="*/ 5978094 w 6386648"/>
                <a:gd name="connsiteY2158" fmla="*/ 275295 h 1849426"/>
                <a:gd name="connsiteX2159" fmla="*/ 5996118 w 6386648"/>
                <a:gd name="connsiteY2159" fmla="*/ 257270 h 1849426"/>
                <a:gd name="connsiteX2160" fmla="*/ 5233085 w 6386648"/>
                <a:gd name="connsiteY2160" fmla="*/ 257270 h 1849426"/>
                <a:gd name="connsiteX2161" fmla="*/ 5251110 w 6386648"/>
                <a:gd name="connsiteY2161" fmla="*/ 275295 h 1849426"/>
                <a:gd name="connsiteX2162" fmla="*/ 5233085 w 6386648"/>
                <a:gd name="connsiteY2162" fmla="*/ 293319 h 1849426"/>
                <a:gd name="connsiteX2163" fmla="*/ 5215061 w 6386648"/>
                <a:gd name="connsiteY2163" fmla="*/ 275295 h 1849426"/>
                <a:gd name="connsiteX2164" fmla="*/ 5233085 w 6386648"/>
                <a:gd name="connsiteY2164" fmla="*/ 257270 h 1849426"/>
                <a:gd name="connsiteX2165" fmla="*/ 4584206 w 6386648"/>
                <a:gd name="connsiteY2165" fmla="*/ 257270 h 1849426"/>
                <a:gd name="connsiteX2166" fmla="*/ 4602231 w 6386648"/>
                <a:gd name="connsiteY2166" fmla="*/ 275295 h 1849426"/>
                <a:gd name="connsiteX2167" fmla="*/ 4584206 w 6386648"/>
                <a:gd name="connsiteY2167" fmla="*/ 293319 h 1849426"/>
                <a:gd name="connsiteX2168" fmla="*/ 4566182 w 6386648"/>
                <a:gd name="connsiteY2168" fmla="*/ 275295 h 1849426"/>
                <a:gd name="connsiteX2169" fmla="*/ 4584206 w 6386648"/>
                <a:gd name="connsiteY2169" fmla="*/ 257270 h 1849426"/>
                <a:gd name="connsiteX2170" fmla="*/ 2156921 w 6386648"/>
                <a:gd name="connsiteY2170" fmla="*/ 257270 h 1849426"/>
                <a:gd name="connsiteX2171" fmla="*/ 2174945 w 6386648"/>
                <a:gd name="connsiteY2171" fmla="*/ 275295 h 1849426"/>
                <a:gd name="connsiteX2172" fmla="*/ 2156921 w 6386648"/>
                <a:gd name="connsiteY2172" fmla="*/ 293319 h 1849426"/>
                <a:gd name="connsiteX2173" fmla="*/ 2138896 w 6386648"/>
                <a:gd name="connsiteY2173" fmla="*/ 275295 h 1849426"/>
                <a:gd name="connsiteX2174" fmla="*/ 2156921 w 6386648"/>
                <a:gd name="connsiteY2174" fmla="*/ 257270 h 1849426"/>
                <a:gd name="connsiteX2175" fmla="*/ 781057 w 6386648"/>
                <a:gd name="connsiteY2175" fmla="*/ 257270 h 1849426"/>
                <a:gd name="connsiteX2176" fmla="*/ 799082 w 6386648"/>
                <a:gd name="connsiteY2176" fmla="*/ 275295 h 1849426"/>
                <a:gd name="connsiteX2177" fmla="*/ 781057 w 6386648"/>
                <a:gd name="connsiteY2177" fmla="*/ 293319 h 1849426"/>
                <a:gd name="connsiteX2178" fmla="*/ 763033 w 6386648"/>
                <a:gd name="connsiteY2178" fmla="*/ 275295 h 1849426"/>
                <a:gd name="connsiteX2179" fmla="*/ 781057 w 6386648"/>
                <a:gd name="connsiteY2179" fmla="*/ 257270 h 1849426"/>
                <a:gd name="connsiteX2180" fmla="*/ 420569 w 6386648"/>
                <a:gd name="connsiteY2180" fmla="*/ 257270 h 1849426"/>
                <a:gd name="connsiteX2181" fmla="*/ 438594 w 6386648"/>
                <a:gd name="connsiteY2181" fmla="*/ 275295 h 1849426"/>
                <a:gd name="connsiteX2182" fmla="*/ 420569 w 6386648"/>
                <a:gd name="connsiteY2182" fmla="*/ 293319 h 1849426"/>
                <a:gd name="connsiteX2183" fmla="*/ 402545 w 6386648"/>
                <a:gd name="connsiteY2183" fmla="*/ 275295 h 1849426"/>
                <a:gd name="connsiteX2184" fmla="*/ 420569 w 6386648"/>
                <a:gd name="connsiteY2184" fmla="*/ 257270 h 1849426"/>
                <a:gd name="connsiteX2185" fmla="*/ 5845915 w 6386648"/>
                <a:gd name="connsiteY2185" fmla="*/ 245254 h 1849426"/>
                <a:gd name="connsiteX2186" fmla="*/ 5863940 w 6386648"/>
                <a:gd name="connsiteY2186" fmla="*/ 263278 h 1849426"/>
                <a:gd name="connsiteX2187" fmla="*/ 5845915 w 6386648"/>
                <a:gd name="connsiteY2187" fmla="*/ 281303 h 1849426"/>
                <a:gd name="connsiteX2188" fmla="*/ 5827891 w 6386648"/>
                <a:gd name="connsiteY2188" fmla="*/ 263278 h 1849426"/>
                <a:gd name="connsiteX2189" fmla="*/ 5845915 w 6386648"/>
                <a:gd name="connsiteY2189" fmla="*/ 245254 h 1849426"/>
                <a:gd name="connsiteX2190" fmla="*/ 4013434 w 6386648"/>
                <a:gd name="connsiteY2190" fmla="*/ 245254 h 1849426"/>
                <a:gd name="connsiteX2191" fmla="*/ 4031459 w 6386648"/>
                <a:gd name="connsiteY2191" fmla="*/ 263278 h 1849426"/>
                <a:gd name="connsiteX2192" fmla="*/ 4013434 w 6386648"/>
                <a:gd name="connsiteY2192" fmla="*/ 281303 h 1849426"/>
                <a:gd name="connsiteX2193" fmla="*/ 3995410 w 6386648"/>
                <a:gd name="connsiteY2193" fmla="*/ 263278 h 1849426"/>
                <a:gd name="connsiteX2194" fmla="*/ 4013434 w 6386648"/>
                <a:gd name="connsiteY2194" fmla="*/ 245254 h 1849426"/>
                <a:gd name="connsiteX2195" fmla="*/ 2841847 w 6386648"/>
                <a:gd name="connsiteY2195" fmla="*/ 245254 h 1849426"/>
                <a:gd name="connsiteX2196" fmla="*/ 2859872 w 6386648"/>
                <a:gd name="connsiteY2196" fmla="*/ 263278 h 1849426"/>
                <a:gd name="connsiteX2197" fmla="*/ 2841847 w 6386648"/>
                <a:gd name="connsiteY2197" fmla="*/ 281303 h 1849426"/>
                <a:gd name="connsiteX2198" fmla="*/ 2823823 w 6386648"/>
                <a:gd name="connsiteY2198" fmla="*/ 263278 h 1849426"/>
                <a:gd name="connsiteX2199" fmla="*/ 2841847 w 6386648"/>
                <a:gd name="connsiteY2199" fmla="*/ 245254 h 1849426"/>
                <a:gd name="connsiteX2200" fmla="*/ 2006717 w 6386648"/>
                <a:gd name="connsiteY2200" fmla="*/ 245254 h 1849426"/>
                <a:gd name="connsiteX2201" fmla="*/ 2024741 w 6386648"/>
                <a:gd name="connsiteY2201" fmla="*/ 263278 h 1849426"/>
                <a:gd name="connsiteX2202" fmla="*/ 2006717 w 6386648"/>
                <a:gd name="connsiteY2202" fmla="*/ 281303 h 1849426"/>
                <a:gd name="connsiteX2203" fmla="*/ 1988692 w 6386648"/>
                <a:gd name="connsiteY2203" fmla="*/ 263278 h 1849426"/>
                <a:gd name="connsiteX2204" fmla="*/ 2006717 w 6386648"/>
                <a:gd name="connsiteY2204" fmla="*/ 245254 h 1849426"/>
                <a:gd name="connsiteX2205" fmla="*/ 1009366 w 6386648"/>
                <a:gd name="connsiteY2205" fmla="*/ 245254 h 1849426"/>
                <a:gd name="connsiteX2206" fmla="*/ 1027391 w 6386648"/>
                <a:gd name="connsiteY2206" fmla="*/ 263278 h 1849426"/>
                <a:gd name="connsiteX2207" fmla="*/ 1009366 w 6386648"/>
                <a:gd name="connsiteY2207" fmla="*/ 281303 h 1849426"/>
                <a:gd name="connsiteX2208" fmla="*/ 991342 w 6386648"/>
                <a:gd name="connsiteY2208" fmla="*/ 263278 h 1849426"/>
                <a:gd name="connsiteX2209" fmla="*/ 1009366 w 6386648"/>
                <a:gd name="connsiteY2209" fmla="*/ 245254 h 1849426"/>
                <a:gd name="connsiteX2210" fmla="*/ 4337873 w 6386648"/>
                <a:gd name="connsiteY2210" fmla="*/ 239246 h 1849426"/>
                <a:gd name="connsiteX2211" fmla="*/ 4355898 w 6386648"/>
                <a:gd name="connsiteY2211" fmla="*/ 257270 h 1849426"/>
                <a:gd name="connsiteX2212" fmla="*/ 4337873 w 6386648"/>
                <a:gd name="connsiteY2212" fmla="*/ 275295 h 1849426"/>
                <a:gd name="connsiteX2213" fmla="*/ 4319848 w 6386648"/>
                <a:gd name="connsiteY2213" fmla="*/ 257270 h 1849426"/>
                <a:gd name="connsiteX2214" fmla="*/ 4337873 w 6386648"/>
                <a:gd name="connsiteY2214" fmla="*/ 239246 h 1849426"/>
                <a:gd name="connsiteX2215" fmla="*/ 3310482 w 6386648"/>
                <a:gd name="connsiteY2215" fmla="*/ 239246 h 1849426"/>
                <a:gd name="connsiteX2216" fmla="*/ 3328507 w 6386648"/>
                <a:gd name="connsiteY2216" fmla="*/ 257270 h 1849426"/>
                <a:gd name="connsiteX2217" fmla="*/ 3310482 w 6386648"/>
                <a:gd name="connsiteY2217" fmla="*/ 275295 h 1849426"/>
                <a:gd name="connsiteX2218" fmla="*/ 3292458 w 6386648"/>
                <a:gd name="connsiteY2218" fmla="*/ 257270 h 1849426"/>
                <a:gd name="connsiteX2219" fmla="*/ 3310482 w 6386648"/>
                <a:gd name="connsiteY2219" fmla="*/ 239246 h 1849426"/>
                <a:gd name="connsiteX2220" fmla="*/ 3418628 w 6386648"/>
                <a:gd name="connsiteY2220" fmla="*/ 233238 h 1849426"/>
                <a:gd name="connsiteX2221" fmla="*/ 3436653 w 6386648"/>
                <a:gd name="connsiteY2221" fmla="*/ 251262 h 1849426"/>
                <a:gd name="connsiteX2222" fmla="*/ 3418628 w 6386648"/>
                <a:gd name="connsiteY2222" fmla="*/ 269287 h 1849426"/>
                <a:gd name="connsiteX2223" fmla="*/ 3400604 w 6386648"/>
                <a:gd name="connsiteY2223" fmla="*/ 251262 h 1849426"/>
                <a:gd name="connsiteX2224" fmla="*/ 3418628 w 6386648"/>
                <a:gd name="connsiteY2224" fmla="*/ 233238 h 1849426"/>
                <a:gd name="connsiteX2225" fmla="*/ 4836548 w 6386648"/>
                <a:gd name="connsiteY2225" fmla="*/ 227230 h 1849426"/>
                <a:gd name="connsiteX2226" fmla="*/ 4854573 w 6386648"/>
                <a:gd name="connsiteY2226" fmla="*/ 245255 h 1849426"/>
                <a:gd name="connsiteX2227" fmla="*/ 4836548 w 6386648"/>
                <a:gd name="connsiteY2227" fmla="*/ 263279 h 1849426"/>
                <a:gd name="connsiteX2228" fmla="*/ 4818524 w 6386648"/>
                <a:gd name="connsiteY2228" fmla="*/ 245255 h 1849426"/>
                <a:gd name="connsiteX2229" fmla="*/ 4836548 w 6386648"/>
                <a:gd name="connsiteY2229" fmla="*/ 227230 h 1849426"/>
                <a:gd name="connsiteX2230" fmla="*/ 2949994 w 6386648"/>
                <a:gd name="connsiteY2230" fmla="*/ 227230 h 1849426"/>
                <a:gd name="connsiteX2231" fmla="*/ 2968019 w 6386648"/>
                <a:gd name="connsiteY2231" fmla="*/ 245255 h 1849426"/>
                <a:gd name="connsiteX2232" fmla="*/ 2949994 w 6386648"/>
                <a:gd name="connsiteY2232" fmla="*/ 263279 h 1849426"/>
                <a:gd name="connsiteX2233" fmla="*/ 2931970 w 6386648"/>
                <a:gd name="connsiteY2233" fmla="*/ 245255 h 1849426"/>
                <a:gd name="connsiteX2234" fmla="*/ 2949994 w 6386648"/>
                <a:gd name="connsiteY2234" fmla="*/ 227230 h 1849426"/>
                <a:gd name="connsiteX2235" fmla="*/ 2727693 w 6386648"/>
                <a:gd name="connsiteY2235" fmla="*/ 227230 h 1849426"/>
                <a:gd name="connsiteX2236" fmla="*/ 2745718 w 6386648"/>
                <a:gd name="connsiteY2236" fmla="*/ 245255 h 1849426"/>
                <a:gd name="connsiteX2237" fmla="*/ 2727693 w 6386648"/>
                <a:gd name="connsiteY2237" fmla="*/ 263279 h 1849426"/>
                <a:gd name="connsiteX2238" fmla="*/ 2709669 w 6386648"/>
                <a:gd name="connsiteY2238" fmla="*/ 245255 h 1849426"/>
                <a:gd name="connsiteX2239" fmla="*/ 2727693 w 6386648"/>
                <a:gd name="connsiteY2239" fmla="*/ 227230 h 1849426"/>
                <a:gd name="connsiteX2240" fmla="*/ 270365 w 6386648"/>
                <a:gd name="connsiteY2240" fmla="*/ 227230 h 1849426"/>
                <a:gd name="connsiteX2241" fmla="*/ 288390 w 6386648"/>
                <a:gd name="connsiteY2241" fmla="*/ 245255 h 1849426"/>
                <a:gd name="connsiteX2242" fmla="*/ 270365 w 6386648"/>
                <a:gd name="connsiteY2242" fmla="*/ 263279 h 1849426"/>
                <a:gd name="connsiteX2243" fmla="*/ 252341 w 6386648"/>
                <a:gd name="connsiteY2243" fmla="*/ 245255 h 1849426"/>
                <a:gd name="connsiteX2244" fmla="*/ 270365 w 6386648"/>
                <a:gd name="connsiteY2244" fmla="*/ 227230 h 1849426"/>
                <a:gd name="connsiteX2245" fmla="*/ 3893271 w 6386648"/>
                <a:gd name="connsiteY2245" fmla="*/ 221222 h 1849426"/>
                <a:gd name="connsiteX2246" fmla="*/ 3911296 w 6386648"/>
                <a:gd name="connsiteY2246" fmla="*/ 239246 h 1849426"/>
                <a:gd name="connsiteX2247" fmla="*/ 3893271 w 6386648"/>
                <a:gd name="connsiteY2247" fmla="*/ 257271 h 1849426"/>
                <a:gd name="connsiteX2248" fmla="*/ 3875247 w 6386648"/>
                <a:gd name="connsiteY2248" fmla="*/ 239246 h 1849426"/>
                <a:gd name="connsiteX2249" fmla="*/ 3893271 w 6386648"/>
                <a:gd name="connsiteY2249" fmla="*/ 221222 h 1849426"/>
                <a:gd name="connsiteX2250" fmla="*/ 1682277 w 6386648"/>
                <a:gd name="connsiteY2250" fmla="*/ 221222 h 1849426"/>
                <a:gd name="connsiteX2251" fmla="*/ 1700302 w 6386648"/>
                <a:gd name="connsiteY2251" fmla="*/ 239246 h 1849426"/>
                <a:gd name="connsiteX2252" fmla="*/ 1682277 w 6386648"/>
                <a:gd name="connsiteY2252" fmla="*/ 257271 h 1849426"/>
                <a:gd name="connsiteX2253" fmla="*/ 1664253 w 6386648"/>
                <a:gd name="connsiteY2253" fmla="*/ 239246 h 1849426"/>
                <a:gd name="connsiteX2254" fmla="*/ 1682277 w 6386648"/>
                <a:gd name="connsiteY2254" fmla="*/ 221222 h 1849426"/>
                <a:gd name="connsiteX2255" fmla="*/ 4458036 w 6386648"/>
                <a:gd name="connsiteY2255" fmla="*/ 215213 h 1849426"/>
                <a:gd name="connsiteX2256" fmla="*/ 4476061 w 6386648"/>
                <a:gd name="connsiteY2256" fmla="*/ 233237 h 1849426"/>
                <a:gd name="connsiteX2257" fmla="*/ 4458036 w 6386648"/>
                <a:gd name="connsiteY2257" fmla="*/ 251262 h 1849426"/>
                <a:gd name="connsiteX2258" fmla="*/ 4440011 w 6386648"/>
                <a:gd name="connsiteY2258" fmla="*/ 233237 h 1849426"/>
                <a:gd name="connsiteX2259" fmla="*/ 4458036 w 6386648"/>
                <a:gd name="connsiteY2259" fmla="*/ 215213 h 1849426"/>
                <a:gd name="connsiteX2260" fmla="*/ 3767100 w 6386648"/>
                <a:gd name="connsiteY2260" fmla="*/ 215213 h 1849426"/>
                <a:gd name="connsiteX2261" fmla="*/ 3785125 w 6386648"/>
                <a:gd name="connsiteY2261" fmla="*/ 233237 h 1849426"/>
                <a:gd name="connsiteX2262" fmla="*/ 3767100 w 6386648"/>
                <a:gd name="connsiteY2262" fmla="*/ 251262 h 1849426"/>
                <a:gd name="connsiteX2263" fmla="*/ 3749075 w 6386648"/>
                <a:gd name="connsiteY2263" fmla="*/ 233237 h 1849426"/>
                <a:gd name="connsiteX2264" fmla="*/ 3767100 w 6386648"/>
                <a:gd name="connsiteY2264" fmla="*/ 215213 h 1849426"/>
                <a:gd name="connsiteX2265" fmla="*/ 6224427 w 6386648"/>
                <a:gd name="connsiteY2265" fmla="*/ 209205 h 1849426"/>
                <a:gd name="connsiteX2266" fmla="*/ 6242452 w 6386648"/>
                <a:gd name="connsiteY2266" fmla="*/ 227229 h 1849426"/>
                <a:gd name="connsiteX2267" fmla="*/ 6224427 w 6386648"/>
                <a:gd name="connsiteY2267" fmla="*/ 245254 h 1849426"/>
                <a:gd name="connsiteX2268" fmla="*/ 6206403 w 6386648"/>
                <a:gd name="connsiteY2268" fmla="*/ 227229 h 1849426"/>
                <a:gd name="connsiteX2269" fmla="*/ 6224427 w 6386648"/>
                <a:gd name="connsiteY2269" fmla="*/ 209205 h 1849426"/>
                <a:gd name="connsiteX2270" fmla="*/ 1315782 w 6386648"/>
                <a:gd name="connsiteY2270" fmla="*/ 209205 h 1849426"/>
                <a:gd name="connsiteX2271" fmla="*/ 1333806 w 6386648"/>
                <a:gd name="connsiteY2271" fmla="*/ 227229 h 1849426"/>
                <a:gd name="connsiteX2272" fmla="*/ 1315782 w 6386648"/>
                <a:gd name="connsiteY2272" fmla="*/ 245254 h 1849426"/>
                <a:gd name="connsiteX2273" fmla="*/ 1297757 w 6386648"/>
                <a:gd name="connsiteY2273" fmla="*/ 227229 h 1849426"/>
                <a:gd name="connsiteX2274" fmla="*/ 1315782 w 6386648"/>
                <a:gd name="connsiteY2274" fmla="*/ 209205 h 1849426"/>
                <a:gd name="connsiteX2275" fmla="*/ 5713736 w 6386648"/>
                <a:gd name="connsiteY2275" fmla="*/ 203197 h 1849426"/>
                <a:gd name="connsiteX2276" fmla="*/ 5731761 w 6386648"/>
                <a:gd name="connsiteY2276" fmla="*/ 221221 h 1849426"/>
                <a:gd name="connsiteX2277" fmla="*/ 5713736 w 6386648"/>
                <a:gd name="connsiteY2277" fmla="*/ 239246 h 1849426"/>
                <a:gd name="connsiteX2278" fmla="*/ 5695712 w 6386648"/>
                <a:gd name="connsiteY2278" fmla="*/ 221221 h 1849426"/>
                <a:gd name="connsiteX2279" fmla="*/ 5713736 w 6386648"/>
                <a:gd name="connsiteY2279" fmla="*/ 203197 h 1849426"/>
                <a:gd name="connsiteX2280" fmla="*/ 1550098 w 6386648"/>
                <a:gd name="connsiteY2280" fmla="*/ 203197 h 1849426"/>
                <a:gd name="connsiteX2281" fmla="*/ 1568123 w 6386648"/>
                <a:gd name="connsiteY2281" fmla="*/ 221221 h 1849426"/>
                <a:gd name="connsiteX2282" fmla="*/ 1550098 w 6386648"/>
                <a:gd name="connsiteY2282" fmla="*/ 239246 h 1849426"/>
                <a:gd name="connsiteX2283" fmla="*/ 1532074 w 6386648"/>
                <a:gd name="connsiteY2283" fmla="*/ 221221 h 1849426"/>
                <a:gd name="connsiteX2284" fmla="*/ 1550098 w 6386648"/>
                <a:gd name="connsiteY2284" fmla="*/ 203197 h 1849426"/>
                <a:gd name="connsiteX2285" fmla="*/ 5587565 w 6386648"/>
                <a:gd name="connsiteY2285" fmla="*/ 197189 h 1849426"/>
                <a:gd name="connsiteX2286" fmla="*/ 5605590 w 6386648"/>
                <a:gd name="connsiteY2286" fmla="*/ 215214 h 1849426"/>
                <a:gd name="connsiteX2287" fmla="*/ 5587565 w 6386648"/>
                <a:gd name="connsiteY2287" fmla="*/ 233238 h 1849426"/>
                <a:gd name="connsiteX2288" fmla="*/ 5569541 w 6386648"/>
                <a:gd name="connsiteY2288" fmla="*/ 215214 h 1849426"/>
                <a:gd name="connsiteX2289" fmla="*/ 5587565 w 6386648"/>
                <a:gd name="connsiteY2289" fmla="*/ 197189 h 1849426"/>
                <a:gd name="connsiteX2290" fmla="*/ 4121580 w 6386648"/>
                <a:gd name="connsiteY2290" fmla="*/ 197189 h 1849426"/>
                <a:gd name="connsiteX2291" fmla="*/ 4139605 w 6386648"/>
                <a:gd name="connsiteY2291" fmla="*/ 215214 h 1849426"/>
                <a:gd name="connsiteX2292" fmla="*/ 4121580 w 6386648"/>
                <a:gd name="connsiteY2292" fmla="*/ 233238 h 1849426"/>
                <a:gd name="connsiteX2293" fmla="*/ 4103556 w 6386648"/>
                <a:gd name="connsiteY2293" fmla="*/ 215214 h 1849426"/>
                <a:gd name="connsiteX2294" fmla="*/ 4121580 w 6386648"/>
                <a:gd name="connsiteY2294" fmla="*/ 197189 h 1849426"/>
                <a:gd name="connsiteX2295" fmla="*/ 3076164 w 6386648"/>
                <a:gd name="connsiteY2295" fmla="*/ 197189 h 1849426"/>
                <a:gd name="connsiteX2296" fmla="*/ 3094189 w 6386648"/>
                <a:gd name="connsiteY2296" fmla="*/ 215214 h 1849426"/>
                <a:gd name="connsiteX2297" fmla="*/ 3076164 w 6386648"/>
                <a:gd name="connsiteY2297" fmla="*/ 233238 h 1849426"/>
                <a:gd name="connsiteX2298" fmla="*/ 3058139 w 6386648"/>
                <a:gd name="connsiteY2298" fmla="*/ 215214 h 1849426"/>
                <a:gd name="connsiteX2299" fmla="*/ 3076164 w 6386648"/>
                <a:gd name="connsiteY2299" fmla="*/ 197189 h 1849426"/>
                <a:gd name="connsiteX2300" fmla="*/ 5449378 w 6386648"/>
                <a:gd name="connsiteY2300" fmla="*/ 191181 h 1849426"/>
                <a:gd name="connsiteX2301" fmla="*/ 5467403 w 6386648"/>
                <a:gd name="connsiteY2301" fmla="*/ 209205 h 1849426"/>
                <a:gd name="connsiteX2302" fmla="*/ 5449378 w 6386648"/>
                <a:gd name="connsiteY2302" fmla="*/ 227230 h 1849426"/>
                <a:gd name="connsiteX2303" fmla="*/ 5431353 w 6386648"/>
                <a:gd name="connsiteY2303" fmla="*/ 209205 h 1849426"/>
                <a:gd name="connsiteX2304" fmla="*/ 5449378 w 6386648"/>
                <a:gd name="connsiteY2304" fmla="*/ 191181 h 1849426"/>
                <a:gd name="connsiteX2305" fmla="*/ 2607530 w 6386648"/>
                <a:gd name="connsiteY2305" fmla="*/ 191181 h 1849426"/>
                <a:gd name="connsiteX2306" fmla="*/ 2625555 w 6386648"/>
                <a:gd name="connsiteY2306" fmla="*/ 209205 h 1849426"/>
                <a:gd name="connsiteX2307" fmla="*/ 2607530 w 6386648"/>
                <a:gd name="connsiteY2307" fmla="*/ 227230 h 1849426"/>
                <a:gd name="connsiteX2308" fmla="*/ 2589506 w 6386648"/>
                <a:gd name="connsiteY2308" fmla="*/ 209205 h 1849426"/>
                <a:gd name="connsiteX2309" fmla="*/ 2607530 w 6386648"/>
                <a:gd name="connsiteY2309" fmla="*/ 191181 h 1849426"/>
                <a:gd name="connsiteX2310" fmla="*/ 30040 w 6386648"/>
                <a:gd name="connsiteY2310" fmla="*/ 191181 h 1849426"/>
                <a:gd name="connsiteX2311" fmla="*/ 48065 w 6386648"/>
                <a:gd name="connsiteY2311" fmla="*/ 209205 h 1849426"/>
                <a:gd name="connsiteX2312" fmla="*/ 30040 w 6386648"/>
                <a:gd name="connsiteY2312" fmla="*/ 227230 h 1849426"/>
                <a:gd name="connsiteX2313" fmla="*/ 12016 w 6386648"/>
                <a:gd name="connsiteY2313" fmla="*/ 209205 h 1849426"/>
                <a:gd name="connsiteX2314" fmla="*/ 30040 w 6386648"/>
                <a:gd name="connsiteY2314" fmla="*/ 191181 h 1849426"/>
                <a:gd name="connsiteX2315" fmla="*/ 6368623 w 6386648"/>
                <a:gd name="connsiteY2315" fmla="*/ 185173 h 1849426"/>
                <a:gd name="connsiteX2316" fmla="*/ 6386648 w 6386648"/>
                <a:gd name="connsiteY2316" fmla="*/ 203197 h 1849426"/>
                <a:gd name="connsiteX2317" fmla="*/ 6368623 w 6386648"/>
                <a:gd name="connsiteY2317" fmla="*/ 221222 h 1849426"/>
                <a:gd name="connsiteX2318" fmla="*/ 6350599 w 6386648"/>
                <a:gd name="connsiteY2318" fmla="*/ 203197 h 1849426"/>
                <a:gd name="connsiteX2319" fmla="*/ 6368623 w 6386648"/>
                <a:gd name="connsiteY2319" fmla="*/ 185173 h 1849426"/>
                <a:gd name="connsiteX2320" fmla="*/ 2379221 w 6386648"/>
                <a:gd name="connsiteY2320" fmla="*/ 179165 h 1849426"/>
                <a:gd name="connsiteX2321" fmla="*/ 2397246 w 6386648"/>
                <a:gd name="connsiteY2321" fmla="*/ 197189 h 1849426"/>
                <a:gd name="connsiteX2322" fmla="*/ 2379221 w 6386648"/>
                <a:gd name="connsiteY2322" fmla="*/ 215214 h 1849426"/>
                <a:gd name="connsiteX2323" fmla="*/ 2361197 w 6386648"/>
                <a:gd name="connsiteY2323" fmla="*/ 197189 h 1849426"/>
                <a:gd name="connsiteX2324" fmla="*/ 2379221 w 6386648"/>
                <a:gd name="connsiteY2324" fmla="*/ 179165 h 1849426"/>
                <a:gd name="connsiteX2325" fmla="*/ 2253050 w 6386648"/>
                <a:gd name="connsiteY2325" fmla="*/ 179165 h 1849426"/>
                <a:gd name="connsiteX2326" fmla="*/ 2271075 w 6386648"/>
                <a:gd name="connsiteY2326" fmla="*/ 197189 h 1849426"/>
                <a:gd name="connsiteX2327" fmla="*/ 2253050 w 6386648"/>
                <a:gd name="connsiteY2327" fmla="*/ 215214 h 1849426"/>
                <a:gd name="connsiteX2328" fmla="*/ 2235026 w 6386648"/>
                <a:gd name="connsiteY2328" fmla="*/ 197189 h 1849426"/>
                <a:gd name="connsiteX2329" fmla="*/ 2253050 w 6386648"/>
                <a:gd name="connsiteY2329" fmla="*/ 179165 h 1849426"/>
                <a:gd name="connsiteX2330" fmla="*/ 624846 w 6386648"/>
                <a:gd name="connsiteY2330" fmla="*/ 179165 h 1849426"/>
                <a:gd name="connsiteX2331" fmla="*/ 642870 w 6386648"/>
                <a:gd name="connsiteY2331" fmla="*/ 197189 h 1849426"/>
                <a:gd name="connsiteX2332" fmla="*/ 624846 w 6386648"/>
                <a:gd name="connsiteY2332" fmla="*/ 215214 h 1849426"/>
                <a:gd name="connsiteX2333" fmla="*/ 606821 w 6386648"/>
                <a:gd name="connsiteY2333" fmla="*/ 197189 h 1849426"/>
                <a:gd name="connsiteX2334" fmla="*/ 624846 w 6386648"/>
                <a:gd name="connsiteY2334" fmla="*/ 179165 h 1849426"/>
                <a:gd name="connsiteX2335" fmla="*/ 6116281 w 6386648"/>
                <a:gd name="connsiteY2335" fmla="*/ 167148 h 1849426"/>
                <a:gd name="connsiteX2336" fmla="*/ 6134306 w 6386648"/>
                <a:gd name="connsiteY2336" fmla="*/ 185173 h 1849426"/>
                <a:gd name="connsiteX2337" fmla="*/ 6116281 w 6386648"/>
                <a:gd name="connsiteY2337" fmla="*/ 203197 h 1849426"/>
                <a:gd name="connsiteX2338" fmla="*/ 6098257 w 6386648"/>
                <a:gd name="connsiteY2338" fmla="*/ 185173 h 1849426"/>
                <a:gd name="connsiteX2339" fmla="*/ 6116281 w 6386648"/>
                <a:gd name="connsiteY2339" fmla="*/ 167148 h 1849426"/>
                <a:gd name="connsiteX2340" fmla="*/ 5311191 w 6386648"/>
                <a:gd name="connsiteY2340" fmla="*/ 167148 h 1849426"/>
                <a:gd name="connsiteX2341" fmla="*/ 5329216 w 6386648"/>
                <a:gd name="connsiteY2341" fmla="*/ 185173 h 1849426"/>
                <a:gd name="connsiteX2342" fmla="*/ 5311191 w 6386648"/>
                <a:gd name="connsiteY2342" fmla="*/ 203197 h 1849426"/>
                <a:gd name="connsiteX2343" fmla="*/ 5293167 w 6386648"/>
                <a:gd name="connsiteY2343" fmla="*/ 185173 h 1849426"/>
                <a:gd name="connsiteX2344" fmla="*/ 5311191 w 6386648"/>
                <a:gd name="connsiteY2344" fmla="*/ 167148 h 1849426"/>
                <a:gd name="connsiteX2345" fmla="*/ 3508750 w 6386648"/>
                <a:gd name="connsiteY2345" fmla="*/ 167148 h 1849426"/>
                <a:gd name="connsiteX2346" fmla="*/ 3526775 w 6386648"/>
                <a:gd name="connsiteY2346" fmla="*/ 185173 h 1849426"/>
                <a:gd name="connsiteX2347" fmla="*/ 3508750 w 6386648"/>
                <a:gd name="connsiteY2347" fmla="*/ 203197 h 1849426"/>
                <a:gd name="connsiteX2348" fmla="*/ 3490726 w 6386648"/>
                <a:gd name="connsiteY2348" fmla="*/ 185173 h 1849426"/>
                <a:gd name="connsiteX2349" fmla="*/ 3508750 w 6386648"/>
                <a:gd name="connsiteY2349" fmla="*/ 167148 h 1849426"/>
                <a:gd name="connsiteX2350" fmla="*/ 1820464 w 6386648"/>
                <a:gd name="connsiteY2350" fmla="*/ 167148 h 1849426"/>
                <a:gd name="connsiteX2351" fmla="*/ 1838489 w 6386648"/>
                <a:gd name="connsiteY2351" fmla="*/ 185173 h 1849426"/>
                <a:gd name="connsiteX2352" fmla="*/ 1820464 w 6386648"/>
                <a:gd name="connsiteY2352" fmla="*/ 203197 h 1849426"/>
                <a:gd name="connsiteX2353" fmla="*/ 1802440 w 6386648"/>
                <a:gd name="connsiteY2353" fmla="*/ 185173 h 1849426"/>
                <a:gd name="connsiteX2354" fmla="*/ 1820464 w 6386648"/>
                <a:gd name="connsiteY2354" fmla="*/ 167148 h 1849426"/>
                <a:gd name="connsiteX2355" fmla="*/ 1423927 w 6386648"/>
                <a:gd name="connsiteY2355" fmla="*/ 167148 h 1849426"/>
                <a:gd name="connsiteX2356" fmla="*/ 1441952 w 6386648"/>
                <a:gd name="connsiteY2356" fmla="*/ 185173 h 1849426"/>
                <a:gd name="connsiteX2357" fmla="*/ 1423927 w 6386648"/>
                <a:gd name="connsiteY2357" fmla="*/ 203197 h 1849426"/>
                <a:gd name="connsiteX2358" fmla="*/ 1405903 w 6386648"/>
                <a:gd name="connsiteY2358" fmla="*/ 185173 h 1849426"/>
                <a:gd name="connsiteX2359" fmla="*/ 1423927 w 6386648"/>
                <a:gd name="connsiteY2359" fmla="*/ 167148 h 1849426"/>
                <a:gd name="connsiteX2360" fmla="*/ 5100906 w 6386648"/>
                <a:gd name="connsiteY2360" fmla="*/ 161140 h 1849426"/>
                <a:gd name="connsiteX2361" fmla="*/ 5118931 w 6386648"/>
                <a:gd name="connsiteY2361" fmla="*/ 179164 h 1849426"/>
                <a:gd name="connsiteX2362" fmla="*/ 5100906 w 6386648"/>
                <a:gd name="connsiteY2362" fmla="*/ 197189 h 1849426"/>
                <a:gd name="connsiteX2363" fmla="*/ 5082882 w 6386648"/>
                <a:gd name="connsiteY2363" fmla="*/ 179164 h 1849426"/>
                <a:gd name="connsiteX2364" fmla="*/ 5100906 w 6386648"/>
                <a:gd name="connsiteY2364" fmla="*/ 161140 h 1849426"/>
                <a:gd name="connsiteX2365" fmla="*/ 1189610 w 6386648"/>
                <a:gd name="connsiteY2365" fmla="*/ 161140 h 1849426"/>
                <a:gd name="connsiteX2366" fmla="*/ 1207635 w 6386648"/>
                <a:gd name="connsiteY2366" fmla="*/ 179164 h 1849426"/>
                <a:gd name="connsiteX2367" fmla="*/ 1189610 w 6386648"/>
                <a:gd name="connsiteY2367" fmla="*/ 197189 h 1849426"/>
                <a:gd name="connsiteX2368" fmla="*/ 1171586 w 6386648"/>
                <a:gd name="connsiteY2368" fmla="*/ 179164 h 1849426"/>
                <a:gd name="connsiteX2369" fmla="*/ 1189610 w 6386648"/>
                <a:gd name="connsiteY2369" fmla="*/ 161140 h 1849426"/>
                <a:gd name="connsiteX2370" fmla="*/ 492666 w 6386648"/>
                <a:gd name="connsiteY2370" fmla="*/ 161140 h 1849426"/>
                <a:gd name="connsiteX2371" fmla="*/ 510691 w 6386648"/>
                <a:gd name="connsiteY2371" fmla="*/ 179164 h 1849426"/>
                <a:gd name="connsiteX2372" fmla="*/ 492666 w 6386648"/>
                <a:gd name="connsiteY2372" fmla="*/ 197189 h 1849426"/>
                <a:gd name="connsiteX2373" fmla="*/ 474642 w 6386648"/>
                <a:gd name="connsiteY2373" fmla="*/ 179164 h 1849426"/>
                <a:gd name="connsiteX2374" fmla="*/ 492666 w 6386648"/>
                <a:gd name="connsiteY2374" fmla="*/ 161140 h 1849426"/>
                <a:gd name="connsiteX2375" fmla="*/ 132178 w 6386648"/>
                <a:gd name="connsiteY2375" fmla="*/ 161140 h 1849426"/>
                <a:gd name="connsiteX2376" fmla="*/ 150203 w 6386648"/>
                <a:gd name="connsiteY2376" fmla="*/ 179164 h 1849426"/>
                <a:gd name="connsiteX2377" fmla="*/ 132178 w 6386648"/>
                <a:gd name="connsiteY2377" fmla="*/ 197189 h 1849426"/>
                <a:gd name="connsiteX2378" fmla="*/ 114154 w 6386648"/>
                <a:gd name="connsiteY2378" fmla="*/ 179164 h 1849426"/>
                <a:gd name="connsiteX2379" fmla="*/ 132178 w 6386648"/>
                <a:gd name="connsiteY2379" fmla="*/ 161140 h 1849426"/>
                <a:gd name="connsiteX2380" fmla="*/ 4968727 w 6386648"/>
                <a:gd name="connsiteY2380" fmla="*/ 155132 h 1849426"/>
                <a:gd name="connsiteX2381" fmla="*/ 4986752 w 6386648"/>
                <a:gd name="connsiteY2381" fmla="*/ 173156 h 1849426"/>
                <a:gd name="connsiteX2382" fmla="*/ 4968727 w 6386648"/>
                <a:gd name="connsiteY2382" fmla="*/ 191181 h 1849426"/>
                <a:gd name="connsiteX2383" fmla="*/ 4950702 w 6386648"/>
                <a:gd name="connsiteY2383" fmla="*/ 173156 h 1849426"/>
                <a:gd name="connsiteX2384" fmla="*/ 4968727 w 6386648"/>
                <a:gd name="connsiteY2384" fmla="*/ 155132 h 1849426"/>
                <a:gd name="connsiteX2385" fmla="*/ 3634921 w 6386648"/>
                <a:gd name="connsiteY2385" fmla="*/ 155132 h 1849426"/>
                <a:gd name="connsiteX2386" fmla="*/ 3652946 w 6386648"/>
                <a:gd name="connsiteY2386" fmla="*/ 173156 h 1849426"/>
                <a:gd name="connsiteX2387" fmla="*/ 3634921 w 6386648"/>
                <a:gd name="connsiteY2387" fmla="*/ 191181 h 1849426"/>
                <a:gd name="connsiteX2388" fmla="*/ 3616897 w 6386648"/>
                <a:gd name="connsiteY2388" fmla="*/ 173156 h 1849426"/>
                <a:gd name="connsiteX2389" fmla="*/ 3634921 w 6386648"/>
                <a:gd name="connsiteY2389" fmla="*/ 155132 h 1849426"/>
                <a:gd name="connsiteX2390" fmla="*/ 2493375 w 6386648"/>
                <a:gd name="connsiteY2390" fmla="*/ 155132 h 1849426"/>
                <a:gd name="connsiteX2391" fmla="*/ 2511400 w 6386648"/>
                <a:gd name="connsiteY2391" fmla="*/ 173156 h 1849426"/>
                <a:gd name="connsiteX2392" fmla="*/ 2493375 w 6386648"/>
                <a:gd name="connsiteY2392" fmla="*/ 191181 h 1849426"/>
                <a:gd name="connsiteX2393" fmla="*/ 2475351 w 6386648"/>
                <a:gd name="connsiteY2393" fmla="*/ 173156 h 1849426"/>
                <a:gd name="connsiteX2394" fmla="*/ 2493375 w 6386648"/>
                <a:gd name="connsiteY2394" fmla="*/ 155132 h 1849426"/>
                <a:gd name="connsiteX2395" fmla="*/ 1922603 w 6386648"/>
                <a:gd name="connsiteY2395" fmla="*/ 155132 h 1849426"/>
                <a:gd name="connsiteX2396" fmla="*/ 1940628 w 6386648"/>
                <a:gd name="connsiteY2396" fmla="*/ 173156 h 1849426"/>
                <a:gd name="connsiteX2397" fmla="*/ 1922603 w 6386648"/>
                <a:gd name="connsiteY2397" fmla="*/ 191181 h 1849426"/>
                <a:gd name="connsiteX2398" fmla="*/ 1904579 w 6386648"/>
                <a:gd name="connsiteY2398" fmla="*/ 173156 h 1849426"/>
                <a:gd name="connsiteX2399" fmla="*/ 1922603 w 6386648"/>
                <a:gd name="connsiteY2399" fmla="*/ 155132 h 1849426"/>
                <a:gd name="connsiteX2400" fmla="*/ 919244 w 6386648"/>
                <a:gd name="connsiteY2400" fmla="*/ 155132 h 1849426"/>
                <a:gd name="connsiteX2401" fmla="*/ 937269 w 6386648"/>
                <a:gd name="connsiteY2401" fmla="*/ 173156 h 1849426"/>
                <a:gd name="connsiteX2402" fmla="*/ 919244 w 6386648"/>
                <a:gd name="connsiteY2402" fmla="*/ 191181 h 1849426"/>
                <a:gd name="connsiteX2403" fmla="*/ 901220 w 6386648"/>
                <a:gd name="connsiteY2403" fmla="*/ 173156 h 1849426"/>
                <a:gd name="connsiteX2404" fmla="*/ 919244 w 6386648"/>
                <a:gd name="connsiteY2404" fmla="*/ 155132 h 1849426"/>
                <a:gd name="connsiteX2405" fmla="*/ 5905996 w 6386648"/>
                <a:gd name="connsiteY2405" fmla="*/ 149124 h 1849426"/>
                <a:gd name="connsiteX2406" fmla="*/ 5924021 w 6386648"/>
                <a:gd name="connsiteY2406" fmla="*/ 167148 h 1849426"/>
                <a:gd name="connsiteX2407" fmla="*/ 5905996 w 6386648"/>
                <a:gd name="connsiteY2407" fmla="*/ 185173 h 1849426"/>
                <a:gd name="connsiteX2408" fmla="*/ 5887972 w 6386648"/>
                <a:gd name="connsiteY2408" fmla="*/ 167148 h 1849426"/>
                <a:gd name="connsiteX2409" fmla="*/ 5905996 w 6386648"/>
                <a:gd name="connsiteY2409" fmla="*/ 149124 h 1849426"/>
                <a:gd name="connsiteX2410" fmla="*/ 4644288 w 6386648"/>
                <a:gd name="connsiteY2410" fmla="*/ 149124 h 1849426"/>
                <a:gd name="connsiteX2411" fmla="*/ 4662313 w 6386648"/>
                <a:gd name="connsiteY2411" fmla="*/ 167148 h 1849426"/>
                <a:gd name="connsiteX2412" fmla="*/ 4644288 w 6386648"/>
                <a:gd name="connsiteY2412" fmla="*/ 185173 h 1849426"/>
                <a:gd name="connsiteX2413" fmla="*/ 4626264 w 6386648"/>
                <a:gd name="connsiteY2413" fmla="*/ 167148 h 1849426"/>
                <a:gd name="connsiteX2414" fmla="*/ 4644288 w 6386648"/>
                <a:gd name="connsiteY2414" fmla="*/ 149124 h 1849426"/>
                <a:gd name="connsiteX2415" fmla="*/ 2126880 w 6386648"/>
                <a:gd name="connsiteY2415" fmla="*/ 149124 h 1849426"/>
                <a:gd name="connsiteX2416" fmla="*/ 2144904 w 6386648"/>
                <a:gd name="connsiteY2416" fmla="*/ 167148 h 1849426"/>
                <a:gd name="connsiteX2417" fmla="*/ 2126880 w 6386648"/>
                <a:gd name="connsiteY2417" fmla="*/ 185173 h 1849426"/>
                <a:gd name="connsiteX2418" fmla="*/ 2108855 w 6386648"/>
                <a:gd name="connsiteY2418" fmla="*/ 167148 h 1849426"/>
                <a:gd name="connsiteX2419" fmla="*/ 2126880 w 6386648"/>
                <a:gd name="connsiteY2419" fmla="*/ 149124 h 1849426"/>
                <a:gd name="connsiteX2420" fmla="*/ 799081 w 6386648"/>
                <a:gd name="connsiteY2420" fmla="*/ 149124 h 1849426"/>
                <a:gd name="connsiteX2421" fmla="*/ 817106 w 6386648"/>
                <a:gd name="connsiteY2421" fmla="*/ 167148 h 1849426"/>
                <a:gd name="connsiteX2422" fmla="*/ 799081 w 6386648"/>
                <a:gd name="connsiteY2422" fmla="*/ 185173 h 1849426"/>
                <a:gd name="connsiteX2423" fmla="*/ 781057 w 6386648"/>
                <a:gd name="connsiteY2423" fmla="*/ 167148 h 1849426"/>
                <a:gd name="connsiteX2424" fmla="*/ 799081 w 6386648"/>
                <a:gd name="connsiteY2424" fmla="*/ 149124 h 1849426"/>
                <a:gd name="connsiteX2425" fmla="*/ 366495 w 6386648"/>
                <a:gd name="connsiteY2425" fmla="*/ 149124 h 1849426"/>
                <a:gd name="connsiteX2426" fmla="*/ 384520 w 6386648"/>
                <a:gd name="connsiteY2426" fmla="*/ 167148 h 1849426"/>
                <a:gd name="connsiteX2427" fmla="*/ 366495 w 6386648"/>
                <a:gd name="connsiteY2427" fmla="*/ 185173 h 1849426"/>
                <a:gd name="connsiteX2428" fmla="*/ 348471 w 6386648"/>
                <a:gd name="connsiteY2428" fmla="*/ 167148 h 1849426"/>
                <a:gd name="connsiteX2429" fmla="*/ 366495 w 6386648"/>
                <a:gd name="connsiteY2429" fmla="*/ 149124 h 1849426"/>
                <a:gd name="connsiteX2430" fmla="*/ 4758442 w 6386648"/>
                <a:gd name="connsiteY2430" fmla="*/ 143116 h 1849426"/>
                <a:gd name="connsiteX2431" fmla="*/ 4776467 w 6386648"/>
                <a:gd name="connsiteY2431" fmla="*/ 161140 h 1849426"/>
                <a:gd name="connsiteX2432" fmla="*/ 4758442 w 6386648"/>
                <a:gd name="connsiteY2432" fmla="*/ 179165 h 1849426"/>
                <a:gd name="connsiteX2433" fmla="*/ 4740417 w 6386648"/>
                <a:gd name="connsiteY2433" fmla="*/ 161140 h 1849426"/>
                <a:gd name="connsiteX2434" fmla="*/ 4758442 w 6386648"/>
                <a:gd name="connsiteY2434" fmla="*/ 143116 h 1849426"/>
                <a:gd name="connsiteX2435" fmla="*/ 3226368 w 6386648"/>
                <a:gd name="connsiteY2435" fmla="*/ 143116 h 1849426"/>
                <a:gd name="connsiteX2436" fmla="*/ 3244393 w 6386648"/>
                <a:gd name="connsiteY2436" fmla="*/ 161140 h 1849426"/>
                <a:gd name="connsiteX2437" fmla="*/ 3226368 w 6386648"/>
                <a:gd name="connsiteY2437" fmla="*/ 179165 h 1849426"/>
                <a:gd name="connsiteX2438" fmla="*/ 3208343 w 6386648"/>
                <a:gd name="connsiteY2438" fmla="*/ 161140 h 1849426"/>
                <a:gd name="connsiteX2439" fmla="*/ 3226368 w 6386648"/>
                <a:gd name="connsiteY2439" fmla="*/ 143116 h 1849426"/>
                <a:gd name="connsiteX2440" fmla="*/ 4235735 w 6386648"/>
                <a:gd name="connsiteY2440" fmla="*/ 131100 h 1849426"/>
                <a:gd name="connsiteX2441" fmla="*/ 4253760 w 6386648"/>
                <a:gd name="connsiteY2441" fmla="*/ 149124 h 1849426"/>
                <a:gd name="connsiteX2442" fmla="*/ 4235735 w 6386648"/>
                <a:gd name="connsiteY2442" fmla="*/ 167149 h 1849426"/>
                <a:gd name="connsiteX2443" fmla="*/ 4217711 w 6386648"/>
                <a:gd name="connsiteY2443" fmla="*/ 149124 h 1849426"/>
                <a:gd name="connsiteX2444" fmla="*/ 4235735 w 6386648"/>
                <a:gd name="connsiteY2444" fmla="*/ 131100 h 1849426"/>
                <a:gd name="connsiteX2445" fmla="*/ 1057431 w 6386648"/>
                <a:gd name="connsiteY2445" fmla="*/ 131100 h 1849426"/>
                <a:gd name="connsiteX2446" fmla="*/ 1075456 w 6386648"/>
                <a:gd name="connsiteY2446" fmla="*/ 149124 h 1849426"/>
                <a:gd name="connsiteX2447" fmla="*/ 1057431 w 6386648"/>
                <a:gd name="connsiteY2447" fmla="*/ 167149 h 1849426"/>
                <a:gd name="connsiteX2448" fmla="*/ 1039407 w 6386648"/>
                <a:gd name="connsiteY2448" fmla="*/ 149124 h 1849426"/>
                <a:gd name="connsiteX2449" fmla="*/ 1057431 w 6386648"/>
                <a:gd name="connsiteY2449" fmla="*/ 131100 h 1849426"/>
                <a:gd name="connsiteX2450" fmla="*/ 4536141 w 6386648"/>
                <a:gd name="connsiteY2450" fmla="*/ 119083 h 1849426"/>
                <a:gd name="connsiteX2451" fmla="*/ 4554166 w 6386648"/>
                <a:gd name="connsiteY2451" fmla="*/ 137107 h 1849426"/>
                <a:gd name="connsiteX2452" fmla="*/ 4536141 w 6386648"/>
                <a:gd name="connsiteY2452" fmla="*/ 155132 h 1849426"/>
                <a:gd name="connsiteX2453" fmla="*/ 4518117 w 6386648"/>
                <a:gd name="connsiteY2453" fmla="*/ 137107 h 1849426"/>
                <a:gd name="connsiteX2454" fmla="*/ 4536141 w 6386648"/>
                <a:gd name="connsiteY2454" fmla="*/ 119083 h 1849426"/>
                <a:gd name="connsiteX2455" fmla="*/ 4361905 w 6386648"/>
                <a:gd name="connsiteY2455" fmla="*/ 119083 h 1849426"/>
                <a:gd name="connsiteX2456" fmla="*/ 4379930 w 6386648"/>
                <a:gd name="connsiteY2456" fmla="*/ 137107 h 1849426"/>
                <a:gd name="connsiteX2457" fmla="*/ 4361905 w 6386648"/>
                <a:gd name="connsiteY2457" fmla="*/ 155132 h 1849426"/>
                <a:gd name="connsiteX2458" fmla="*/ 4343881 w 6386648"/>
                <a:gd name="connsiteY2458" fmla="*/ 137107 h 1849426"/>
                <a:gd name="connsiteX2459" fmla="*/ 4361905 w 6386648"/>
                <a:gd name="connsiteY2459" fmla="*/ 119083 h 1849426"/>
                <a:gd name="connsiteX2460" fmla="*/ 6020151 w 6386648"/>
                <a:gd name="connsiteY2460" fmla="*/ 113075 h 1849426"/>
                <a:gd name="connsiteX2461" fmla="*/ 6038176 w 6386648"/>
                <a:gd name="connsiteY2461" fmla="*/ 131099 h 1849426"/>
                <a:gd name="connsiteX2462" fmla="*/ 6020151 w 6386648"/>
                <a:gd name="connsiteY2462" fmla="*/ 149124 h 1849426"/>
                <a:gd name="connsiteX2463" fmla="*/ 6002126 w 6386648"/>
                <a:gd name="connsiteY2463" fmla="*/ 131099 h 1849426"/>
                <a:gd name="connsiteX2464" fmla="*/ 6020151 w 6386648"/>
                <a:gd name="connsiteY2464" fmla="*/ 113075 h 1849426"/>
                <a:gd name="connsiteX2465" fmla="*/ 5209053 w 6386648"/>
                <a:gd name="connsiteY2465" fmla="*/ 113075 h 1849426"/>
                <a:gd name="connsiteX2466" fmla="*/ 5227078 w 6386648"/>
                <a:gd name="connsiteY2466" fmla="*/ 131099 h 1849426"/>
                <a:gd name="connsiteX2467" fmla="*/ 5209053 w 6386648"/>
                <a:gd name="connsiteY2467" fmla="*/ 149124 h 1849426"/>
                <a:gd name="connsiteX2468" fmla="*/ 5191028 w 6386648"/>
                <a:gd name="connsiteY2468" fmla="*/ 131099 h 1849426"/>
                <a:gd name="connsiteX2469" fmla="*/ 5209053 w 6386648"/>
                <a:gd name="connsiteY2469" fmla="*/ 113075 h 1849426"/>
                <a:gd name="connsiteX2470" fmla="*/ 2865880 w 6386648"/>
                <a:gd name="connsiteY2470" fmla="*/ 113075 h 1849426"/>
                <a:gd name="connsiteX2471" fmla="*/ 2883905 w 6386648"/>
                <a:gd name="connsiteY2471" fmla="*/ 131099 h 1849426"/>
                <a:gd name="connsiteX2472" fmla="*/ 2865880 w 6386648"/>
                <a:gd name="connsiteY2472" fmla="*/ 149124 h 1849426"/>
                <a:gd name="connsiteX2473" fmla="*/ 2847855 w 6386648"/>
                <a:gd name="connsiteY2473" fmla="*/ 131099 h 1849426"/>
                <a:gd name="connsiteX2474" fmla="*/ 2865880 w 6386648"/>
                <a:gd name="connsiteY2474" fmla="*/ 113075 h 1849426"/>
                <a:gd name="connsiteX2475" fmla="*/ 2751725 w 6386648"/>
                <a:gd name="connsiteY2475" fmla="*/ 113075 h 1849426"/>
                <a:gd name="connsiteX2476" fmla="*/ 2769750 w 6386648"/>
                <a:gd name="connsiteY2476" fmla="*/ 131099 h 1849426"/>
                <a:gd name="connsiteX2477" fmla="*/ 2751725 w 6386648"/>
                <a:gd name="connsiteY2477" fmla="*/ 149124 h 1849426"/>
                <a:gd name="connsiteX2478" fmla="*/ 2733701 w 6386648"/>
                <a:gd name="connsiteY2478" fmla="*/ 131099 h 1849426"/>
                <a:gd name="connsiteX2479" fmla="*/ 2751725 w 6386648"/>
                <a:gd name="connsiteY2479" fmla="*/ 113075 h 1849426"/>
                <a:gd name="connsiteX2480" fmla="*/ 5797850 w 6386648"/>
                <a:gd name="connsiteY2480" fmla="*/ 107067 h 1849426"/>
                <a:gd name="connsiteX2481" fmla="*/ 5815875 w 6386648"/>
                <a:gd name="connsiteY2481" fmla="*/ 125092 h 1849426"/>
                <a:gd name="connsiteX2482" fmla="*/ 5797850 w 6386648"/>
                <a:gd name="connsiteY2482" fmla="*/ 143116 h 1849426"/>
                <a:gd name="connsiteX2483" fmla="*/ 5779826 w 6386648"/>
                <a:gd name="connsiteY2483" fmla="*/ 125092 h 1849426"/>
                <a:gd name="connsiteX2484" fmla="*/ 5797850 w 6386648"/>
                <a:gd name="connsiteY2484" fmla="*/ 107067 h 1849426"/>
                <a:gd name="connsiteX2485" fmla="*/ 4055491 w 6386648"/>
                <a:gd name="connsiteY2485" fmla="*/ 107067 h 1849426"/>
                <a:gd name="connsiteX2486" fmla="*/ 4073516 w 6386648"/>
                <a:gd name="connsiteY2486" fmla="*/ 125092 h 1849426"/>
                <a:gd name="connsiteX2487" fmla="*/ 4055491 w 6386648"/>
                <a:gd name="connsiteY2487" fmla="*/ 143116 h 1849426"/>
                <a:gd name="connsiteX2488" fmla="*/ 4037467 w 6386648"/>
                <a:gd name="connsiteY2488" fmla="*/ 125092 h 1849426"/>
                <a:gd name="connsiteX2489" fmla="*/ 4055491 w 6386648"/>
                <a:gd name="connsiteY2489" fmla="*/ 107067 h 1849426"/>
                <a:gd name="connsiteX2490" fmla="*/ 3917303 w 6386648"/>
                <a:gd name="connsiteY2490" fmla="*/ 107067 h 1849426"/>
                <a:gd name="connsiteX2491" fmla="*/ 3935328 w 6386648"/>
                <a:gd name="connsiteY2491" fmla="*/ 125092 h 1849426"/>
                <a:gd name="connsiteX2492" fmla="*/ 3917303 w 6386648"/>
                <a:gd name="connsiteY2492" fmla="*/ 143116 h 1849426"/>
                <a:gd name="connsiteX2493" fmla="*/ 3899278 w 6386648"/>
                <a:gd name="connsiteY2493" fmla="*/ 125092 h 1849426"/>
                <a:gd name="connsiteX2494" fmla="*/ 3917303 w 6386648"/>
                <a:gd name="connsiteY2494" fmla="*/ 107067 h 1849426"/>
                <a:gd name="connsiteX2495" fmla="*/ 3346531 w 6386648"/>
                <a:gd name="connsiteY2495" fmla="*/ 107067 h 1849426"/>
                <a:gd name="connsiteX2496" fmla="*/ 3364556 w 6386648"/>
                <a:gd name="connsiteY2496" fmla="*/ 125092 h 1849426"/>
                <a:gd name="connsiteX2497" fmla="*/ 3346531 w 6386648"/>
                <a:gd name="connsiteY2497" fmla="*/ 143116 h 1849426"/>
                <a:gd name="connsiteX2498" fmla="*/ 3328506 w 6386648"/>
                <a:gd name="connsiteY2498" fmla="*/ 125092 h 1849426"/>
                <a:gd name="connsiteX2499" fmla="*/ 3346531 w 6386648"/>
                <a:gd name="connsiteY2499" fmla="*/ 107067 h 1849426"/>
                <a:gd name="connsiteX2500" fmla="*/ 2024741 w 6386648"/>
                <a:gd name="connsiteY2500" fmla="*/ 107067 h 1849426"/>
                <a:gd name="connsiteX2501" fmla="*/ 2042766 w 6386648"/>
                <a:gd name="connsiteY2501" fmla="*/ 125092 h 1849426"/>
                <a:gd name="connsiteX2502" fmla="*/ 2024741 w 6386648"/>
                <a:gd name="connsiteY2502" fmla="*/ 143116 h 1849426"/>
                <a:gd name="connsiteX2503" fmla="*/ 2006717 w 6386648"/>
                <a:gd name="connsiteY2503" fmla="*/ 125092 h 1849426"/>
                <a:gd name="connsiteX2504" fmla="*/ 2024741 w 6386648"/>
                <a:gd name="connsiteY2504" fmla="*/ 107067 h 1849426"/>
                <a:gd name="connsiteX2505" fmla="*/ 240325 w 6386648"/>
                <a:gd name="connsiteY2505" fmla="*/ 107067 h 1849426"/>
                <a:gd name="connsiteX2506" fmla="*/ 258350 w 6386648"/>
                <a:gd name="connsiteY2506" fmla="*/ 125092 h 1849426"/>
                <a:gd name="connsiteX2507" fmla="*/ 240325 w 6386648"/>
                <a:gd name="connsiteY2507" fmla="*/ 143116 h 1849426"/>
                <a:gd name="connsiteX2508" fmla="*/ 222301 w 6386648"/>
                <a:gd name="connsiteY2508" fmla="*/ 125092 h 1849426"/>
                <a:gd name="connsiteX2509" fmla="*/ 240325 w 6386648"/>
                <a:gd name="connsiteY2509" fmla="*/ 107067 h 1849426"/>
                <a:gd name="connsiteX2510" fmla="*/ 3761092 w 6386648"/>
                <a:gd name="connsiteY2510" fmla="*/ 101059 h 1849426"/>
                <a:gd name="connsiteX2511" fmla="*/ 3779117 w 6386648"/>
                <a:gd name="connsiteY2511" fmla="*/ 119083 h 1849426"/>
                <a:gd name="connsiteX2512" fmla="*/ 3761092 w 6386648"/>
                <a:gd name="connsiteY2512" fmla="*/ 137108 h 1849426"/>
                <a:gd name="connsiteX2513" fmla="*/ 3743068 w 6386648"/>
                <a:gd name="connsiteY2513" fmla="*/ 119083 h 1849426"/>
                <a:gd name="connsiteX2514" fmla="*/ 3761092 w 6386648"/>
                <a:gd name="connsiteY2514" fmla="*/ 101059 h 1849426"/>
                <a:gd name="connsiteX2515" fmla="*/ 1706311 w 6386648"/>
                <a:gd name="connsiteY2515" fmla="*/ 101059 h 1849426"/>
                <a:gd name="connsiteX2516" fmla="*/ 1724335 w 6386648"/>
                <a:gd name="connsiteY2516" fmla="*/ 119083 h 1849426"/>
                <a:gd name="connsiteX2517" fmla="*/ 1706311 w 6386648"/>
                <a:gd name="connsiteY2517" fmla="*/ 137108 h 1849426"/>
                <a:gd name="connsiteX2518" fmla="*/ 1688286 w 6386648"/>
                <a:gd name="connsiteY2518" fmla="*/ 119083 h 1849426"/>
                <a:gd name="connsiteX2519" fmla="*/ 1706311 w 6386648"/>
                <a:gd name="connsiteY2519" fmla="*/ 101059 h 1849426"/>
                <a:gd name="connsiteX2520" fmla="*/ 1574131 w 6386648"/>
                <a:gd name="connsiteY2520" fmla="*/ 101059 h 1849426"/>
                <a:gd name="connsiteX2521" fmla="*/ 1592156 w 6386648"/>
                <a:gd name="connsiteY2521" fmla="*/ 119083 h 1849426"/>
                <a:gd name="connsiteX2522" fmla="*/ 1574131 w 6386648"/>
                <a:gd name="connsiteY2522" fmla="*/ 137108 h 1849426"/>
                <a:gd name="connsiteX2523" fmla="*/ 1556107 w 6386648"/>
                <a:gd name="connsiteY2523" fmla="*/ 119083 h 1849426"/>
                <a:gd name="connsiteX2524" fmla="*/ 1574131 w 6386648"/>
                <a:gd name="connsiteY2524" fmla="*/ 101059 h 1849426"/>
                <a:gd name="connsiteX2525" fmla="*/ 5611598 w 6386648"/>
                <a:gd name="connsiteY2525" fmla="*/ 89043 h 1849426"/>
                <a:gd name="connsiteX2526" fmla="*/ 5629623 w 6386648"/>
                <a:gd name="connsiteY2526" fmla="*/ 107067 h 1849426"/>
                <a:gd name="connsiteX2527" fmla="*/ 5611598 w 6386648"/>
                <a:gd name="connsiteY2527" fmla="*/ 125092 h 1849426"/>
                <a:gd name="connsiteX2528" fmla="*/ 5593574 w 6386648"/>
                <a:gd name="connsiteY2528" fmla="*/ 107067 h 1849426"/>
                <a:gd name="connsiteX2529" fmla="*/ 5611598 w 6386648"/>
                <a:gd name="connsiteY2529" fmla="*/ 89043 h 1849426"/>
                <a:gd name="connsiteX2530" fmla="*/ 5419337 w 6386648"/>
                <a:gd name="connsiteY2530" fmla="*/ 89043 h 1849426"/>
                <a:gd name="connsiteX2531" fmla="*/ 5437362 w 6386648"/>
                <a:gd name="connsiteY2531" fmla="*/ 107067 h 1849426"/>
                <a:gd name="connsiteX2532" fmla="*/ 5419337 w 6386648"/>
                <a:gd name="connsiteY2532" fmla="*/ 125092 h 1849426"/>
                <a:gd name="connsiteX2533" fmla="*/ 5401312 w 6386648"/>
                <a:gd name="connsiteY2533" fmla="*/ 107067 h 1849426"/>
                <a:gd name="connsiteX2534" fmla="*/ 5419337 w 6386648"/>
                <a:gd name="connsiteY2534" fmla="*/ 89043 h 1849426"/>
                <a:gd name="connsiteX2535" fmla="*/ 2992051 w 6386648"/>
                <a:gd name="connsiteY2535" fmla="*/ 89043 h 1849426"/>
                <a:gd name="connsiteX2536" fmla="*/ 3010076 w 6386648"/>
                <a:gd name="connsiteY2536" fmla="*/ 107067 h 1849426"/>
                <a:gd name="connsiteX2537" fmla="*/ 2992051 w 6386648"/>
                <a:gd name="connsiteY2537" fmla="*/ 125092 h 1849426"/>
                <a:gd name="connsiteX2538" fmla="*/ 2974027 w 6386648"/>
                <a:gd name="connsiteY2538" fmla="*/ 107067 h 1849426"/>
                <a:gd name="connsiteX2539" fmla="*/ 2992051 w 6386648"/>
                <a:gd name="connsiteY2539" fmla="*/ 89043 h 1849426"/>
                <a:gd name="connsiteX2540" fmla="*/ 6368623 w 6386648"/>
                <a:gd name="connsiteY2540" fmla="*/ 83034 h 1849426"/>
                <a:gd name="connsiteX2541" fmla="*/ 6386648 w 6386648"/>
                <a:gd name="connsiteY2541" fmla="*/ 101058 h 1849426"/>
                <a:gd name="connsiteX2542" fmla="*/ 6368623 w 6386648"/>
                <a:gd name="connsiteY2542" fmla="*/ 119083 h 1849426"/>
                <a:gd name="connsiteX2543" fmla="*/ 6350599 w 6386648"/>
                <a:gd name="connsiteY2543" fmla="*/ 101058 h 1849426"/>
                <a:gd name="connsiteX2544" fmla="*/ 6368623 w 6386648"/>
                <a:gd name="connsiteY2544" fmla="*/ 83034 h 1849426"/>
                <a:gd name="connsiteX2545" fmla="*/ 6242452 w 6386648"/>
                <a:gd name="connsiteY2545" fmla="*/ 83034 h 1849426"/>
                <a:gd name="connsiteX2546" fmla="*/ 6260477 w 6386648"/>
                <a:gd name="connsiteY2546" fmla="*/ 101058 h 1849426"/>
                <a:gd name="connsiteX2547" fmla="*/ 6242452 w 6386648"/>
                <a:gd name="connsiteY2547" fmla="*/ 119083 h 1849426"/>
                <a:gd name="connsiteX2548" fmla="*/ 6224428 w 6386648"/>
                <a:gd name="connsiteY2548" fmla="*/ 101058 h 1849426"/>
                <a:gd name="connsiteX2549" fmla="*/ 6242452 w 6386648"/>
                <a:gd name="connsiteY2549" fmla="*/ 83034 h 1849426"/>
                <a:gd name="connsiteX2550" fmla="*/ 4884613 w 6386648"/>
                <a:gd name="connsiteY2550" fmla="*/ 83034 h 1849426"/>
                <a:gd name="connsiteX2551" fmla="*/ 4902638 w 6386648"/>
                <a:gd name="connsiteY2551" fmla="*/ 101058 h 1849426"/>
                <a:gd name="connsiteX2552" fmla="*/ 4884613 w 6386648"/>
                <a:gd name="connsiteY2552" fmla="*/ 119083 h 1849426"/>
                <a:gd name="connsiteX2553" fmla="*/ 4866589 w 6386648"/>
                <a:gd name="connsiteY2553" fmla="*/ 101058 h 1849426"/>
                <a:gd name="connsiteX2554" fmla="*/ 4884613 w 6386648"/>
                <a:gd name="connsiteY2554" fmla="*/ 83034 h 1849426"/>
                <a:gd name="connsiteX2555" fmla="*/ 3118221 w 6386648"/>
                <a:gd name="connsiteY2555" fmla="*/ 83034 h 1849426"/>
                <a:gd name="connsiteX2556" fmla="*/ 3136246 w 6386648"/>
                <a:gd name="connsiteY2556" fmla="*/ 101058 h 1849426"/>
                <a:gd name="connsiteX2557" fmla="*/ 3118221 w 6386648"/>
                <a:gd name="connsiteY2557" fmla="*/ 119083 h 1849426"/>
                <a:gd name="connsiteX2558" fmla="*/ 3100197 w 6386648"/>
                <a:gd name="connsiteY2558" fmla="*/ 101058 h 1849426"/>
                <a:gd name="connsiteX2559" fmla="*/ 3118221 w 6386648"/>
                <a:gd name="connsiteY2559" fmla="*/ 83034 h 1849426"/>
                <a:gd name="connsiteX2560" fmla="*/ 2619546 w 6386648"/>
                <a:gd name="connsiteY2560" fmla="*/ 83034 h 1849426"/>
                <a:gd name="connsiteX2561" fmla="*/ 2637571 w 6386648"/>
                <a:gd name="connsiteY2561" fmla="*/ 101058 h 1849426"/>
                <a:gd name="connsiteX2562" fmla="*/ 2619546 w 6386648"/>
                <a:gd name="connsiteY2562" fmla="*/ 119083 h 1849426"/>
                <a:gd name="connsiteX2563" fmla="*/ 2601522 w 6386648"/>
                <a:gd name="connsiteY2563" fmla="*/ 101058 h 1849426"/>
                <a:gd name="connsiteX2564" fmla="*/ 2619546 w 6386648"/>
                <a:gd name="connsiteY2564" fmla="*/ 83034 h 1849426"/>
                <a:gd name="connsiteX2565" fmla="*/ 1291748 w 6386648"/>
                <a:gd name="connsiteY2565" fmla="*/ 83034 h 1849426"/>
                <a:gd name="connsiteX2566" fmla="*/ 1309773 w 6386648"/>
                <a:gd name="connsiteY2566" fmla="*/ 101058 h 1849426"/>
                <a:gd name="connsiteX2567" fmla="*/ 1291748 w 6386648"/>
                <a:gd name="connsiteY2567" fmla="*/ 119083 h 1849426"/>
                <a:gd name="connsiteX2568" fmla="*/ 1273724 w 6386648"/>
                <a:gd name="connsiteY2568" fmla="*/ 101058 h 1849426"/>
                <a:gd name="connsiteX2569" fmla="*/ 1291748 w 6386648"/>
                <a:gd name="connsiteY2569" fmla="*/ 83034 h 1849426"/>
                <a:gd name="connsiteX2570" fmla="*/ 702951 w 6386648"/>
                <a:gd name="connsiteY2570" fmla="*/ 83034 h 1849426"/>
                <a:gd name="connsiteX2571" fmla="*/ 720976 w 6386648"/>
                <a:gd name="connsiteY2571" fmla="*/ 101058 h 1849426"/>
                <a:gd name="connsiteX2572" fmla="*/ 702951 w 6386648"/>
                <a:gd name="connsiteY2572" fmla="*/ 119083 h 1849426"/>
                <a:gd name="connsiteX2573" fmla="*/ 684927 w 6386648"/>
                <a:gd name="connsiteY2573" fmla="*/ 101058 h 1849426"/>
                <a:gd name="connsiteX2574" fmla="*/ 702951 w 6386648"/>
                <a:gd name="connsiteY2574" fmla="*/ 83034 h 1849426"/>
                <a:gd name="connsiteX2575" fmla="*/ 2319139 w 6386648"/>
                <a:gd name="connsiteY2575" fmla="*/ 65010 h 1849426"/>
                <a:gd name="connsiteX2576" fmla="*/ 2337164 w 6386648"/>
                <a:gd name="connsiteY2576" fmla="*/ 83034 h 1849426"/>
                <a:gd name="connsiteX2577" fmla="*/ 2319139 w 6386648"/>
                <a:gd name="connsiteY2577" fmla="*/ 101059 h 1849426"/>
                <a:gd name="connsiteX2578" fmla="*/ 2301115 w 6386648"/>
                <a:gd name="connsiteY2578" fmla="*/ 83034 h 1849426"/>
                <a:gd name="connsiteX2579" fmla="*/ 2319139 w 6386648"/>
                <a:gd name="connsiteY2579" fmla="*/ 65010 h 1849426"/>
                <a:gd name="connsiteX2580" fmla="*/ 564765 w 6386648"/>
                <a:gd name="connsiteY2580" fmla="*/ 65010 h 1849426"/>
                <a:gd name="connsiteX2581" fmla="*/ 582789 w 6386648"/>
                <a:gd name="connsiteY2581" fmla="*/ 83034 h 1849426"/>
                <a:gd name="connsiteX2582" fmla="*/ 564765 w 6386648"/>
                <a:gd name="connsiteY2582" fmla="*/ 101059 h 1849426"/>
                <a:gd name="connsiteX2583" fmla="*/ 546740 w 6386648"/>
                <a:gd name="connsiteY2583" fmla="*/ 83034 h 1849426"/>
                <a:gd name="connsiteX2584" fmla="*/ 564765 w 6386648"/>
                <a:gd name="connsiteY2584" fmla="*/ 65010 h 1849426"/>
                <a:gd name="connsiteX2585" fmla="*/ 18024 w 6386648"/>
                <a:gd name="connsiteY2585" fmla="*/ 65010 h 1849426"/>
                <a:gd name="connsiteX2586" fmla="*/ 36049 w 6386648"/>
                <a:gd name="connsiteY2586" fmla="*/ 83034 h 1849426"/>
                <a:gd name="connsiteX2587" fmla="*/ 18024 w 6386648"/>
                <a:gd name="connsiteY2587" fmla="*/ 101059 h 1849426"/>
                <a:gd name="connsiteX2588" fmla="*/ 0 w 6386648"/>
                <a:gd name="connsiteY2588" fmla="*/ 83034 h 1849426"/>
                <a:gd name="connsiteX2589" fmla="*/ 18024 w 6386648"/>
                <a:gd name="connsiteY2589" fmla="*/ 65010 h 1849426"/>
                <a:gd name="connsiteX2590" fmla="*/ 5052841 w 6386648"/>
                <a:gd name="connsiteY2590" fmla="*/ 59002 h 1849426"/>
                <a:gd name="connsiteX2591" fmla="*/ 5070866 w 6386648"/>
                <a:gd name="connsiteY2591" fmla="*/ 77026 h 1849426"/>
                <a:gd name="connsiteX2592" fmla="*/ 5052841 w 6386648"/>
                <a:gd name="connsiteY2592" fmla="*/ 95051 h 1849426"/>
                <a:gd name="connsiteX2593" fmla="*/ 5034817 w 6386648"/>
                <a:gd name="connsiteY2593" fmla="*/ 77026 h 1849426"/>
                <a:gd name="connsiteX2594" fmla="*/ 5052841 w 6386648"/>
                <a:gd name="connsiteY2594" fmla="*/ 59002 h 1849426"/>
                <a:gd name="connsiteX2595" fmla="*/ 3490726 w 6386648"/>
                <a:gd name="connsiteY2595" fmla="*/ 59002 h 1849426"/>
                <a:gd name="connsiteX2596" fmla="*/ 3508751 w 6386648"/>
                <a:gd name="connsiteY2596" fmla="*/ 77026 h 1849426"/>
                <a:gd name="connsiteX2597" fmla="*/ 3490726 w 6386648"/>
                <a:gd name="connsiteY2597" fmla="*/ 95051 h 1849426"/>
                <a:gd name="connsiteX2598" fmla="*/ 3472702 w 6386648"/>
                <a:gd name="connsiteY2598" fmla="*/ 77026 h 1849426"/>
                <a:gd name="connsiteX2599" fmla="*/ 3490726 w 6386648"/>
                <a:gd name="connsiteY2599" fmla="*/ 59002 h 1849426"/>
                <a:gd name="connsiteX2600" fmla="*/ 1447960 w 6386648"/>
                <a:gd name="connsiteY2600" fmla="*/ 59002 h 1849426"/>
                <a:gd name="connsiteX2601" fmla="*/ 1465985 w 6386648"/>
                <a:gd name="connsiteY2601" fmla="*/ 77026 h 1849426"/>
                <a:gd name="connsiteX2602" fmla="*/ 1447960 w 6386648"/>
                <a:gd name="connsiteY2602" fmla="*/ 95051 h 1849426"/>
                <a:gd name="connsiteX2603" fmla="*/ 1429936 w 6386648"/>
                <a:gd name="connsiteY2603" fmla="*/ 77026 h 1849426"/>
                <a:gd name="connsiteX2604" fmla="*/ 1447960 w 6386648"/>
                <a:gd name="connsiteY2604" fmla="*/ 59002 h 1849426"/>
                <a:gd name="connsiteX2605" fmla="*/ 2192969 w 6386648"/>
                <a:gd name="connsiteY2605" fmla="*/ 46987 h 1849426"/>
                <a:gd name="connsiteX2606" fmla="*/ 2210994 w 6386648"/>
                <a:gd name="connsiteY2606" fmla="*/ 65012 h 1849426"/>
                <a:gd name="connsiteX2607" fmla="*/ 2192969 w 6386648"/>
                <a:gd name="connsiteY2607" fmla="*/ 83036 h 1849426"/>
                <a:gd name="connsiteX2608" fmla="*/ 2174945 w 6386648"/>
                <a:gd name="connsiteY2608" fmla="*/ 65012 h 1849426"/>
                <a:gd name="connsiteX2609" fmla="*/ 2192969 w 6386648"/>
                <a:gd name="connsiteY2609" fmla="*/ 46987 h 1849426"/>
                <a:gd name="connsiteX2610" fmla="*/ 4434003 w 6386648"/>
                <a:gd name="connsiteY2610" fmla="*/ 40979 h 1849426"/>
                <a:gd name="connsiteX2611" fmla="*/ 4452028 w 6386648"/>
                <a:gd name="connsiteY2611" fmla="*/ 59003 h 1849426"/>
                <a:gd name="connsiteX2612" fmla="*/ 4434003 w 6386648"/>
                <a:gd name="connsiteY2612" fmla="*/ 77028 h 1849426"/>
                <a:gd name="connsiteX2613" fmla="*/ 4415979 w 6386648"/>
                <a:gd name="connsiteY2613" fmla="*/ 59003 h 1849426"/>
                <a:gd name="connsiteX2614" fmla="*/ 4434003 w 6386648"/>
                <a:gd name="connsiteY2614" fmla="*/ 40979 h 1849426"/>
                <a:gd name="connsiteX2615" fmla="*/ 3616897 w 6386648"/>
                <a:gd name="connsiteY2615" fmla="*/ 40979 h 1849426"/>
                <a:gd name="connsiteX2616" fmla="*/ 3634922 w 6386648"/>
                <a:gd name="connsiteY2616" fmla="*/ 59003 h 1849426"/>
                <a:gd name="connsiteX2617" fmla="*/ 3616897 w 6386648"/>
                <a:gd name="connsiteY2617" fmla="*/ 77028 h 1849426"/>
                <a:gd name="connsiteX2618" fmla="*/ 3598872 w 6386648"/>
                <a:gd name="connsiteY2618" fmla="*/ 59003 h 1849426"/>
                <a:gd name="connsiteX2619" fmla="*/ 3616897 w 6386648"/>
                <a:gd name="connsiteY2619" fmla="*/ 40979 h 1849426"/>
                <a:gd name="connsiteX2620" fmla="*/ 1826473 w 6386648"/>
                <a:gd name="connsiteY2620" fmla="*/ 40979 h 1849426"/>
                <a:gd name="connsiteX2621" fmla="*/ 1844497 w 6386648"/>
                <a:gd name="connsiteY2621" fmla="*/ 59003 h 1849426"/>
                <a:gd name="connsiteX2622" fmla="*/ 1826473 w 6386648"/>
                <a:gd name="connsiteY2622" fmla="*/ 77028 h 1849426"/>
                <a:gd name="connsiteX2623" fmla="*/ 1808448 w 6386648"/>
                <a:gd name="connsiteY2623" fmla="*/ 59003 h 1849426"/>
                <a:gd name="connsiteX2624" fmla="*/ 1826473 w 6386648"/>
                <a:gd name="connsiteY2624" fmla="*/ 40979 h 1849426"/>
                <a:gd name="connsiteX2625" fmla="*/ 5942045 w 6386648"/>
                <a:gd name="connsiteY2625" fmla="*/ 34970 h 1849426"/>
                <a:gd name="connsiteX2626" fmla="*/ 5960070 w 6386648"/>
                <a:gd name="connsiteY2626" fmla="*/ 52994 h 1849426"/>
                <a:gd name="connsiteX2627" fmla="*/ 5942045 w 6386648"/>
                <a:gd name="connsiteY2627" fmla="*/ 71019 h 1849426"/>
                <a:gd name="connsiteX2628" fmla="*/ 5924021 w 6386648"/>
                <a:gd name="connsiteY2628" fmla="*/ 52994 h 1849426"/>
                <a:gd name="connsiteX2629" fmla="*/ 5942045 w 6386648"/>
                <a:gd name="connsiteY2629" fmla="*/ 34970 h 1849426"/>
                <a:gd name="connsiteX2630" fmla="*/ 5719744 w 6386648"/>
                <a:gd name="connsiteY2630" fmla="*/ 34970 h 1849426"/>
                <a:gd name="connsiteX2631" fmla="*/ 5737769 w 6386648"/>
                <a:gd name="connsiteY2631" fmla="*/ 52994 h 1849426"/>
                <a:gd name="connsiteX2632" fmla="*/ 5719744 w 6386648"/>
                <a:gd name="connsiteY2632" fmla="*/ 71019 h 1849426"/>
                <a:gd name="connsiteX2633" fmla="*/ 5701719 w 6386648"/>
                <a:gd name="connsiteY2633" fmla="*/ 52994 h 1849426"/>
                <a:gd name="connsiteX2634" fmla="*/ 5719744 w 6386648"/>
                <a:gd name="connsiteY2634" fmla="*/ 34970 h 1849426"/>
                <a:gd name="connsiteX2635" fmla="*/ 1171586 w 6386648"/>
                <a:gd name="connsiteY2635" fmla="*/ 34970 h 1849426"/>
                <a:gd name="connsiteX2636" fmla="*/ 1189611 w 6386648"/>
                <a:gd name="connsiteY2636" fmla="*/ 52994 h 1849426"/>
                <a:gd name="connsiteX2637" fmla="*/ 1171586 w 6386648"/>
                <a:gd name="connsiteY2637" fmla="*/ 71019 h 1849426"/>
                <a:gd name="connsiteX2638" fmla="*/ 1153562 w 6386648"/>
                <a:gd name="connsiteY2638" fmla="*/ 52994 h 1849426"/>
                <a:gd name="connsiteX2639" fmla="*/ 1171586 w 6386648"/>
                <a:gd name="connsiteY2639" fmla="*/ 34970 h 1849426"/>
                <a:gd name="connsiteX2640" fmla="*/ 937268 w 6386648"/>
                <a:gd name="connsiteY2640" fmla="*/ 34970 h 1849426"/>
                <a:gd name="connsiteX2641" fmla="*/ 955293 w 6386648"/>
                <a:gd name="connsiteY2641" fmla="*/ 52994 h 1849426"/>
                <a:gd name="connsiteX2642" fmla="*/ 937268 w 6386648"/>
                <a:gd name="connsiteY2642" fmla="*/ 71019 h 1849426"/>
                <a:gd name="connsiteX2643" fmla="*/ 919244 w 6386648"/>
                <a:gd name="connsiteY2643" fmla="*/ 52994 h 1849426"/>
                <a:gd name="connsiteX2644" fmla="*/ 937268 w 6386648"/>
                <a:gd name="connsiteY2644" fmla="*/ 34970 h 1849426"/>
                <a:gd name="connsiteX2645" fmla="*/ 426577 w 6386648"/>
                <a:gd name="connsiteY2645" fmla="*/ 34970 h 1849426"/>
                <a:gd name="connsiteX2646" fmla="*/ 444602 w 6386648"/>
                <a:gd name="connsiteY2646" fmla="*/ 52994 h 1849426"/>
                <a:gd name="connsiteX2647" fmla="*/ 426577 w 6386648"/>
                <a:gd name="connsiteY2647" fmla="*/ 71019 h 1849426"/>
                <a:gd name="connsiteX2648" fmla="*/ 408553 w 6386648"/>
                <a:gd name="connsiteY2648" fmla="*/ 52994 h 1849426"/>
                <a:gd name="connsiteX2649" fmla="*/ 426577 w 6386648"/>
                <a:gd name="connsiteY2649" fmla="*/ 34970 h 1849426"/>
                <a:gd name="connsiteX2650" fmla="*/ 6146322 w 6386648"/>
                <a:gd name="connsiteY2650" fmla="*/ 28962 h 1849426"/>
                <a:gd name="connsiteX2651" fmla="*/ 6164347 w 6386648"/>
                <a:gd name="connsiteY2651" fmla="*/ 46986 h 1849426"/>
                <a:gd name="connsiteX2652" fmla="*/ 6146322 w 6386648"/>
                <a:gd name="connsiteY2652" fmla="*/ 65011 h 1849426"/>
                <a:gd name="connsiteX2653" fmla="*/ 6128298 w 6386648"/>
                <a:gd name="connsiteY2653" fmla="*/ 46986 h 1849426"/>
                <a:gd name="connsiteX2654" fmla="*/ 6146322 w 6386648"/>
                <a:gd name="connsiteY2654" fmla="*/ 28962 h 1849426"/>
                <a:gd name="connsiteX2655" fmla="*/ 4776467 w 6386648"/>
                <a:gd name="connsiteY2655" fmla="*/ 28962 h 1849426"/>
                <a:gd name="connsiteX2656" fmla="*/ 4794492 w 6386648"/>
                <a:gd name="connsiteY2656" fmla="*/ 46986 h 1849426"/>
                <a:gd name="connsiteX2657" fmla="*/ 4776467 w 6386648"/>
                <a:gd name="connsiteY2657" fmla="*/ 65011 h 1849426"/>
                <a:gd name="connsiteX2658" fmla="*/ 4758443 w 6386648"/>
                <a:gd name="connsiteY2658" fmla="*/ 46986 h 1849426"/>
                <a:gd name="connsiteX2659" fmla="*/ 4776467 w 6386648"/>
                <a:gd name="connsiteY2659" fmla="*/ 28962 h 1849426"/>
                <a:gd name="connsiteX2660" fmla="*/ 2451318 w 6386648"/>
                <a:gd name="connsiteY2660" fmla="*/ 28962 h 1849426"/>
                <a:gd name="connsiteX2661" fmla="*/ 2469343 w 6386648"/>
                <a:gd name="connsiteY2661" fmla="*/ 46986 h 1849426"/>
                <a:gd name="connsiteX2662" fmla="*/ 2451318 w 6386648"/>
                <a:gd name="connsiteY2662" fmla="*/ 65011 h 1849426"/>
                <a:gd name="connsiteX2663" fmla="*/ 2433294 w 6386648"/>
                <a:gd name="connsiteY2663" fmla="*/ 46986 h 1849426"/>
                <a:gd name="connsiteX2664" fmla="*/ 2451318 w 6386648"/>
                <a:gd name="connsiteY2664" fmla="*/ 28962 h 1849426"/>
                <a:gd name="connsiteX2665" fmla="*/ 150203 w 6386648"/>
                <a:gd name="connsiteY2665" fmla="*/ 28962 h 1849426"/>
                <a:gd name="connsiteX2666" fmla="*/ 168228 w 6386648"/>
                <a:gd name="connsiteY2666" fmla="*/ 46986 h 1849426"/>
                <a:gd name="connsiteX2667" fmla="*/ 150203 w 6386648"/>
                <a:gd name="connsiteY2667" fmla="*/ 65011 h 1849426"/>
                <a:gd name="connsiteX2668" fmla="*/ 132179 w 6386648"/>
                <a:gd name="connsiteY2668" fmla="*/ 46986 h 1849426"/>
                <a:gd name="connsiteX2669" fmla="*/ 150203 w 6386648"/>
                <a:gd name="connsiteY2669" fmla="*/ 28962 h 1849426"/>
                <a:gd name="connsiteX2670" fmla="*/ 4277792 w 6386648"/>
                <a:gd name="connsiteY2670" fmla="*/ 22954 h 1849426"/>
                <a:gd name="connsiteX2671" fmla="*/ 4295817 w 6386648"/>
                <a:gd name="connsiteY2671" fmla="*/ 40978 h 1849426"/>
                <a:gd name="connsiteX2672" fmla="*/ 4277792 w 6386648"/>
                <a:gd name="connsiteY2672" fmla="*/ 59003 h 1849426"/>
                <a:gd name="connsiteX2673" fmla="*/ 4259767 w 6386648"/>
                <a:gd name="connsiteY2673" fmla="*/ 40978 h 1849426"/>
                <a:gd name="connsiteX2674" fmla="*/ 4277792 w 6386648"/>
                <a:gd name="connsiteY2674" fmla="*/ 22954 h 1849426"/>
                <a:gd name="connsiteX2675" fmla="*/ 4145613 w 6386648"/>
                <a:gd name="connsiteY2675" fmla="*/ 22954 h 1849426"/>
                <a:gd name="connsiteX2676" fmla="*/ 4163638 w 6386648"/>
                <a:gd name="connsiteY2676" fmla="*/ 40978 h 1849426"/>
                <a:gd name="connsiteX2677" fmla="*/ 4145613 w 6386648"/>
                <a:gd name="connsiteY2677" fmla="*/ 59003 h 1849426"/>
                <a:gd name="connsiteX2678" fmla="*/ 4127589 w 6386648"/>
                <a:gd name="connsiteY2678" fmla="*/ 40978 h 1849426"/>
                <a:gd name="connsiteX2679" fmla="*/ 4145613 w 6386648"/>
                <a:gd name="connsiteY2679" fmla="*/ 22954 h 1849426"/>
                <a:gd name="connsiteX2680" fmla="*/ 817106 w 6386648"/>
                <a:gd name="connsiteY2680" fmla="*/ 22954 h 1849426"/>
                <a:gd name="connsiteX2681" fmla="*/ 829123 w 6386648"/>
                <a:gd name="connsiteY2681" fmla="*/ 34970 h 1849426"/>
                <a:gd name="connsiteX2682" fmla="*/ 817106 w 6386648"/>
                <a:gd name="connsiteY2682" fmla="*/ 46987 h 1849426"/>
                <a:gd name="connsiteX2683" fmla="*/ 805090 w 6386648"/>
                <a:gd name="connsiteY2683" fmla="*/ 34970 h 1849426"/>
                <a:gd name="connsiteX2684" fmla="*/ 817106 w 6386648"/>
                <a:gd name="connsiteY2684" fmla="*/ 22954 h 1849426"/>
                <a:gd name="connsiteX2685" fmla="*/ 5491435 w 6386648"/>
                <a:gd name="connsiteY2685" fmla="*/ 16946 h 1849426"/>
                <a:gd name="connsiteX2686" fmla="*/ 5509460 w 6386648"/>
                <a:gd name="connsiteY2686" fmla="*/ 34971 h 1849426"/>
                <a:gd name="connsiteX2687" fmla="*/ 5491435 w 6386648"/>
                <a:gd name="connsiteY2687" fmla="*/ 52995 h 1849426"/>
                <a:gd name="connsiteX2688" fmla="*/ 5473411 w 6386648"/>
                <a:gd name="connsiteY2688" fmla="*/ 34971 h 1849426"/>
                <a:gd name="connsiteX2689" fmla="*/ 5491435 w 6386648"/>
                <a:gd name="connsiteY2689" fmla="*/ 16946 h 1849426"/>
                <a:gd name="connsiteX2690" fmla="*/ 5323207 w 6386648"/>
                <a:gd name="connsiteY2690" fmla="*/ 16946 h 1849426"/>
                <a:gd name="connsiteX2691" fmla="*/ 5341232 w 6386648"/>
                <a:gd name="connsiteY2691" fmla="*/ 34971 h 1849426"/>
                <a:gd name="connsiteX2692" fmla="*/ 5323207 w 6386648"/>
                <a:gd name="connsiteY2692" fmla="*/ 52995 h 1849426"/>
                <a:gd name="connsiteX2693" fmla="*/ 5305183 w 6386648"/>
                <a:gd name="connsiteY2693" fmla="*/ 34971 h 1849426"/>
                <a:gd name="connsiteX2694" fmla="*/ 5323207 w 6386648"/>
                <a:gd name="connsiteY2694" fmla="*/ 16946 h 1849426"/>
                <a:gd name="connsiteX2695" fmla="*/ 4632272 w 6386648"/>
                <a:gd name="connsiteY2695" fmla="*/ 16946 h 1849426"/>
                <a:gd name="connsiteX2696" fmla="*/ 4650297 w 6386648"/>
                <a:gd name="connsiteY2696" fmla="*/ 34971 h 1849426"/>
                <a:gd name="connsiteX2697" fmla="*/ 4632272 w 6386648"/>
                <a:gd name="connsiteY2697" fmla="*/ 52995 h 1849426"/>
                <a:gd name="connsiteX2698" fmla="*/ 4614248 w 6386648"/>
                <a:gd name="connsiteY2698" fmla="*/ 34971 h 1849426"/>
                <a:gd name="connsiteX2699" fmla="*/ 4632272 w 6386648"/>
                <a:gd name="connsiteY2699" fmla="*/ 16946 h 1849426"/>
                <a:gd name="connsiteX2700" fmla="*/ 3226368 w 6386648"/>
                <a:gd name="connsiteY2700" fmla="*/ 16946 h 1849426"/>
                <a:gd name="connsiteX2701" fmla="*/ 3244393 w 6386648"/>
                <a:gd name="connsiteY2701" fmla="*/ 34971 h 1849426"/>
                <a:gd name="connsiteX2702" fmla="*/ 3226368 w 6386648"/>
                <a:gd name="connsiteY2702" fmla="*/ 52995 h 1849426"/>
                <a:gd name="connsiteX2703" fmla="*/ 3208343 w 6386648"/>
                <a:gd name="connsiteY2703" fmla="*/ 34971 h 1849426"/>
                <a:gd name="connsiteX2704" fmla="*/ 3226368 w 6386648"/>
                <a:gd name="connsiteY2704" fmla="*/ 16946 h 1849426"/>
                <a:gd name="connsiteX2705" fmla="*/ 3983393 w 6386648"/>
                <a:gd name="connsiteY2705" fmla="*/ 10938 h 1849426"/>
                <a:gd name="connsiteX2706" fmla="*/ 4001418 w 6386648"/>
                <a:gd name="connsiteY2706" fmla="*/ 28962 h 1849426"/>
                <a:gd name="connsiteX2707" fmla="*/ 3983393 w 6386648"/>
                <a:gd name="connsiteY2707" fmla="*/ 46987 h 1849426"/>
                <a:gd name="connsiteX2708" fmla="*/ 3965369 w 6386648"/>
                <a:gd name="connsiteY2708" fmla="*/ 28962 h 1849426"/>
                <a:gd name="connsiteX2709" fmla="*/ 3983393 w 6386648"/>
                <a:gd name="connsiteY2709" fmla="*/ 10938 h 1849426"/>
                <a:gd name="connsiteX2710" fmla="*/ 1039407 w 6386648"/>
                <a:gd name="connsiteY2710" fmla="*/ 10938 h 1849426"/>
                <a:gd name="connsiteX2711" fmla="*/ 1057432 w 6386648"/>
                <a:gd name="connsiteY2711" fmla="*/ 28962 h 1849426"/>
                <a:gd name="connsiteX2712" fmla="*/ 1039407 w 6386648"/>
                <a:gd name="connsiteY2712" fmla="*/ 46987 h 1849426"/>
                <a:gd name="connsiteX2713" fmla="*/ 1021383 w 6386648"/>
                <a:gd name="connsiteY2713" fmla="*/ 28962 h 1849426"/>
                <a:gd name="connsiteX2714" fmla="*/ 1039407 w 6386648"/>
                <a:gd name="connsiteY2714" fmla="*/ 10938 h 1849426"/>
                <a:gd name="connsiteX2715" fmla="*/ 312422 w 6386648"/>
                <a:gd name="connsiteY2715" fmla="*/ 10938 h 1849426"/>
                <a:gd name="connsiteX2716" fmla="*/ 330447 w 6386648"/>
                <a:gd name="connsiteY2716" fmla="*/ 28962 h 1849426"/>
                <a:gd name="connsiteX2717" fmla="*/ 312422 w 6386648"/>
                <a:gd name="connsiteY2717" fmla="*/ 46987 h 1849426"/>
                <a:gd name="connsiteX2718" fmla="*/ 294398 w 6386648"/>
                <a:gd name="connsiteY2718" fmla="*/ 28962 h 1849426"/>
                <a:gd name="connsiteX2719" fmla="*/ 312422 w 6386648"/>
                <a:gd name="connsiteY2719" fmla="*/ 10938 h 1849426"/>
                <a:gd name="connsiteX2720" fmla="*/ 3839198 w 6386648"/>
                <a:gd name="connsiteY2720" fmla="*/ 4930 h 1849426"/>
                <a:gd name="connsiteX2721" fmla="*/ 3857223 w 6386648"/>
                <a:gd name="connsiteY2721" fmla="*/ 22954 h 1849426"/>
                <a:gd name="connsiteX2722" fmla="*/ 3839198 w 6386648"/>
                <a:gd name="connsiteY2722" fmla="*/ 40979 h 1849426"/>
                <a:gd name="connsiteX2723" fmla="*/ 3821174 w 6386648"/>
                <a:gd name="connsiteY2723" fmla="*/ 22954 h 1849426"/>
                <a:gd name="connsiteX2724" fmla="*/ 3839198 w 6386648"/>
                <a:gd name="connsiteY2724" fmla="*/ 4930 h 1849426"/>
                <a:gd name="connsiteX2725" fmla="*/ 3388588 w 6386648"/>
                <a:gd name="connsiteY2725" fmla="*/ 4930 h 1849426"/>
                <a:gd name="connsiteX2726" fmla="*/ 3406613 w 6386648"/>
                <a:gd name="connsiteY2726" fmla="*/ 22954 h 1849426"/>
                <a:gd name="connsiteX2727" fmla="*/ 3388588 w 6386648"/>
                <a:gd name="connsiteY2727" fmla="*/ 40979 h 1849426"/>
                <a:gd name="connsiteX2728" fmla="*/ 3370564 w 6386648"/>
                <a:gd name="connsiteY2728" fmla="*/ 22954 h 1849426"/>
                <a:gd name="connsiteX2729" fmla="*/ 3388588 w 6386648"/>
                <a:gd name="connsiteY2729" fmla="*/ 4930 h 1849426"/>
                <a:gd name="connsiteX2730" fmla="*/ 5171526 w 6386648"/>
                <a:gd name="connsiteY2730" fmla="*/ 0 h 1849426"/>
                <a:gd name="connsiteX2731" fmla="*/ 5198514 w 6386648"/>
                <a:gd name="connsiteY2731" fmla="*/ 0 h 1849426"/>
                <a:gd name="connsiteX2732" fmla="*/ 5203045 w 6386648"/>
                <a:gd name="connsiteY2732" fmla="*/ 10937 h 1849426"/>
                <a:gd name="connsiteX2733" fmla="*/ 5185020 w 6386648"/>
                <a:gd name="connsiteY2733" fmla="*/ 28962 h 1849426"/>
                <a:gd name="connsiteX2734" fmla="*/ 5166996 w 6386648"/>
                <a:gd name="connsiteY2734" fmla="*/ 10937 h 1849426"/>
                <a:gd name="connsiteX2735" fmla="*/ 4908761 w 6386648"/>
                <a:gd name="connsiteY2735" fmla="*/ 0 h 1849426"/>
                <a:gd name="connsiteX2736" fmla="*/ 4932564 w 6386648"/>
                <a:gd name="connsiteY2736" fmla="*/ 0 h 1849426"/>
                <a:gd name="connsiteX2737" fmla="*/ 4920662 w 6386648"/>
                <a:gd name="connsiteY2737" fmla="*/ 4930 h 1849426"/>
                <a:gd name="connsiteX2738" fmla="*/ 3701458 w 6386648"/>
                <a:gd name="connsiteY2738" fmla="*/ 0 h 1849426"/>
                <a:gd name="connsiteX2739" fmla="*/ 3736613 w 6386648"/>
                <a:gd name="connsiteY2739" fmla="*/ 0 h 1849426"/>
                <a:gd name="connsiteX2740" fmla="*/ 3731781 w 6386648"/>
                <a:gd name="connsiteY2740" fmla="*/ 11667 h 1849426"/>
                <a:gd name="connsiteX2741" fmla="*/ 3719035 w 6386648"/>
                <a:gd name="connsiteY2741" fmla="*/ 16946 h 1849426"/>
                <a:gd name="connsiteX2742" fmla="*/ 3706290 w 6386648"/>
                <a:gd name="connsiteY2742" fmla="*/ 11667 h 1849426"/>
                <a:gd name="connsiteX2743" fmla="*/ 3058255 w 6386648"/>
                <a:gd name="connsiteY2743" fmla="*/ 0 h 1849426"/>
                <a:gd name="connsiteX2744" fmla="*/ 3082058 w 6386648"/>
                <a:gd name="connsiteY2744" fmla="*/ 0 h 1849426"/>
                <a:gd name="connsiteX2745" fmla="*/ 3070156 w 6386648"/>
                <a:gd name="connsiteY2745" fmla="*/ 4930 h 1849426"/>
                <a:gd name="connsiteX2746" fmla="*/ 2908383 w 6386648"/>
                <a:gd name="connsiteY2746" fmla="*/ 0 h 1849426"/>
                <a:gd name="connsiteX2747" fmla="*/ 2943539 w 6386648"/>
                <a:gd name="connsiteY2747" fmla="*/ 0 h 1849426"/>
                <a:gd name="connsiteX2748" fmla="*/ 2938707 w 6386648"/>
                <a:gd name="connsiteY2748" fmla="*/ 11667 h 1849426"/>
                <a:gd name="connsiteX2749" fmla="*/ 2925961 w 6386648"/>
                <a:gd name="connsiteY2749" fmla="*/ 16946 h 1849426"/>
                <a:gd name="connsiteX2750" fmla="*/ 2913216 w 6386648"/>
                <a:gd name="connsiteY2750" fmla="*/ 11667 h 1849426"/>
                <a:gd name="connsiteX2751" fmla="*/ 2794230 w 6386648"/>
                <a:gd name="connsiteY2751" fmla="*/ 0 h 1849426"/>
                <a:gd name="connsiteX2752" fmla="*/ 2829385 w 6386648"/>
                <a:gd name="connsiteY2752" fmla="*/ 0 h 1849426"/>
                <a:gd name="connsiteX2753" fmla="*/ 2824553 w 6386648"/>
                <a:gd name="connsiteY2753" fmla="*/ 11667 h 1849426"/>
                <a:gd name="connsiteX2754" fmla="*/ 2811807 w 6386648"/>
                <a:gd name="connsiteY2754" fmla="*/ 16946 h 1849426"/>
                <a:gd name="connsiteX2755" fmla="*/ 2799062 w 6386648"/>
                <a:gd name="connsiteY2755" fmla="*/ 11667 h 1849426"/>
                <a:gd name="connsiteX2756" fmla="*/ 2675662 w 6386648"/>
                <a:gd name="connsiteY2756" fmla="*/ 0 h 1849426"/>
                <a:gd name="connsiteX2757" fmla="*/ 2707627 w 6386648"/>
                <a:gd name="connsiteY2757" fmla="*/ 0 h 1849426"/>
                <a:gd name="connsiteX2758" fmla="*/ 2709669 w 6386648"/>
                <a:gd name="connsiteY2758" fmla="*/ 4930 h 1849426"/>
                <a:gd name="connsiteX2759" fmla="*/ 2691644 w 6386648"/>
                <a:gd name="connsiteY2759" fmla="*/ 22954 h 1849426"/>
                <a:gd name="connsiteX2760" fmla="*/ 2673620 w 6386648"/>
                <a:gd name="connsiteY2760" fmla="*/ 4930 h 1849426"/>
                <a:gd name="connsiteX2761" fmla="*/ 2543483 w 6386648"/>
                <a:gd name="connsiteY2761" fmla="*/ 0 h 1849426"/>
                <a:gd name="connsiteX2762" fmla="*/ 2575448 w 6386648"/>
                <a:gd name="connsiteY2762" fmla="*/ 0 h 1849426"/>
                <a:gd name="connsiteX2763" fmla="*/ 2577490 w 6386648"/>
                <a:gd name="connsiteY2763" fmla="*/ 4930 h 1849426"/>
                <a:gd name="connsiteX2764" fmla="*/ 2559465 w 6386648"/>
                <a:gd name="connsiteY2764" fmla="*/ 22954 h 1849426"/>
                <a:gd name="connsiteX2765" fmla="*/ 2541441 w 6386648"/>
                <a:gd name="connsiteY2765" fmla="*/ 4930 h 1849426"/>
                <a:gd name="connsiteX2766" fmla="*/ 2047297 w 6386648"/>
                <a:gd name="connsiteY2766" fmla="*/ 0 h 1849426"/>
                <a:gd name="connsiteX2767" fmla="*/ 2074285 w 6386648"/>
                <a:gd name="connsiteY2767" fmla="*/ 0 h 1849426"/>
                <a:gd name="connsiteX2768" fmla="*/ 2078815 w 6386648"/>
                <a:gd name="connsiteY2768" fmla="*/ 10937 h 1849426"/>
                <a:gd name="connsiteX2769" fmla="*/ 2060790 w 6386648"/>
                <a:gd name="connsiteY2769" fmla="*/ 28962 h 1849426"/>
                <a:gd name="connsiteX2770" fmla="*/ 2042766 w 6386648"/>
                <a:gd name="connsiteY2770" fmla="*/ 10937 h 1849426"/>
                <a:gd name="connsiteX2771" fmla="*/ 1932017 w 6386648"/>
                <a:gd name="connsiteY2771" fmla="*/ 0 h 1849426"/>
                <a:gd name="connsiteX2772" fmla="*/ 1937222 w 6386648"/>
                <a:gd name="connsiteY2772" fmla="*/ 0 h 1849426"/>
                <a:gd name="connsiteX2773" fmla="*/ 1947365 w 6386648"/>
                <a:gd name="connsiteY2773" fmla="*/ 4201 h 1849426"/>
                <a:gd name="connsiteX2774" fmla="*/ 1952644 w 6386648"/>
                <a:gd name="connsiteY2774" fmla="*/ 16946 h 1849426"/>
                <a:gd name="connsiteX2775" fmla="*/ 1934619 w 6386648"/>
                <a:gd name="connsiteY2775" fmla="*/ 34971 h 1849426"/>
                <a:gd name="connsiteX2776" fmla="*/ 1916595 w 6386648"/>
                <a:gd name="connsiteY2776" fmla="*/ 16946 h 1849426"/>
                <a:gd name="connsiteX2777" fmla="*/ 1921875 w 6386648"/>
                <a:gd name="connsiteY2777" fmla="*/ 4201 h 1849426"/>
                <a:gd name="connsiteX2778" fmla="*/ 1694741 w 6386648"/>
                <a:gd name="connsiteY2778" fmla="*/ 0 h 1849426"/>
                <a:gd name="connsiteX2779" fmla="*/ 1729896 w 6386648"/>
                <a:gd name="connsiteY2779" fmla="*/ 0 h 1849426"/>
                <a:gd name="connsiteX2780" fmla="*/ 1725064 w 6386648"/>
                <a:gd name="connsiteY2780" fmla="*/ 11667 h 1849426"/>
                <a:gd name="connsiteX2781" fmla="*/ 1712318 w 6386648"/>
                <a:gd name="connsiteY2781" fmla="*/ 16946 h 1849426"/>
                <a:gd name="connsiteX2782" fmla="*/ 1699574 w 6386648"/>
                <a:gd name="connsiteY2782" fmla="*/ 11667 h 1849426"/>
                <a:gd name="connsiteX2783" fmla="*/ 1586594 w 6386648"/>
                <a:gd name="connsiteY2783" fmla="*/ 0 h 1849426"/>
                <a:gd name="connsiteX2784" fmla="*/ 1621749 w 6386648"/>
                <a:gd name="connsiteY2784" fmla="*/ 0 h 1849426"/>
                <a:gd name="connsiteX2785" fmla="*/ 1616917 w 6386648"/>
                <a:gd name="connsiteY2785" fmla="*/ 11667 h 1849426"/>
                <a:gd name="connsiteX2786" fmla="*/ 1604171 w 6386648"/>
                <a:gd name="connsiteY2786" fmla="*/ 16946 h 1849426"/>
                <a:gd name="connsiteX2787" fmla="*/ 1591427 w 6386648"/>
                <a:gd name="connsiteY2787" fmla="*/ 11667 h 1849426"/>
                <a:gd name="connsiteX2788" fmla="*/ 1328245 w 6386648"/>
                <a:gd name="connsiteY2788" fmla="*/ 0 h 1849426"/>
                <a:gd name="connsiteX2789" fmla="*/ 1363400 w 6386648"/>
                <a:gd name="connsiteY2789" fmla="*/ 0 h 1849426"/>
                <a:gd name="connsiteX2790" fmla="*/ 1358568 w 6386648"/>
                <a:gd name="connsiteY2790" fmla="*/ 11667 h 1849426"/>
                <a:gd name="connsiteX2791" fmla="*/ 1345823 w 6386648"/>
                <a:gd name="connsiteY2791" fmla="*/ 16946 h 1849426"/>
                <a:gd name="connsiteX2792" fmla="*/ 1333078 w 6386648"/>
                <a:gd name="connsiteY2792" fmla="*/ 11667 h 1849426"/>
                <a:gd name="connsiteX2793" fmla="*/ 636977 w 6386648"/>
                <a:gd name="connsiteY2793" fmla="*/ 0 h 1849426"/>
                <a:gd name="connsiteX2794" fmla="*/ 660780 w 6386648"/>
                <a:gd name="connsiteY2794" fmla="*/ 0 h 1849426"/>
                <a:gd name="connsiteX2795" fmla="*/ 648878 w 6386648"/>
                <a:gd name="connsiteY2795" fmla="*/ 4930 h 1849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Lst>
              <a:rect l="l" t="t" r="r" b="b"/>
              <a:pathLst>
                <a:path w="6386648" h="1849426">
                  <a:moveTo>
                    <a:pt x="4421987" y="1813377"/>
                  </a:moveTo>
                  <a:cubicBezTo>
                    <a:pt x="4431942" y="1813377"/>
                    <a:pt x="4440012" y="1821446"/>
                    <a:pt x="4440012" y="1831401"/>
                  </a:cubicBezTo>
                  <a:cubicBezTo>
                    <a:pt x="4440012" y="1841356"/>
                    <a:pt x="4431942" y="1849426"/>
                    <a:pt x="4421987" y="1849426"/>
                  </a:cubicBezTo>
                  <a:cubicBezTo>
                    <a:pt x="4412032" y="1849426"/>
                    <a:pt x="4403963" y="1841356"/>
                    <a:pt x="4403963" y="1831401"/>
                  </a:cubicBezTo>
                  <a:cubicBezTo>
                    <a:pt x="4403963" y="1821446"/>
                    <a:pt x="4412032" y="1813377"/>
                    <a:pt x="4421987" y="1813377"/>
                  </a:cubicBezTo>
                  <a:close/>
                  <a:moveTo>
                    <a:pt x="4235735" y="1807369"/>
                  </a:moveTo>
                  <a:cubicBezTo>
                    <a:pt x="4245690" y="1807369"/>
                    <a:pt x="4253760" y="1815439"/>
                    <a:pt x="4253760" y="1825393"/>
                  </a:cubicBezTo>
                  <a:cubicBezTo>
                    <a:pt x="4253760" y="1835348"/>
                    <a:pt x="4245690" y="1843418"/>
                    <a:pt x="4235735" y="1843418"/>
                  </a:cubicBezTo>
                  <a:cubicBezTo>
                    <a:pt x="4225780" y="1843418"/>
                    <a:pt x="4217711" y="1835348"/>
                    <a:pt x="4217711" y="1825393"/>
                  </a:cubicBezTo>
                  <a:cubicBezTo>
                    <a:pt x="4217711" y="1815439"/>
                    <a:pt x="4225780" y="1807369"/>
                    <a:pt x="4235735" y="1807369"/>
                  </a:cubicBezTo>
                  <a:close/>
                  <a:moveTo>
                    <a:pt x="4566182" y="1795353"/>
                  </a:moveTo>
                  <a:cubicBezTo>
                    <a:pt x="4576137" y="1795353"/>
                    <a:pt x="4584207" y="1803423"/>
                    <a:pt x="4584207" y="1813377"/>
                  </a:cubicBezTo>
                  <a:cubicBezTo>
                    <a:pt x="4584207" y="1823332"/>
                    <a:pt x="4576137" y="1831402"/>
                    <a:pt x="4566182" y="1831402"/>
                  </a:cubicBezTo>
                  <a:cubicBezTo>
                    <a:pt x="4556227" y="1831402"/>
                    <a:pt x="4548158" y="1823332"/>
                    <a:pt x="4548158" y="1813377"/>
                  </a:cubicBezTo>
                  <a:cubicBezTo>
                    <a:pt x="4548158" y="1803423"/>
                    <a:pt x="4556227" y="1795353"/>
                    <a:pt x="4566182" y="1795353"/>
                  </a:cubicBezTo>
                  <a:close/>
                  <a:moveTo>
                    <a:pt x="4698361" y="1777329"/>
                  </a:moveTo>
                  <a:cubicBezTo>
                    <a:pt x="4708316" y="1777329"/>
                    <a:pt x="4716386" y="1785399"/>
                    <a:pt x="4716386" y="1795353"/>
                  </a:cubicBezTo>
                  <a:cubicBezTo>
                    <a:pt x="4716386" y="1805308"/>
                    <a:pt x="4708316" y="1813378"/>
                    <a:pt x="4698361" y="1813378"/>
                  </a:cubicBezTo>
                  <a:cubicBezTo>
                    <a:pt x="4688406" y="1813378"/>
                    <a:pt x="4680336" y="1805308"/>
                    <a:pt x="4680336" y="1795353"/>
                  </a:cubicBezTo>
                  <a:cubicBezTo>
                    <a:pt x="4680336" y="1785399"/>
                    <a:pt x="4688406" y="1777329"/>
                    <a:pt x="4698361" y="1777329"/>
                  </a:cubicBezTo>
                  <a:close/>
                  <a:moveTo>
                    <a:pt x="4085531" y="1759304"/>
                  </a:moveTo>
                  <a:cubicBezTo>
                    <a:pt x="4095486" y="1759304"/>
                    <a:pt x="4103556" y="1767374"/>
                    <a:pt x="4103556" y="1777329"/>
                  </a:cubicBezTo>
                  <a:cubicBezTo>
                    <a:pt x="4103556" y="1787283"/>
                    <a:pt x="4095486" y="1795353"/>
                    <a:pt x="4085531" y="1795353"/>
                  </a:cubicBezTo>
                  <a:cubicBezTo>
                    <a:pt x="4075576" y="1795353"/>
                    <a:pt x="4067507" y="1787283"/>
                    <a:pt x="4067507" y="1777329"/>
                  </a:cubicBezTo>
                  <a:cubicBezTo>
                    <a:pt x="4067507" y="1767374"/>
                    <a:pt x="4075576" y="1759304"/>
                    <a:pt x="4085531" y="1759304"/>
                  </a:cubicBezTo>
                  <a:close/>
                  <a:moveTo>
                    <a:pt x="4301824" y="1723255"/>
                  </a:moveTo>
                  <a:cubicBezTo>
                    <a:pt x="4311779" y="1723255"/>
                    <a:pt x="4319849" y="1731324"/>
                    <a:pt x="4319849" y="1741279"/>
                  </a:cubicBezTo>
                  <a:cubicBezTo>
                    <a:pt x="4319849" y="1751234"/>
                    <a:pt x="4311779" y="1759304"/>
                    <a:pt x="4301824" y="1759304"/>
                  </a:cubicBezTo>
                  <a:cubicBezTo>
                    <a:pt x="4291869" y="1759304"/>
                    <a:pt x="4283800" y="1751234"/>
                    <a:pt x="4283800" y="1741279"/>
                  </a:cubicBezTo>
                  <a:cubicBezTo>
                    <a:pt x="4283800" y="1731324"/>
                    <a:pt x="4291869" y="1723255"/>
                    <a:pt x="4301824" y="1723255"/>
                  </a:cubicBezTo>
                  <a:close/>
                  <a:moveTo>
                    <a:pt x="4440011" y="1717247"/>
                  </a:moveTo>
                  <a:cubicBezTo>
                    <a:pt x="4449966" y="1717247"/>
                    <a:pt x="4458036" y="1725317"/>
                    <a:pt x="4458036" y="1735271"/>
                  </a:cubicBezTo>
                  <a:cubicBezTo>
                    <a:pt x="4458036" y="1745226"/>
                    <a:pt x="4449966" y="1753296"/>
                    <a:pt x="4440011" y="1753296"/>
                  </a:cubicBezTo>
                  <a:cubicBezTo>
                    <a:pt x="4430057" y="1753296"/>
                    <a:pt x="4421987" y="1745226"/>
                    <a:pt x="4421987" y="1735271"/>
                  </a:cubicBezTo>
                  <a:cubicBezTo>
                    <a:pt x="4421987" y="1725317"/>
                    <a:pt x="4430057" y="1717247"/>
                    <a:pt x="4440011" y="1717247"/>
                  </a:cubicBezTo>
                  <a:close/>
                  <a:moveTo>
                    <a:pt x="3965369" y="1711239"/>
                  </a:moveTo>
                  <a:cubicBezTo>
                    <a:pt x="3975324" y="1711239"/>
                    <a:pt x="3983394" y="1719309"/>
                    <a:pt x="3983394" y="1729263"/>
                  </a:cubicBezTo>
                  <a:cubicBezTo>
                    <a:pt x="3983394" y="1739218"/>
                    <a:pt x="3975324" y="1747288"/>
                    <a:pt x="3965369" y="1747288"/>
                  </a:cubicBezTo>
                  <a:cubicBezTo>
                    <a:pt x="3955414" y="1747288"/>
                    <a:pt x="3947345" y="1739218"/>
                    <a:pt x="3947345" y="1729263"/>
                  </a:cubicBezTo>
                  <a:cubicBezTo>
                    <a:pt x="3947345" y="1719309"/>
                    <a:pt x="3955414" y="1711239"/>
                    <a:pt x="3965369" y="1711239"/>
                  </a:cubicBezTo>
                  <a:close/>
                  <a:moveTo>
                    <a:pt x="4836548" y="1705231"/>
                  </a:moveTo>
                  <a:cubicBezTo>
                    <a:pt x="4846503" y="1705231"/>
                    <a:pt x="4854573" y="1713301"/>
                    <a:pt x="4854573" y="1723255"/>
                  </a:cubicBezTo>
                  <a:cubicBezTo>
                    <a:pt x="4854573" y="1733210"/>
                    <a:pt x="4846503" y="1741280"/>
                    <a:pt x="4836548" y="1741280"/>
                  </a:cubicBezTo>
                  <a:cubicBezTo>
                    <a:pt x="4826593" y="1741280"/>
                    <a:pt x="4818524" y="1733210"/>
                    <a:pt x="4818524" y="1723255"/>
                  </a:cubicBezTo>
                  <a:cubicBezTo>
                    <a:pt x="4818524" y="1713301"/>
                    <a:pt x="4826593" y="1705231"/>
                    <a:pt x="4836548" y="1705231"/>
                  </a:cubicBezTo>
                  <a:close/>
                  <a:moveTo>
                    <a:pt x="4175653" y="1681198"/>
                  </a:moveTo>
                  <a:cubicBezTo>
                    <a:pt x="4185608" y="1681198"/>
                    <a:pt x="4193678" y="1689268"/>
                    <a:pt x="4193678" y="1699222"/>
                  </a:cubicBezTo>
                  <a:cubicBezTo>
                    <a:pt x="4193678" y="1709177"/>
                    <a:pt x="4185608" y="1717247"/>
                    <a:pt x="4175653" y="1717247"/>
                  </a:cubicBezTo>
                  <a:cubicBezTo>
                    <a:pt x="4165698" y="1717247"/>
                    <a:pt x="4157629" y="1709177"/>
                    <a:pt x="4157629" y="1699222"/>
                  </a:cubicBezTo>
                  <a:cubicBezTo>
                    <a:pt x="4157629" y="1689268"/>
                    <a:pt x="4165698" y="1681198"/>
                    <a:pt x="4175653" y="1681198"/>
                  </a:cubicBezTo>
                  <a:close/>
                  <a:moveTo>
                    <a:pt x="4602231" y="1675190"/>
                  </a:moveTo>
                  <a:cubicBezTo>
                    <a:pt x="4612186" y="1675190"/>
                    <a:pt x="4620256" y="1683260"/>
                    <a:pt x="4620256" y="1693214"/>
                  </a:cubicBezTo>
                  <a:cubicBezTo>
                    <a:pt x="4620256" y="1703169"/>
                    <a:pt x="4612186" y="1711239"/>
                    <a:pt x="4602231" y="1711239"/>
                  </a:cubicBezTo>
                  <a:cubicBezTo>
                    <a:pt x="4592276" y="1711239"/>
                    <a:pt x="4584207" y="1703169"/>
                    <a:pt x="4584207" y="1693214"/>
                  </a:cubicBezTo>
                  <a:cubicBezTo>
                    <a:pt x="4584207" y="1683260"/>
                    <a:pt x="4592276" y="1675190"/>
                    <a:pt x="4602231" y="1675190"/>
                  </a:cubicBezTo>
                  <a:close/>
                  <a:moveTo>
                    <a:pt x="4734410" y="1663174"/>
                  </a:moveTo>
                  <a:cubicBezTo>
                    <a:pt x="4744365" y="1663174"/>
                    <a:pt x="4752435" y="1671243"/>
                    <a:pt x="4752435" y="1681198"/>
                  </a:cubicBezTo>
                  <a:cubicBezTo>
                    <a:pt x="4752435" y="1691153"/>
                    <a:pt x="4744365" y="1699223"/>
                    <a:pt x="4734410" y="1699223"/>
                  </a:cubicBezTo>
                  <a:cubicBezTo>
                    <a:pt x="4724456" y="1699223"/>
                    <a:pt x="4716386" y="1691153"/>
                    <a:pt x="4716386" y="1681198"/>
                  </a:cubicBezTo>
                  <a:cubicBezTo>
                    <a:pt x="4716386" y="1671243"/>
                    <a:pt x="4724456" y="1663174"/>
                    <a:pt x="4734410" y="1663174"/>
                  </a:cubicBezTo>
                  <a:close/>
                  <a:moveTo>
                    <a:pt x="3851214" y="1663174"/>
                  </a:moveTo>
                  <a:cubicBezTo>
                    <a:pt x="3861169" y="1663174"/>
                    <a:pt x="3869239" y="1671243"/>
                    <a:pt x="3869239" y="1681198"/>
                  </a:cubicBezTo>
                  <a:cubicBezTo>
                    <a:pt x="3869239" y="1691153"/>
                    <a:pt x="3861169" y="1699223"/>
                    <a:pt x="3851214" y="1699223"/>
                  </a:cubicBezTo>
                  <a:cubicBezTo>
                    <a:pt x="3841259" y="1699223"/>
                    <a:pt x="3833190" y="1691153"/>
                    <a:pt x="3833190" y="1681198"/>
                  </a:cubicBezTo>
                  <a:cubicBezTo>
                    <a:pt x="3833190" y="1671243"/>
                    <a:pt x="3841259" y="1663174"/>
                    <a:pt x="3851214" y="1663174"/>
                  </a:cubicBezTo>
                  <a:close/>
                  <a:moveTo>
                    <a:pt x="4061499" y="1627125"/>
                  </a:moveTo>
                  <a:cubicBezTo>
                    <a:pt x="4071454" y="1627125"/>
                    <a:pt x="4079524" y="1635195"/>
                    <a:pt x="4079524" y="1645149"/>
                  </a:cubicBezTo>
                  <a:cubicBezTo>
                    <a:pt x="4079524" y="1655104"/>
                    <a:pt x="4071454" y="1663174"/>
                    <a:pt x="4061499" y="1663174"/>
                  </a:cubicBezTo>
                  <a:cubicBezTo>
                    <a:pt x="4051544" y="1663174"/>
                    <a:pt x="4043475" y="1655104"/>
                    <a:pt x="4043475" y="1645149"/>
                  </a:cubicBezTo>
                  <a:cubicBezTo>
                    <a:pt x="4043475" y="1635195"/>
                    <a:pt x="4051544" y="1627125"/>
                    <a:pt x="4061499" y="1627125"/>
                  </a:cubicBezTo>
                  <a:close/>
                  <a:moveTo>
                    <a:pt x="4482068" y="1621117"/>
                  </a:moveTo>
                  <a:cubicBezTo>
                    <a:pt x="4492023" y="1621117"/>
                    <a:pt x="4500093" y="1629187"/>
                    <a:pt x="4500093" y="1639141"/>
                  </a:cubicBezTo>
                  <a:cubicBezTo>
                    <a:pt x="4500093" y="1649096"/>
                    <a:pt x="4492023" y="1657166"/>
                    <a:pt x="4482068" y="1657166"/>
                  </a:cubicBezTo>
                  <a:cubicBezTo>
                    <a:pt x="4472113" y="1657166"/>
                    <a:pt x="4464044" y="1649096"/>
                    <a:pt x="4464044" y="1639141"/>
                  </a:cubicBezTo>
                  <a:cubicBezTo>
                    <a:pt x="4464044" y="1629187"/>
                    <a:pt x="4472113" y="1621117"/>
                    <a:pt x="4482068" y="1621117"/>
                  </a:cubicBezTo>
                  <a:close/>
                  <a:moveTo>
                    <a:pt x="4926670" y="1615109"/>
                  </a:moveTo>
                  <a:cubicBezTo>
                    <a:pt x="4936625" y="1615109"/>
                    <a:pt x="4944695" y="1623179"/>
                    <a:pt x="4944695" y="1633133"/>
                  </a:cubicBezTo>
                  <a:cubicBezTo>
                    <a:pt x="4944695" y="1643088"/>
                    <a:pt x="4936625" y="1651158"/>
                    <a:pt x="4926670" y="1651158"/>
                  </a:cubicBezTo>
                  <a:cubicBezTo>
                    <a:pt x="4916715" y="1651158"/>
                    <a:pt x="4908646" y="1643088"/>
                    <a:pt x="4908646" y="1633133"/>
                  </a:cubicBezTo>
                  <a:cubicBezTo>
                    <a:pt x="4908646" y="1623179"/>
                    <a:pt x="4916715" y="1615109"/>
                    <a:pt x="4926670" y="1615109"/>
                  </a:cubicBezTo>
                  <a:close/>
                  <a:moveTo>
                    <a:pt x="3719035" y="1615109"/>
                  </a:moveTo>
                  <a:cubicBezTo>
                    <a:pt x="3728990" y="1615109"/>
                    <a:pt x="3737060" y="1623179"/>
                    <a:pt x="3737060" y="1633133"/>
                  </a:cubicBezTo>
                  <a:cubicBezTo>
                    <a:pt x="3737060" y="1643088"/>
                    <a:pt x="3728990" y="1651158"/>
                    <a:pt x="3719035" y="1651158"/>
                  </a:cubicBezTo>
                  <a:cubicBezTo>
                    <a:pt x="3709081" y="1651158"/>
                    <a:pt x="3701011" y="1643088"/>
                    <a:pt x="3701011" y="1633133"/>
                  </a:cubicBezTo>
                  <a:cubicBezTo>
                    <a:pt x="3701011" y="1623179"/>
                    <a:pt x="3709081" y="1615109"/>
                    <a:pt x="3719035" y="1615109"/>
                  </a:cubicBezTo>
                  <a:close/>
                  <a:moveTo>
                    <a:pt x="4343881" y="1603093"/>
                  </a:moveTo>
                  <a:cubicBezTo>
                    <a:pt x="4353836" y="1603093"/>
                    <a:pt x="4361906" y="1611162"/>
                    <a:pt x="4361906" y="1621117"/>
                  </a:cubicBezTo>
                  <a:cubicBezTo>
                    <a:pt x="4361906" y="1631072"/>
                    <a:pt x="4353836" y="1639142"/>
                    <a:pt x="4343881" y="1639142"/>
                  </a:cubicBezTo>
                  <a:cubicBezTo>
                    <a:pt x="4333927" y="1639142"/>
                    <a:pt x="4325857" y="1631072"/>
                    <a:pt x="4325857" y="1621117"/>
                  </a:cubicBezTo>
                  <a:cubicBezTo>
                    <a:pt x="4325857" y="1611162"/>
                    <a:pt x="4333927" y="1603093"/>
                    <a:pt x="4343881" y="1603093"/>
                  </a:cubicBezTo>
                  <a:close/>
                  <a:moveTo>
                    <a:pt x="4235735" y="1579060"/>
                  </a:moveTo>
                  <a:cubicBezTo>
                    <a:pt x="4245690" y="1579060"/>
                    <a:pt x="4253760" y="1587130"/>
                    <a:pt x="4253760" y="1597085"/>
                  </a:cubicBezTo>
                  <a:cubicBezTo>
                    <a:pt x="4253760" y="1607039"/>
                    <a:pt x="4245690" y="1615109"/>
                    <a:pt x="4235735" y="1615109"/>
                  </a:cubicBezTo>
                  <a:cubicBezTo>
                    <a:pt x="4225780" y="1615109"/>
                    <a:pt x="4217711" y="1607039"/>
                    <a:pt x="4217711" y="1597085"/>
                  </a:cubicBezTo>
                  <a:cubicBezTo>
                    <a:pt x="4217711" y="1587130"/>
                    <a:pt x="4225780" y="1579060"/>
                    <a:pt x="4235735" y="1579060"/>
                  </a:cubicBezTo>
                  <a:close/>
                  <a:moveTo>
                    <a:pt x="3941336" y="1573052"/>
                  </a:moveTo>
                  <a:cubicBezTo>
                    <a:pt x="3951291" y="1573052"/>
                    <a:pt x="3959361" y="1581121"/>
                    <a:pt x="3959361" y="1591076"/>
                  </a:cubicBezTo>
                  <a:cubicBezTo>
                    <a:pt x="3959361" y="1601031"/>
                    <a:pt x="3951291" y="1609101"/>
                    <a:pt x="3941336" y="1609101"/>
                  </a:cubicBezTo>
                  <a:cubicBezTo>
                    <a:pt x="3931381" y="1609101"/>
                    <a:pt x="3923312" y="1601031"/>
                    <a:pt x="3923312" y="1591076"/>
                  </a:cubicBezTo>
                  <a:cubicBezTo>
                    <a:pt x="3923312" y="1581121"/>
                    <a:pt x="3931381" y="1573052"/>
                    <a:pt x="3941336" y="1573052"/>
                  </a:cubicBezTo>
                  <a:close/>
                  <a:moveTo>
                    <a:pt x="1057431" y="1567044"/>
                  </a:moveTo>
                  <a:cubicBezTo>
                    <a:pt x="1067386" y="1567044"/>
                    <a:pt x="1075456" y="1575114"/>
                    <a:pt x="1075456" y="1585068"/>
                  </a:cubicBezTo>
                  <a:cubicBezTo>
                    <a:pt x="1075456" y="1595023"/>
                    <a:pt x="1067386" y="1603093"/>
                    <a:pt x="1057431" y="1603093"/>
                  </a:cubicBezTo>
                  <a:cubicBezTo>
                    <a:pt x="1047477" y="1603093"/>
                    <a:pt x="1039407" y="1595023"/>
                    <a:pt x="1039407" y="1585068"/>
                  </a:cubicBezTo>
                  <a:cubicBezTo>
                    <a:pt x="1039407" y="1575114"/>
                    <a:pt x="1047477" y="1567044"/>
                    <a:pt x="1057431" y="1567044"/>
                  </a:cubicBezTo>
                  <a:close/>
                  <a:moveTo>
                    <a:pt x="1201626" y="1561036"/>
                  </a:moveTo>
                  <a:cubicBezTo>
                    <a:pt x="1211581" y="1561036"/>
                    <a:pt x="1219651" y="1569106"/>
                    <a:pt x="1219651" y="1579060"/>
                  </a:cubicBezTo>
                  <a:cubicBezTo>
                    <a:pt x="1219651" y="1589015"/>
                    <a:pt x="1211581" y="1597085"/>
                    <a:pt x="1201626" y="1597085"/>
                  </a:cubicBezTo>
                  <a:cubicBezTo>
                    <a:pt x="1191672" y="1597085"/>
                    <a:pt x="1183602" y="1589015"/>
                    <a:pt x="1183602" y="1579060"/>
                  </a:cubicBezTo>
                  <a:cubicBezTo>
                    <a:pt x="1183602" y="1569106"/>
                    <a:pt x="1191672" y="1561036"/>
                    <a:pt x="1201626" y="1561036"/>
                  </a:cubicBezTo>
                  <a:close/>
                  <a:moveTo>
                    <a:pt x="4716385" y="1555028"/>
                  </a:moveTo>
                  <a:cubicBezTo>
                    <a:pt x="4726340" y="1555028"/>
                    <a:pt x="4734410" y="1563098"/>
                    <a:pt x="4734410" y="1573052"/>
                  </a:cubicBezTo>
                  <a:cubicBezTo>
                    <a:pt x="4734410" y="1583007"/>
                    <a:pt x="4726340" y="1591077"/>
                    <a:pt x="4716385" y="1591077"/>
                  </a:cubicBezTo>
                  <a:cubicBezTo>
                    <a:pt x="4706430" y="1591077"/>
                    <a:pt x="4698361" y="1583007"/>
                    <a:pt x="4698361" y="1573052"/>
                  </a:cubicBezTo>
                  <a:cubicBezTo>
                    <a:pt x="4698361" y="1563098"/>
                    <a:pt x="4706430" y="1555028"/>
                    <a:pt x="4716385" y="1555028"/>
                  </a:cubicBezTo>
                  <a:close/>
                  <a:moveTo>
                    <a:pt x="4578198" y="1555028"/>
                  </a:moveTo>
                  <a:cubicBezTo>
                    <a:pt x="4588153" y="1555028"/>
                    <a:pt x="4596223" y="1563098"/>
                    <a:pt x="4596223" y="1573052"/>
                  </a:cubicBezTo>
                  <a:cubicBezTo>
                    <a:pt x="4596223" y="1583007"/>
                    <a:pt x="4588153" y="1591077"/>
                    <a:pt x="4578198" y="1591077"/>
                  </a:cubicBezTo>
                  <a:cubicBezTo>
                    <a:pt x="4568243" y="1591077"/>
                    <a:pt x="4560173" y="1583007"/>
                    <a:pt x="4560173" y="1573052"/>
                  </a:cubicBezTo>
                  <a:cubicBezTo>
                    <a:pt x="4560173" y="1563098"/>
                    <a:pt x="4568243" y="1555028"/>
                    <a:pt x="4578198" y="1555028"/>
                  </a:cubicBezTo>
                  <a:close/>
                  <a:moveTo>
                    <a:pt x="1333805" y="1555028"/>
                  </a:moveTo>
                  <a:cubicBezTo>
                    <a:pt x="1343760" y="1555028"/>
                    <a:pt x="1351830" y="1563098"/>
                    <a:pt x="1351830" y="1573052"/>
                  </a:cubicBezTo>
                  <a:cubicBezTo>
                    <a:pt x="1351830" y="1583007"/>
                    <a:pt x="1343760" y="1591077"/>
                    <a:pt x="1333805" y="1591077"/>
                  </a:cubicBezTo>
                  <a:cubicBezTo>
                    <a:pt x="1323851" y="1591077"/>
                    <a:pt x="1315781" y="1583007"/>
                    <a:pt x="1315781" y="1573052"/>
                  </a:cubicBezTo>
                  <a:cubicBezTo>
                    <a:pt x="1315781" y="1563098"/>
                    <a:pt x="1323851" y="1555028"/>
                    <a:pt x="1333805" y="1555028"/>
                  </a:cubicBezTo>
                  <a:close/>
                  <a:moveTo>
                    <a:pt x="4842556" y="1543011"/>
                  </a:moveTo>
                  <a:cubicBezTo>
                    <a:pt x="4852511" y="1543011"/>
                    <a:pt x="4860581" y="1551080"/>
                    <a:pt x="4860581" y="1561035"/>
                  </a:cubicBezTo>
                  <a:cubicBezTo>
                    <a:pt x="4860581" y="1570990"/>
                    <a:pt x="4852511" y="1579060"/>
                    <a:pt x="4842556" y="1579060"/>
                  </a:cubicBezTo>
                  <a:cubicBezTo>
                    <a:pt x="4832601" y="1579060"/>
                    <a:pt x="4824532" y="1570990"/>
                    <a:pt x="4824532" y="1561035"/>
                  </a:cubicBezTo>
                  <a:cubicBezTo>
                    <a:pt x="4824532" y="1551080"/>
                    <a:pt x="4832601" y="1543011"/>
                    <a:pt x="4842556" y="1543011"/>
                  </a:cubicBezTo>
                  <a:close/>
                  <a:moveTo>
                    <a:pt x="3803149" y="1537003"/>
                  </a:moveTo>
                  <a:cubicBezTo>
                    <a:pt x="3813104" y="1537003"/>
                    <a:pt x="3821174" y="1545073"/>
                    <a:pt x="3821174" y="1555027"/>
                  </a:cubicBezTo>
                  <a:cubicBezTo>
                    <a:pt x="3821174" y="1564982"/>
                    <a:pt x="3813104" y="1573052"/>
                    <a:pt x="3803149" y="1573052"/>
                  </a:cubicBezTo>
                  <a:cubicBezTo>
                    <a:pt x="3793195" y="1573052"/>
                    <a:pt x="3785125" y="1564982"/>
                    <a:pt x="3785125" y="1555027"/>
                  </a:cubicBezTo>
                  <a:cubicBezTo>
                    <a:pt x="3785125" y="1545073"/>
                    <a:pt x="3793195" y="1537003"/>
                    <a:pt x="3803149" y="1537003"/>
                  </a:cubicBezTo>
                  <a:close/>
                  <a:moveTo>
                    <a:pt x="4127588" y="1530995"/>
                  </a:moveTo>
                  <a:cubicBezTo>
                    <a:pt x="4137543" y="1530995"/>
                    <a:pt x="4145613" y="1539065"/>
                    <a:pt x="4145613" y="1549019"/>
                  </a:cubicBezTo>
                  <a:cubicBezTo>
                    <a:pt x="4145613" y="1558974"/>
                    <a:pt x="4137543" y="1567044"/>
                    <a:pt x="4127588" y="1567044"/>
                  </a:cubicBezTo>
                  <a:cubicBezTo>
                    <a:pt x="4117633" y="1567044"/>
                    <a:pt x="4109563" y="1558974"/>
                    <a:pt x="4109563" y="1549019"/>
                  </a:cubicBezTo>
                  <a:cubicBezTo>
                    <a:pt x="4109563" y="1539065"/>
                    <a:pt x="4117633" y="1530995"/>
                    <a:pt x="4127588" y="1530995"/>
                  </a:cubicBezTo>
                  <a:close/>
                  <a:moveTo>
                    <a:pt x="3634921" y="1530995"/>
                  </a:moveTo>
                  <a:cubicBezTo>
                    <a:pt x="3644876" y="1530995"/>
                    <a:pt x="3652946" y="1539065"/>
                    <a:pt x="3652946" y="1549019"/>
                  </a:cubicBezTo>
                  <a:cubicBezTo>
                    <a:pt x="3652946" y="1558974"/>
                    <a:pt x="3644876" y="1567044"/>
                    <a:pt x="3634921" y="1567044"/>
                  </a:cubicBezTo>
                  <a:cubicBezTo>
                    <a:pt x="3624966" y="1567044"/>
                    <a:pt x="3616897" y="1558974"/>
                    <a:pt x="3616897" y="1549019"/>
                  </a:cubicBezTo>
                  <a:cubicBezTo>
                    <a:pt x="3616897" y="1539065"/>
                    <a:pt x="3624966" y="1530995"/>
                    <a:pt x="3634921" y="1530995"/>
                  </a:cubicBezTo>
                  <a:close/>
                  <a:moveTo>
                    <a:pt x="3532783" y="1530995"/>
                  </a:moveTo>
                  <a:cubicBezTo>
                    <a:pt x="3542738" y="1530995"/>
                    <a:pt x="3550808" y="1539065"/>
                    <a:pt x="3550808" y="1549019"/>
                  </a:cubicBezTo>
                  <a:cubicBezTo>
                    <a:pt x="3550808" y="1558974"/>
                    <a:pt x="3542738" y="1567044"/>
                    <a:pt x="3532783" y="1567044"/>
                  </a:cubicBezTo>
                  <a:cubicBezTo>
                    <a:pt x="3522829" y="1567044"/>
                    <a:pt x="3514759" y="1558974"/>
                    <a:pt x="3514759" y="1549019"/>
                  </a:cubicBezTo>
                  <a:cubicBezTo>
                    <a:pt x="3514759" y="1539065"/>
                    <a:pt x="3522829" y="1530995"/>
                    <a:pt x="3532783" y="1530995"/>
                  </a:cubicBezTo>
                  <a:close/>
                  <a:moveTo>
                    <a:pt x="1478000" y="1530995"/>
                  </a:moveTo>
                  <a:cubicBezTo>
                    <a:pt x="1487955" y="1530995"/>
                    <a:pt x="1496025" y="1539065"/>
                    <a:pt x="1496025" y="1549019"/>
                  </a:cubicBezTo>
                  <a:cubicBezTo>
                    <a:pt x="1496025" y="1558974"/>
                    <a:pt x="1487955" y="1567044"/>
                    <a:pt x="1478000" y="1567044"/>
                  </a:cubicBezTo>
                  <a:cubicBezTo>
                    <a:pt x="1468046" y="1567044"/>
                    <a:pt x="1459976" y="1558974"/>
                    <a:pt x="1459976" y="1549019"/>
                  </a:cubicBezTo>
                  <a:cubicBezTo>
                    <a:pt x="1459976" y="1539065"/>
                    <a:pt x="1468046" y="1530995"/>
                    <a:pt x="1478000" y="1530995"/>
                  </a:cubicBezTo>
                  <a:close/>
                  <a:moveTo>
                    <a:pt x="4427995" y="1518979"/>
                  </a:moveTo>
                  <a:cubicBezTo>
                    <a:pt x="4437950" y="1518979"/>
                    <a:pt x="4446020" y="1527049"/>
                    <a:pt x="4446020" y="1537004"/>
                  </a:cubicBezTo>
                  <a:cubicBezTo>
                    <a:pt x="4446020" y="1546958"/>
                    <a:pt x="4437950" y="1555028"/>
                    <a:pt x="4427995" y="1555028"/>
                  </a:cubicBezTo>
                  <a:cubicBezTo>
                    <a:pt x="4418040" y="1555028"/>
                    <a:pt x="4409970" y="1546958"/>
                    <a:pt x="4409970" y="1537004"/>
                  </a:cubicBezTo>
                  <a:cubicBezTo>
                    <a:pt x="4409970" y="1527049"/>
                    <a:pt x="4418040" y="1518979"/>
                    <a:pt x="4427995" y="1518979"/>
                  </a:cubicBezTo>
                  <a:close/>
                  <a:moveTo>
                    <a:pt x="4980743" y="1506962"/>
                  </a:moveTo>
                  <a:cubicBezTo>
                    <a:pt x="4990698" y="1506962"/>
                    <a:pt x="4998768" y="1515032"/>
                    <a:pt x="4998768" y="1524986"/>
                  </a:cubicBezTo>
                  <a:cubicBezTo>
                    <a:pt x="4998768" y="1534941"/>
                    <a:pt x="4990698" y="1543011"/>
                    <a:pt x="4980743" y="1543011"/>
                  </a:cubicBezTo>
                  <a:cubicBezTo>
                    <a:pt x="4970789" y="1543011"/>
                    <a:pt x="4962719" y="1534941"/>
                    <a:pt x="4962719" y="1524986"/>
                  </a:cubicBezTo>
                  <a:cubicBezTo>
                    <a:pt x="4962719" y="1515032"/>
                    <a:pt x="4970789" y="1506962"/>
                    <a:pt x="4980743" y="1506962"/>
                  </a:cubicBezTo>
                  <a:close/>
                  <a:moveTo>
                    <a:pt x="961301" y="1506962"/>
                  </a:moveTo>
                  <a:cubicBezTo>
                    <a:pt x="971256" y="1506962"/>
                    <a:pt x="979326" y="1515032"/>
                    <a:pt x="979326" y="1524986"/>
                  </a:cubicBezTo>
                  <a:cubicBezTo>
                    <a:pt x="979326" y="1534941"/>
                    <a:pt x="971256" y="1543011"/>
                    <a:pt x="961301" y="1543011"/>
                  </a:cubicBezTo>
                  <a:cubicBezTo>
                    <a:pt x="951347" y="1543011"/>
                    <a:pt x="943277" y="1534941"/>
                    <a:pt x="943277" y="1524986"/>
                  </a:cubicBezTo>
                  <a:cubicBezTo>
                    <a:pt x="943277" y="1515032"/>
                    <a:pt x="951347" y="1506962"/>
                    <a:pt x="961301" y="1506962"/>
                  </a:cubicBezTo>
                  <a:close/>
                  <a:moveTo>
                    <a:pt x="859163" y="1500954"/>
                  </a:moveTo>
                  <a:cubicBezTo>
                    <a:pt x="869118" y="1500954"/>
                    <a:pt x="877188" y="1509024"/>
                    <a:pt x="877188" y="1518978"/>
                  </a:cubicBezTo>
                  <a:cubicBezTo>
                    <a:pt x="877188" y="1528933"/>
                    <a:pt x="869118" y="1537003"/>
                    <a:pt x="859163" y="1537003"/>
                  </a:cubicBezTo>
                  <a:cubicBezTo>
                    <a:pt x="849209" y="1537003"/>
                    <a:pt x="841139" y="1528933"/>
                    <a:pt x="841139" y="1518978"/>
                  </a:cubicBezTo>
                  <a:cubicBezTo>
                    <a:pt x="841139" y="1509024"/>
                    <a:pt x="849209" y="1500954"/>
                    <a:pt x="859163" y="1500954"/>
                  </a:cubicBezTo>
                  <a:close/>
                  <a:moveTo>
                    <a:pt x="4013434" y="1482930"/>
                  </a:moveTo>
                  <a:cubicBezTo>
                    <a:pt x="4023389" y="1482930"/>
                    <a:pt x="4031459" y="1490999"/>
                    <a:pt x="4031459" y="1500954"/>
                  </a:cubicBezTo>
                  <a:cubicBezTo>
                    <a:pt x="4031459" y="1510909"/>
                    <a:pt x="4023389" y="1518979"/>
                    <a:pt x="4013434" y="1518979"/>
                  </a:cubicBezTo>
                  <a:cubicBezTo>
                    <a:pt x="4003480" y="1518979"/>
                    <a:pt x="3995410" y="1510909"/>
                    <a:pt x="3995410" y="1500954"/>
                  </a:cubicBezTo>
                  <a:cubicBezTo>
                    <a:pt x="3995410" y="1490999"/>
                    <a:pt x="4003480" y="1482930"/>
                    <a:pt x="4013434" y="1482930"/>
                  </a:cubicBezTo>
                  <a:close/>
                  <a:moveTo>
                    <a:pt x="3412620" y="1482930"/>
                  </a:moveTo>
                  <a:cubicBezTo>
                    <a:pt x="3422575" y="1482930"/>
                    <a:pt x="3430645" y="1490999"/>
                    <a:pt x="3430645" y="1500954"/>
                  </a:cubicBezTo>
                  <a:cubicBezTo>
                    <a:pt x="3430645" y="1510909"/>
                    <a:pt x="3422575" y="1518979"/>
                    <a:pt x="3412620" y="1518979"/>
                  </a:cubicBezTo>
                  <a:cubicBezTo>
                    <a:pt x="3402666" y="1518979"/>
                    <a:pt x="3394596" y="1510909"/>
                    <a:pt x="3394596" y="1500954"/>
                  </a:cubicBezTo>
                  <a:cubicBezTo>
                    <a:pt x="3394596" y="1490999"/>
                    <a:pt x="3402666" y="1482930"/>
                    <a:pt x="3412620" y="1482930"/>
                  </a:cubicBezTo>
                  <a:close/>
                  <a:moveTo>
                    <a:pt x="1586148" y="1476922"/>
                  </a:moveTo>
                  <a:cubicBezTo>
                    <a:pt x="1596102" y="1476922"/>
                    <a:pt x="1604172" y="1484992"/>
                    <a:pt x="1604172" y="1494946"/>
                  </a:cubicBezTo>
                  <a:cubicBezTo>
                    <a:pt x="1604172" y="1504901"/>
                    <a:pt x="1596102" y="1512971"/>
                    <a:pt x="1586148" y="1512971"/>
                  </a:cubicBezTo>
                  <a:cubicBezTo>
                    <a:pt x="1576193" y="1512971"/>
                    <a:pt x="1568123" y="1504901"/>
                    <a:pt x="1568123" y="1494946"/>
                  </a:cubicBezTo>
                  <a:cubicBezTo>
                    <a:pt x="1568123" y="1484992"/>
                    <a:pt x="1576193" y="1476922"/>
                    <a:pt x="1586148" y="1476922"/>
                  </a:cubicBezTo>
                  <a:close/>
                  <a:moveTo>
                    <a:pt x="4271783" y="1464906"/>
                  </a:moveTo>
                  <a:cubicBezTo>
                    <a:pt x="4281738" y="1464906"/>
                    <a:pt x="4289808" y="1472976"/>
                    <a:pt x="4289808" y="1482930"/>
                  </a:cubicBezTo>
                  <a:cubicBezTo>
                    <a:pt x="4289808" y="1492885"/>
                    <a:pt x="4281738" y="1500955"/>
                    <a:pt x="4271783" y="1500955"/>
                  </a:cubicBezTo>
                  <a:cubicBezTo>
                    <a:pt x="4261828" y="1500955"/>
                    <a:pt x="4253759" y="1492885"/>
                    <a:pt x="4253759" y="1482930"/>
                  </a:cubicBezTo>
                  <a:cubicBezTo>
                    <a:pt x="4253759" y="1472976"/>
                    <a:pt x="4261828" y="1464906"/>
                    <a:pt x="4271783" y="1464906"/>
                  </a:cubicBezTo>
                  <a:close/>
                  <a:moveTo>
                    <a:pt x="1105497" y="1464906"/>
                  </a:moveTo>
                  <a:cubicBezTo>
                    <a:pt x="1115451" y="1464906"/>
                    <a:pt x="1123521" y="1472976"/>
                    <a:pt x="1123521" y="1482930"/>
                  </a:cubicBezTo>
                  <a:cubicBezTo>
                    <a:pt x="1123521" y="1492885"/>
                    <a:pt x="1115451" y="1500955"/>
                    <a:pt x="1105497" y="1500955"/>
                  </a:cubicBezTo>
                  <a:cubicBezTo>
                    <a:pt x="1095542" y="1500955"/>
                    <a:pt x="1087472" y="1492885"/>
                    <a:pt x="1087472" y="1482930"/>
                  </a:cubicBezTo>
                  <a:cubicBezTo>
                    <a:pt x="1087472" y="1472976"/>
                    <a:pt x="1095542" y="1464906"/>
                    <a:pt x="1105497" y="1464906"/>
                  </a:cubicBezTo>
                  <a:close/>
                  <a:moveTo>
                    <a:pt x="4602231" y="1452889"/>
                  </a:moveTo>
                  <a:cubicBezTo>
                    <a:pt x="4612186" y="1452889"/>
                    <a:pt x="4620256" y="1460958"/>
                    <a:pt x="4620256" y="1470913"/>
                  </a:cubicBezTo>
                  <a:cubicBezTo>
                    <a:pt x="4620256" y="1480868"/>
                    <a:pt x="4612186" y="1488938"/>
                    <a:pt x="4602231" y="1488938"/>
                  </a:cubicBezTo>
                  <a:cubicBezTo>
                    <a:pt x="4592276" y="1488938"/>
                    <a:pt x="4584207" y="1480868"/>
                    <a:pt x="4584207" y="1470913"/>
                  </a:cubicBezTo>
                  <a:cubicBezTo>
                    <a:pt x="4584207" y="1460958"/>
                    <a:pt x="4592276" y="1452889"/>
                    <a:pt x="4602231" y="1452889"/>
                  </a:cubicBezTo>
                  <a:close/>
                  <a:moveTo>
                    <a:pt x="3875247" y="1452889"/>
                  </a:moveTo>
                  <a:cubicBezTo>
                    <a:pt x="3885202" y="1452889"/>
                    <a:pt x="3893272" y="1460958"/>
                    <a:pt x="3893272" y="1470913"/>
                  </a:cubicBezTo>
                  <a:cubicBezTo>
                    <a:pt x="3893272" y="1480868"/>
                    <a:pt x="3885202" y="1488938"/>
                    <a:pt x="3875247" y="1488938"/>
                  </a:cubicBezTo>
                  <a:cubicBezTo>
                    <a:pt x="3865292" y="1488938"/>
                    <a:pt x="3857223" y="1480868"/>
                    <a:pt x="3857223" y="1470913"/>
                  </a:cubicBezTo>
                  <a:cubicBezTo>
                    <a:pt x="3857223" y="1460958"/>
                    <a:pt x="3865292" y="1452889"/>
                    <a:pt x="3875247" y="1452889"/>
                  </a:cubicBezTo>
                  <a:close/>
                  <a:moveTo>
                    <a:pt x="1706311" y="1452889"/>
                  </a:moveTo>
                  <a:cubicBezTo>
                    <a:pt x="1716265" y="1452889"/>
                    <a:pt x="1724335" y="1460958"/>
                    <a:pt x="1724335" y="1470913"/>
                  </a:cubicBezTo>
                  <a:cubicBezTo>
                    <a:pt x="1724335" y="1480868"/>
                    <a:pt x="1716265" y="1488938"/>
                    <a:pt x="1706311" y="1488938"/>
                  </a:cubicBezTo>
                  <a:cubicBezTo>
                    <a:pt x="1696356" y="1488938"/>
                    <a:pt x="1688286" y="1480868"/>
                    <a:pt x="1688286" y="1470913"/>
                  </a:cubicBezTo>
                  <a:cubicBezTo>
                    <a:pt x="1688286" y="1460958"/>
                    <a:pt x="1696356" y="1452889"/>
                    <a:pt x="1706311" y="1452889"/>
                  </a:cubicBezTo>
                  <a:close/>
                  <a:moveTo>
                    <a:pt x="1411911" y="1452889"/>
                  </a:moveTo>
                  <a:cubicBezTo>
                    <a:pt x="1421866" y="1452889"/>
                    <a:pt x="1429936" y="1460958"/>
                    <a:pt x="1429936" y="1470913"/>
                  </a:cubicBezTo>
                  <a:cubicBezTo>
                    <a:pt x="1429936" y="1480868"/>
                    <a:pt x="1421866" y="1488938"/>
                    <a:pt x="1411911" y="1488938"/>
                  </a:cubicBezTo>
                  <a:cubicBezTo>
                    <a:pt x="1401957" y="1488938"/>
                    <a:pt x="1393887" y="1480868"/>
                    <a:pt x="1393887" y="1470913"/>
                  </a:cubicBezTo>
                  <a:cubicBezTo>
                    <a:pt x="1393887" y="1460958"/>
                    <a:pt x="1401957" y="1452889"/>
                    <a:pt x="1411911" y="1452889"/>
                  </a:cubicBezTo>
                  <a:close/>
                  <a:moveTo>
                    <a:pt x="1249691" y="1452889"/>
                  </a:moveTo>
                  <a:cubicBezTo>
                    <a:pt x="1259646" y="1452889"/>
                    <a:pt x="1267716" y="1460958"/>
                    <a:pt x="1267716" y="1470913"/>
                  </a:cubicBezTo>
                  <a:cubicBezTo>
                    <a:pt x="1267716" y="1480868"/>
                    <a:pt x="1259646" y="1488938"/>
                    <a:pt x="1249691" y="1488938"/>
                  </a:cubicBezTo>
                  <a:cubicBezTo>
                    <a:pt x="1239737" y="1488938"/>
                    <a:pt x="1231667" y="1480868"/>
                    <a:pt x="1231667" y="1470913"/>
                  </a:cubicBezTo>
                  <a:cubicBezTo>
                    <a:pt x="1231667" y="1460958"/>
                    <a:pt x="1239737" y="1452889"/>
                    <a:pt x="1249691" y="1452889"/>
                  </a:cubicBezTo>
                  <a:close/>
                  <a:moveTo>
                    <a:pt x="4764451" y="1446881"/>
                  </a:moveTo>
                  <a:cubicBezTo>
                    <a:pt x="4774406" y="1446881"/>
                    <a:pt x="4782476" y="1454951"/>
                    <a:pt x="4782476" y="1464905"/>
                  </a:cubicBezTo>
                  <a:cubicBezTo>
                    <a:pt x="4782476" y="1474860"/>
                    <a:pt x="4774406" y="1482930"/>
                    <a:pt x="4764451" y="1482930"/>
                  </a:cubicBezTo>
                  <a:cubicBezTo>
                    <a:pt x="4754497" y="1482930"/>
                    <a:pt x="4746427" y="1474860"/>
                    <a:pt x="4746427" y="1464905"/>
                  </a:cubicBezTo>
                  <a:cubicBezTo>
                    <a:pt x="4746427" y="1454951"/>
                    <a:pt x="4754497" y="1446881"/>
                    <a:pt x="4764451" y="1446881"/>
                  </a:cubicBezTo>
                  <a:close/>
                  <a:moveTo>
                    <a:pt x="763032" y="1446881"/>
                  </a:moveTo>
                  <a:cubicBezTo>
                    <a:pt x="772987" y="1446881"/>
                    <a:pt x="781057" y="1454951"/>
                    <a:pt x="781057" y="1464905"/>
                  </a:cubicBezTo>
                  <a:cubicBezTo>
                    <a:pt x="781057" y="1474860"/>
                    <a:pt x="772987" y="1482930"/>
                    <a:pt x="763032" y="1482930"/>
                  </a:cubicBezTo>
                  <a:cubicBezTo>
                    <a:pt x="753078" y="1482930"/>
                    <a:pt x="745008" y="1474860"/>
                    <a:pt x="745008" y="1464905"/>
                  </a:cubicBezTo>
                  <a:cubicBezTo>
                    <a:pt x="745008" y="1454951"/>
                    <a:pt x="753078" y="1446881"/>
                    <a:pt x="763032" y="1446881"/>
                  </a:cubicBezTo>
                  <a:close/>
                  <a:moveTo>
                    <a:pt x="3731051" y="1434865"/>
                  </a:moveTo>
                  <a:cubicBezTo>
                    <a:pt x="3741006" y="1434865"/>
                    <a:pt x="3749076" y="1442935"/>
                    <a:pt x="3749076" y="1452889"/>
                  </a:cubicBezTo>
                  <a:cubicBezTo>
                    <a:pt x="3749076" y="1462844"/>
                    <a:pt x="3741006" y="1470914"/>
                    <a:pt x="3731051" y="1470914"/>
                  </a:cubicBezTo>
                  <a:cubicBezTo>
                    <a:pt x="3721096" y="1470914"/>
                    <a:pt x="3713027" y="1462844"/>
                    <a:pt x="3713027" y="1452889"/>
                  </a:cubicBezTo>
                  <a:cubicBezTo>
                    <a:pt x="3713027" y="1442935"/>
                    <a:pt x="3721096" y="1434865"/>
                    <a:pt x="3731051" y="1434865"/>
                  </a:cubicBezTo>
                  <a:close/>
                  <a:moveTo>
                    <a:pt x="3304474" y="1422849"/>
                  </a:moveTo>
                  <a:cubicBezTo>
                    <a:pt x="3314429" y="1422849"/>
                    <a:pt x="3322499" y="1430918"/>
                    <a:pt x="3322499" y="1440873"/>
                  </a:cubicBezTo>
                  <a:cubicBezTo>
                    <a:pt x="3322499" y="1450828"/>
                    <a:pt x="3314429" y="1458898"/>
                    <a:pt x="3304474" y="1458898"/>
                  </a:cubicBezTo>
                  <a:cubicBezTo>
                    <a:pt x="3294519" y="1458898"/>
                    <a:pt x="3286450" y="1450828"/>
                    <a:pt x="3286450" y="1440873"/>
                  </a:cubicBezTo>
                  <a:cubicBezTo>
                    <a:pt x="3286450" y="1430918"/>
                    <a:pt x="3294519" y="1422849"/>
                    <a:pt x="3304474" y="1422849"/>
                  </a:cubicBezTo>
                  <a:close/>
                  <a:moveTo>
                    <a:pt x="4890621" y="1416840"/>
                  </a:moveTo>
                  <a:cubicBezTo>
                    <a:pt x="4900576" y="1416840"/>
                    <a:pt x="4908646" y="1424910"/>
                    <a:pt x="4908646" y="1434864"/>
                  </a:cubicBezTo>
                  <a:cubicBezTo>
                    <a:pt x="4908646" y="1444819"/>
                    <a:pt x="4900576" y="1452889"/>
                    <a:pt x="4890621" y="1452889"/>
                  </a:cubicBezTo>
                  <a:cubicBezTo>
                    <a:pt x="4880667" y="1452889"/>
                    <a:pt x="4872597" y="1444819"/>
                    <a:pt x="4872597" y="1434864"/>
                  </a:cubicBezTo>
                  <a:cubicBezTo>
                    <a:pt x="4872597" y="1424910"/>
                    <a:pt x="4880667" y="1416840"/>
                    <a:pt x="4890621" y="1416840"/>
                  </a:cubicBezTo>
                  <a:close/>
                  <a:moveTo>
                    <a:pt x="3544799" y="1410832"/>
                  </a:moveTo>
                  <a:cubicBezTo>
                    <a:pt x="3554754" y="1410832"/>
                    <a:pt x="3562824" y="1418902"/>
                    <a:pt x="3562824" y="1428856"/>
                  </a:cubicBezTo>
                  <a:cubicBezTo>
                    <a:pt x="3562824" y="1438811"/>
                    <a:pt x="3554754" y="1446881"/>
                    <a:pt x="3544799" y="1446881"/>
                  </a:cubicBezTo>
                  <a:cubicBezTo>
                    <a:pt x="3534844" y="1446881"/>
                    <a:pt x="3526775" y="1438811"/>
                    <a:pt x="3526775" y="1428856"/>
                  </a:cubicBezTo>
                  <a:cubicBezTo>
                    <a:pt x="3526775" y="1418902"/>
                    <a:pt x="3534844" y="1410832"/>
                    <a:pt x="3544799" y="1410832"/>
                  </a:cubicBezTo>
                  <a:close/>
                  <a:moveTo>
                    <a:pt x="4488076" y="1404824"/>
                  </a:moveTo>
                  <a:cubicBezTo>
                    <a:pt x="4498031" y="1404824"/>
                    <a:pt x="4506101" y="1412894"/>
                    <a:pt x="4506101" y="1422848"/>
                  </a:cubicBezTo>
                  <a:cubicBezTo>
                    <a:pt x="4506101" y="1432803"/>
                    <a:pt x="4498031" y="1440873"/>
                    <a:pt x="4488076" y="1440873"/>
                  </a:cubicBezTo>
                  <a:cubicBezTo>
                    <a:pt x="4478121" y="1440873"/>
                    <a:pt x="4470051" y="1432803"/>
                    <a:pt x="4470051" y="1422848"/>
                  </a:cubicBezTo>
                  <a:cubicBezTo>
                    <a:pt x="4470051" y="1412894"/>
                    <a:pt x="4478121" y="1404824"/>
                    <a:pt x="4488076" y="1404824"/>
                  </a:cubicBezTo>
                  <a:close/>
                  <a:moveTo>
                    <a:pt x="5028808" y="1398816"/>
                  </a:moveTo>
                  <a:cubicBezTo>
                    <a:pt x="5038763" y="1398816"/>
                    <a:pt x="5046833" y="1406886"/>
                    <a:pt x="5046833" y="1416841"/>
                  </a:cubicBezTo>
                  <a:cubicBezTo>
                    <a:pt x="5046833" y="1426795"/>
                    <a:pt x="5038763" y="1434865"/>
                    <a:pt x="5028808" y="1434865"/>
                  </a:cubicBezTo>
                  <a:cubicBezTo>
                    <a:pt x="5018853" y="1434865"/>
                    <a:pt x="5010783" y="1426795"/>
                    <a:pt x="5010783" y="1416841"/>
                  </a:cubicBezTo>
                  <a:cubicBezTo>
                    <a:pt x="5010783" y="1406886"/>
                    <a:pt x="5018853" y="1398816"/>
                    <a:pt x="5028808" y="1398816"/>
                  </a:cubicBezTo>
                  <a:close/>
                  <a:moveTo>
                    <a:pt x="4367914" y="1398816"/>
                  </a:moveTo>
                  <a:cubicBezTo>
                    <a:pt x="4377869" y="1398816"/>
                    <a:pt x="4385939" y="1406886"/>
                    <a:pt x="4385939" y="1416841"/>
                  </a:cubicBezTo>
                  <a:cubicBezTo>
                    <a:pt x="4385939" y="1426795"/>
                    <a:pt x="4377869" y="1434865"/>
                    <a:pt x="4367914" y="1434865"/>
                  </a:cubicBezTo>
                  <a:cubicBezTo>
                    <a:pt x="4357959" y="1434865"/>
                    <a:pt x="4349889" y="1426795"/>
                    <a:pt x="4349889" y="1416841"/>
                  </a:cubicBezTo>
                  <a:cubicBezTo>
                    <a:pt x="4349889" y="1406886"/>
                    <a:pt x="4357959" y="1398816"/>
                    <a:pt x="4367914" y="1398816"/>
                  </a:cubicBezTo>
                  <a:close/>
                  <a:moveTo>
                    <a:pt x="4163637" y="1398816"/>
                  </a:moveTo>
                  <a:cubicBezTo>
                    <a:pt x="4173592" y="1398816"/>
                    <a:pt x="4181662" y="1406886"/>
                    <a:pt x="4181662" y="1416841"/>
                  </a:cubicBezTo>
                  <a:cubicBezTo>
                    <a:pt x="4181662" y="1426795"/>
                    <a:pt x="4173592" y="1434865"/>
                    <a:pt x="4163637" y="1434865"/>
                  </a:cubicBezTo>
                  <a:cubicBezTo>
                    <a:pt x="4153683" y="1434865"/>
                    <a:pt x="4145613" y="1426795"/>
                    <a:pt x="4145613" y="1416841"/>
                  </a:cubicBezTo>
                  <a:cubicBezTo>
                    <a:pt x="4145613" y="1406886"/>
                    <a:pt x="4153683" y="1398816"/>
                    <a:pt x="4163637" y="1398816"/>
                  </a:cubicBezTo>
                  <a:close/>
                  <a:moveTo>
                    <a:pt x="672910" y="1398816"/>
                  </a:moveTo>
                  <a:cubicBezTo>
                    <a:pt x="682865" y="1398816"/>
                    <a:pt x="690935" y="1406886"/>
                    <a:pt x="690935" y="1416841"/>
                  </a:cubicBezTo>
                  <a:cubicBezTo>
                    <a:pt x="690935" y="1426795"/>
                    <a:pt x="682865" y="1434865"/>
                    <a:pt x="672910" y="1434865"/>
                  </a:cubicBezTo>
                  <a:cubicBezTo>
                    <a:pt x="662956" y="1434865"/>
                    <a:pt x="654886" y="1426795"/>
                    <a:pt x="654886" y="1416841"/>
                  </a:cubicBezTo>
                  <a:cubicBezTo>
                    <a:pt x="654886" y="1406886"/>
                    <a:pt x="662956" y="1398816"/>
                    <a:pt x="672910" y="1398816"/>
                  </a:cubicBezTo>
                  <a:close/>
                  <a:moveTo>
                    <a:pt x="3190319" y="1392808"/>
                  </a:moveTo>
                  <a:cubicBezTo>
                    <a:pt x="3200274" y="1392808"/>
                    <a:pt x="3208344" y="1400877"/>
                    <a:pt x="3208344" y="1410832"/>
                  </a:cubicBezTo>
                  <a:cubicBezTo>
                    <a:pt x="3208344" y="1420787"/>
                    <a:pt x="3200274" y="1428857"/>
                    <a:pt x="3190319" y="1428857"/>
                  </a:cubicBezTo>
                  <a:cubicBezTo>
                    <a:pt x="3180364" y="1428857"/>
                    <a:pt x="3172295" y="1420787"/>
                    <a:pt x="3172295" y="1410832"/>
                  </a:cubicBezTo>
                  <a:cubicBezTo>
                    <a:pt x="3172295" y="1400877"/>
                    <a:pt x="3180364" y="1392808"/>
                    <a:pt x="3190319" y="1392808"/>
                  </a:cubicBezTo>
                  <a:close/>
                  <a:moveTo>
                    <a:pt x="1814456" y="1392808"/>
                  </a:moveTo>
                  <a:cubicBezTo>
                    <a:pt x="1824411" y="1392808"/>
                    <a:pt x="1832481" y="1400877"/>
                    <a:pt x="1832481" y="1410832"/>
                  </a:cubicBezTo>
                  <a:cubicBezTo>
                    <a:pt x="1832481" y="1420787"/>
                    <a:pt x="1824411" y="1428857"/>
                    <a:pt x="1814456" y="1428857"/>
                  </a:cubicBezTo>
                  <a:cubicBezTo>
                    <a:pt x="1804502" y="1428857"/>
                    <a:pt x="1796432" y="1420787"/>
                    <a:pt x="1796432" y="1410832"/>
                  </a:cubicBezTo>
                  <a:cubicBezTo>
                    <a:pt x="1796432" y="1400877"/>
                    <a:pt x="1804502" y="1392808"/>
                    <a:pt x="1814456" y="1392808"/>
                  </a:cubicBezTo>
                  <a:close/>
                  <a:moveTo>
                    <a:pt x="967309" y="1386800"/>
                  </a:moveTo>
                  <a:cubicBezTo>
                    <a:pt x="977264" y="1386800"/>
                    <a:pt x="985334" y="1394870"/>
                    <a:pt x="985334" y="1404824"/>
                  </a:cubicBezTo>
                  <a:cubicBezTo>
                    <a:pt x="985334" y="1414779"/>
                    <a:pt x="977264" y="1422849"/>
                    <a:pt x="967309" y="1422849"/>
                  </a:cubicBezTo>
                  <a:cubicBezTo>
                    <a:pt x="957355" y="1422849"/>
                    <a:pt x="949285" y="1414779"/>
                    <a:pt x="949285" y="1404824"/>
                  </a:cubicBezTo>
                  <a:cubicBezTo>
                    <a:pt x="949285" y="1394870"/>
                    <a:pt x="957355" y="1386800"/>
                    <a:pt x="967309" y="1386800"/>
                  </a:cubicBezTo>
                  <a:close/>
                  <a:moveTo>
                    <a:pt x="4049482" y="1374784"/>
                  </a:moveTo>
                  <a:cubicBezTo>
                    <a:pt x="4059437" y="1374784"/>
                    <a:pt x="4067507" y="1382854"/>
                    <a:pt x="4067507" y="1392808"/>
                  </a:cubicBezTo>
                  <a:cubicBezTo>
                    <a:pt x="4067507" y="1402763"/>
                    <a:pt x="4059437" y="1410833"/>
                    <a:pt x="4049482" y="1410833"/>
                  </a:cubicBezTo>
                  <a:cubicBezTo>
                    <a:pt x="4039528" y="1410833"/>
                    <a:pt x="4031458" y="1402763"/>
                    <a:pt x="4031458" y="1392808"/>
                  </a:cubicBezTo>
                  <a:cubicBezTo>
                    <a:pt x="4031458" y="1382854"/>
                    <a:pt x="4039528" y="1374784"/>
                    <a:pt x="4049482" y="1374784"/>
                  </a:cubicBezTo>
                  <a:close/>
                  <a:moveTo>
                    <a:pt x="4674329" y="1368775"/>
                  </a:moveTo>
                  <a:cubicBezTo>
                    <a:pt x="4684284" y="1368775"/>
                    <a:pt x="4692354" y="1376845"/>
                    <a:pt x="4692354" y="1386800"/>
                  </a:cubicBezTo>
                  <a:cubicBezTo>
                    <a:pt x="4692354" y="1396754"/>
                    <a:pt x="4684284" y="1404824"/>
                    <a:pt x="4674329" y="1404824"/>
                  </a:cubicBezTo>
                  <a:cubicBezTo>
                    <a:pt x="4664375" y="1404824"/>
                    <a:pt x="4656305" y="1396754"/>
                    <a:pt x="4656305" y="1386800"/>
                  </a:cubicBezTo>
                  <a:cubicBezTo>
                    <a:pt x="4656305" y="1376845"/>
                    <a:pt x="4664375" y="1368775"/>
                    <a:pt x="4674329" y="1368775"/>
                  </a:cubicBezTo>
                  <a:close/>
                  <a:moveTo>
                    <a:pt x="1526067" y="1368775"/>
                  </a:moveTo>
                  <a:cubicBezTo>
                    <a:pt x="1536021" y="1368775"/>
                    <a:pt x="1544091" y="1376845"/>
                    <a:pt x="1544091" y="1386800"/>
                  </a:cubicBezTo>
                  <a:cubicBezTo>
                    <a:pt x="1544091" y="1396754"/>
                    <a:pt x="1536021" y="1404824"/>
                    <a:pt x="1526067" y="1404824"/>
                  </a:cubicBezTo>
                  <a:cubicBezTo>
                    <a:pt x="1516112" y="1404824"/>
                    <a:pt x="1508042" y="1396754"/>
                    <a:pt x="1508042" y="1386800"/>
                  </a:cubicBezTo>
                  <a:cubicBezTo>
                    <a:pt x="1508042" y="1376845"/>
                    <a:pt x="1516112" y="1368775"/>
                    <a:pt x="1526067" y="1368775"/>
                  </a:cubicBezTo>
                  <a:close/>
                  <a:moveTo>
                    <a:pt x="1369854" y="1368775"/>
                  </a:moveTo>
                  <a:cubicBezTo>
                    <a:pt x="1379809" y="1368775"/>
                    <a:pt x="1387879" y="1376845"/>
                    <a:pt x="1387879" y="1386800"/>
                  </a:cubicBezTo>
                  <a:cubicBezTo>
                    <a:pt x="1387879" y="1396754"/>
                    <a:pt x="1379809" y="1404824"/>
                    <a:pt x="1369854" y="1404824"/>
                  </a:cubicBezTo>
                  <a:cubicBezTo>
                    <a:pt x="1359900" y="1404824"/>
                    <a:pt x="1351830" y="1396754"/>
                    <a:pt x="1351830" y="1386800"/>
                  </a:cubicBezTo>
                  <a:cubicBezTo>
                    <a:pt x="1351830" y="1376845"/>
                    <a:pt x="1359900" y="1368775"/>
                    <a:pt x="1369854" y="1368775"/>
                  </a:cubicBezTo>
                  <a:close/>
                  <a:moveTo>
                    <a:pt x="3418628" y="1362767"/>
                  </a:moveTo>
                  <a:cubicBezTo>
                    <a:pt x="3428583" y="1362767"/>
                    <a:pt x="3436653" y="1370836"/>
                    <a:pt x="3436653" y="1380791"/>
                  </a:cubicBezTo>
                  <a:cubicBezTo>
                    <a:pt x="3436653" y="1390746"/>
                    <a:pt x="3428583" y="1398816"/>
                    <a:pt x="3418628" y="1398816"/>
                  </a:cubicBezTo>
                  <a:cubicBezTo>
                    <a:pt x="3408674" y="1398816"/>
                    <a:pt x="3400604" y="1390746"/>
                    <a:pt x="3400604" y="1380791"/>
                  </a:cubicBezTo>
                  <a:cubicBezTo>
                    <a:pt x="3400604" y="1370836"/>
                    <a:pt x="3408674" y="1362767"/>
                    <a:pt x="3418628" y="1362767"/>
                  </a:cubicBezTo>
                  <a:close/>
                  <a:moveTo>
                    <a:pt x="1147553" y="1362767"/>
                  </a:moveTo>
                  <a:cubicBezTo>
                    <a:pt x="1157508" y="1362767"/>
                    <a:pt x="1165578" y="1370836"/>
                    <a:pt x="1165578" y="1380791"/>
                  </a:cubicBezTo>
                  <a:cubicBezTo>
                    <a:pt x="1165578" y="1390746"/>
                    <a:pt x="1157508" y="1398816"/>
                    <a:pt x="1147553" y="1398816"/>
                  </a:cubicBezTo>
                  <a:cubicBezTo>
                    <a:pt x="1137599" y="1398816"/>
                    <a:pt x="1129529" y="1390746"/>
                    <a:pt x="1129529" y="1380791"/>
                  </a:cubicBezTo>
                  <a:cubicBezTo>
                    <a:pt x="1129529" y="1370836"/>
                    <a:pt x="1137599" y="1362767"/>
                    <a:pt x="1147553" y="1362767"/>
                  </a:cubicBezTo>
                  <a:close/>
                  <a:moveTo>
                    <a:pt x="3646937" y="1356759"/>
                  </a:moveTo>
                  <a:cubicBezTo>
                    <a:pt x="3656892" y="1356759"/>
                    <a:pt x="3664962" y="1364829"/>
                    <a:pt x="3664962" y="1374783"/>
                  </a:cubicBezTo>
                  <a:cubicBezTo>
                    <a:pt x="3664962" y="1384738"/>
                    <a:pt x="3656892" y="1392808"/>
                    <a:pt x="3646937" y="1392808"/>
                  </a:cubicBezTo>
                  <a:cubicBezTo>
                    <a:pt x="3636982" y="1392808"/>
                    <a:pt x="3628912" y="1384738"/>
                    <a:pt x="3628912" y="1374783"/>
                  </a:cubicBezTo>
                  <a:cubicBezTo>
                    <a:pt x="3628912" y="1364829"/>
                    <a:pt x="3636982" y="1356759"/>
                    <a:pt x="3646937" y="1356759"/>
                  </a:cubicBezTo>
                  <a:close/>
                  <a:moveTo>
                    <a:pt x="1946636" y="1356759"/>
                  </a:moveTo>
                  <a:cubicBezTo>
                    <a:pt x="1956590" y="1356759"/>
                    <a:pt x="1964660" y="1364829"/>
                    <a:pt x="1964660" y="1374783"/>
                  </a:cubicBezTo>
                  <a:cubicBezTo>
                    <a:pt x="1964660" y="1384738"/>
                    <a:pt x="1956590" y="1392808"/>
                    <a:pt x="1946636" y="1392808"/>
                  </a:cubicBezTo>
                  <a:cubicBezTo>
                    <a:pt x="1936681" y="1392808"/>
                    <a:pt x="1928611" y="1384738"/>
                    <a:pt x="1928611" y="1374783"/>
                  </a:cubicBezTo>
                  <a:cubicBezTo>
                    <a:pt x="1928611" y="1364829"/>
                    <a:pt x="1936681" y="1356759"/>
                    <a:pt x="1946636" y="1356759"/>
                  </a:cubicBezTo>
                  <a:close/>
                  <a:moveTo>
                    <a:pt x="1658245" y="1350751"/>
                  </a:moveTo>
                  <a:cubicBezTo>
                    <a:pt x="1668200" y="1350751"/>
                    <a:pt x="1676270" y="1358821"/>
                    <a:pt x="1676270" y="1368775"/>
                  </a:cubicBezTo>
                  <a:cubicBezTo>
                    <a:pt x="1676270" y="1378730"/>
                    <a:pt x="1668200" y="1386800"/>
                    <a:pt x="1658245" y="1386800"/>
                  </a:cubicBezTo>
                  <a:cubicBezTo>
                    <a:pt x="1648291" y="1386800"/>
                    <a:pt x="1640221" y="1378730"/>
                    <a:pt x="1640221" y="1368775"/>
                  </a:cubicBezTo>
                  <a:cubicBezTo>
                    <a:pt x="1640221" y="1358821"/>
                    <a:pt x="1648291" y="1350751"/>
                    <a:pt x="1658245" y="1350751"/>
                  </a:cubicBezTo>
                  <a:close/>
                  <a:moveTo>
                    <a:pt x="3929320" y="1344743"/>
                  </a:moveTo>
                  <a:cubicBezTo>
                    <a:pt x="3939275" y="1344743"/>
                    <a:pt x="3947345" y="1352813"/>
                    <a:pt x="3947345" y="1362767"/>
                  </a:cubicBezTo>
                  <a:cubicBezTo>
                    <a:pt x="3947345" y="1372722"/>
                    <a:pt x="3939275" y="1380792"/>
                    <a:pt x="3929320" y="1380792"/>
                  </a:cubicBezTo>
                  <a:cubicBezTo>
                    <a:pt x="3919366" y="1380792"/>
                    <a:pt x="3911296" y="1372722"/>
                    <a:pt x="3911296" y="1362767"/>
                  </a:cubicBezTo>
                  <a:cubicBezTo>
                    <a:pt x="3911296" y="1352813"/>
                    <a:pt x="3919366" y="1344743"/>
                    <a:pt x="3929320" y="1344743"/>
                  </a:cubicBezTo>
                  <a:close/>
                  <a:moveTo>
                    <a:pt x="3088181" y="1344743"/>
                  </a:moveTo>
                  <a:cubicBezTo>
                    <a:pt x="3098136" y="1344743"/>
                    <a:pt x="3106206" y="1352813"/>
                    <a:pt x="3106206" y="1362767"/>
                  </a:cubicBezTo>
                  <a:cubicBezTo>
                    <a:pt x="3106206" y="1372722"/>
                    <a:pt x="3098136" y="1380792"/>
                    <a:pt x="3088181" y="1380792"/>
                  </a:cubicBezTo>
                  <a:cubicBezTo>
                    <a:pt x="3078227" y="1380792"/>
                    <a:pt x="3070157" y="1372722"/>
                    <a:pt x="3070157" y="1362767"/>
                  </a:cubicBezTo>
                  <a:cubicBezTo>
                    <a:pt x="3070157" y="1352813"/>
                    <a:pt x="3078227" y="1344743"/>
                    <a:pt x="3088181" y="1344743"/>
                  </a:cubicBezTo>
                  <a:close/>
                  <a:moveTo>
                    <a:pt x="853154" y="1344743"/>
                  </a:moveTo>
                  <a:cubicBezTo>
                    <a:pt x="863109" y="1344743"/>
                    <a:pt x="871179" y="1352813"/>
                    <a:pt x="871179" y="1362767"/>
                  </a:cubicBezTo>
                  <a:cubicBezTo>
                    <a:pt x="871179" y="1372722"/>
                    <a:pt x="863109" y="1380792"/>
                    <a:pt x="853154" y="1380792"/>
                  </a:cubicBezTo>
                  <a:cubicBezTo>
                    <a:pt x="843200" y="1380792"/>
                    <a:pt x="835130" y="1372722"/>
                    <a:pt x="835130" y="1362767"/>
                  </a:cubicBezTo>
                  <a:cubicBezTo>
                    <a:pt x="835130" y="1352813"/>
                    <a:pt x="843200" y="1344743"/>
                    <a:pt x="853154" y="1344743"/>
                  </a:cubicBezTo>
                  <a:close/>
                  <a:moveTo>
                    <a:pt x="4283800" y="1326718"/>
                  </a:moveTo>
                  <a:cubicBezTo>
                    <a:pt x="4293755" y="1326718"/>
                    <a:pt x="4301825" y="1334788"/>
                    <a:pt x="4301825" y="1344742"/>
                  </a:cubicBezTo>
                  <a:cubicBezTo>
                    <a:pt x="4301825" y="1354697"/>
                    <a:pt x="4293755" y="1362767"/>
                    <a:pt x="4283800" y="1362767"/>
                  </a:cubicBezTo>
                  <a:cubicBezTo>
                    <a:pt x="4273846" y="1362767"/>
                    <a:pt x="4265776" y="1354697"/>
                    <a:pt x="4265776" y="1344742"/>
                  </a:cubicBezTo>
                  <a:cubicBezTo>
                    <a:pt x="4265776" y="1334788"/>
                    <a:pt x="4273846" y="1326718"/>
                    <a:pt x="4283800" y="1326718"/>
                  </a:cubicBezTo>
                  <a:close/>
                  <a:moveTo>
                    <a:pt x="3815165" y="1326718"/>
                  </a:moveTo>
                  <a:cubicBezTo>
                    <a:pt x="3825120" y="1326718"/>
                    <a:pt x="3833190" y="1334788"/>
                    <a:pt x="3833190" y="1344742"/>
                  </a:cubicBezTo>
                  <a:cubicBezTo>
                    <a:pt x="3833190" y="1354697"/>
                    <a:pt x="3825120" y="1362767"/>
                    <a:pt x="3815165" y="1362767"/>
                  </a:cubicBezTo>
                  <a:cubicBezTo>
                    <a:pt x="3805210" y="1362767"/>
                    <a:pt x="3797141" y="1354697"/>
                    <a:pt x="3797141" y="1344742"/>
                  </a:cubicBezTo>
                  <a:cubicBezTo>
                    <a:pt x="3797141" y="1334788"/>
                    <a:pt x="3805210" y="1326718"/>
                    <a:pt x="3815165" y="1326718"/>
                  </a:cubicBezTo>
                  <a:close/>
                  <a:moveTo>
                    <a:pt x="2980034" y="1326718"/>
                  </a:moveTo>
                  <a:cubicBezTo>
                    <a:pt x="2989989" y="1326718"/>
                    <a:pt x="2998059" y="1334788"/>
                    <a:pt x="2998059" y="1344742"/>
                  </a:cubicBezTo>
                  <a:cubicBezTo>
                    <a:pt x="2998059" y="1354697"/>
                    <a:pt x="2989989" y="1362767"/>
                    <a:pt x="2980034" y="1362767"/>
                  </a:cubicBezTo>
                  <a:cubicBezTo>
                    <a:pt x="2970079" y="1362767"/>
                    <a:pt x="2962010" y="1354697"/>
                    <a:pt x="2962010" y="1344742"/>
                  </a:cubicBezTo>
                  <a:cubicBezTo>
                    <a:pt x="2962010" y="1334788"/>
                    <a:pt x="2970079" y="1326718"/>
                    <a:pt x="2980034" y="1326718"/>
                  </a:cubicBezTo>
                  <a:close/>
                  <a:moveTo>
                    <a:pt x="594806" y="1326718"/>
                  </a:moveTo>
                  <a:cubicBezTo>
                    <a:pt x="604760" y="1326718"/>
                    <a:pt x="612830" y="1334788"/>
                    <a:pt x="612830" y="1344742"/>
                  </a:cubicBezTo>
                  <a:cubicBezTo>
                    <a:pt x="612830" y="1354697"/>
                    <a:pt x="604760" y="1362767"/>
                    <a:pt x="594806" y="1362767"/>
                  </a:cubicBezTo>
                  <a:cubicBezTo>
                    <a:pt x="584851" y="1362767"/>
                    <a:pt x="576781" y="1354697"/>
                    <a:pt x="576781" y="1344742"/>
                  </a:cubicBezTo>
                  <a:cubicBezTo>
                    <a:pt x="576781" y="1334788"/>
                    <a:pt x="584851" y="1326718"/>
                    <a:pt x="594806" y="1326718"/>
                  </a:cubicBezTo>
                  <a:close/>
                  <a:moveTo>
                    <a:pt x="4836548" y="1314702"/>
                  </a:moveTo>
                  <a:cubicBezTo>
                    <a:pt x="4846503" y="1314702"/>
                    <a:pt x="4854573" y="1322772"/>
                    <a:pt x="4854573" y="1332726"/>
                  </a:cubicBezTo>
                  <a:cubicBezTo>
                    <a:pt x="4854573" y="1342681"/>
                    <a:pt x="4846503" y="1350751"/>
                    <a:pt x="4836548" y="1350751"/>
                  </a:cubicBezTo>
                  <a:cubicBezTo>
                    <a:pt x="4826593" y="1350751"/>
                    <a:pt x="4818524" y="1342681"/>
                    <a:pt x="4818524" y="1332726"/>
                  </a:cubicBezTo>
                  <a:cubicBezTo>
                    <a:pt x="4818524" y="1322772"/>
                    <a:pt x="4826593" y="1314702"/>
                    <a:pt x="4836548" y="1314702"/>
                  </a:cubicBezTo>
                  <a:close/>
                  <a:moveTo>
                    <a:pt x="4980743" y="1308694"/>
                  </a:moveTo>
                  <a:cubicBezTo>
                    <a:pt x="4990698" y="1308694"/>
                    <a:pt x="4998768" y="1316764"/>
                    <a:pt x="4998768" y="1326719"/>
                  </a:cubicBezTo>
                  <a:cubicBezTo>
                    <a:pt x="4998768" y="1336673"/>
                    <a:pt x="4990698" y="1344743"/>
                    <a:pt x="4980743" y="1344743"/>
                  </a:cubicBezTo>
                  <a:cubicBezTo>
                    <a:pt x="4970789" y="1344743"/>
                    <a:pt x="4962719" y="1336673"/>
                    <a:pt x="4962719" y="1326719"/>
                  </a:cubicBezTo>
                  <a:cubicBezTo>
                    <a:pt x="4962719" y="1316764"/>
                    <a:pt x="4970789" y="1308694"/>
                    <a:pt x="4980743" y="1308694"/>
                  </a:cubicBezTo>
                  <a:close/>
                  <a:moveTo>
                    <a:pt x="2871888" y="1302686"/>
                  </a:moveTo>
                  <a:cubicBezTo>
                    <a:pt x="2881843" y="1302686"/>
                    <a:pt x="2889913" y="1310755"/>
                    <a:pt x="2889913" y="1320710"/>
                  </a:cubicBezTo>
                  <a:cubicBezTo>
                    <a:pt x="2889913" y="1330665"/>
                    <a:pt x="2881843" y="1338735"/>
                    <a:pt x="2871888" y="1338735"/>
                  </a:cubicBezTo>
                  <a:cubicBezTo>
                    <a:pt x="2861934" y="1338735"/>
                    <a:pt x="2853864" y="1330665"/>
                    <a:pt x="2853864" y="1320710"/>
                  </a:cubicBezTo>
                  <a:cubicBezTo>
                    <a:pt x="2853864" y="1310755"/>
                    <a:pt x="2861934" y="1302686"/>
                    <a:pt x="2871888" y="1302686"/>
                  </a:cubicBezTo>
                  <a:close/>
                  <a:moveTo>
                    <a:pt x="2102847" y="1302686"/>
                  </a:moveTo>
                  <a:cubicBezTo>
                    <a:pt x="2112802" y="1302686"/>
                    <a:pt x="2120872" y="1310755"/>
                    <a:pt x="2120872" y="1320710"/>
                  </a:cubicBezTo>
                  <a:cubicBezTo>
                    <a:pt x="2120872" y="1330665"/>
                    <a:pt x="2112802" y="1338735"/>
                    <a:pt x="2102847" y="1338735"/>
                  </a:cubicBezTo>
                  <a:cubicBezTo>
                    <a:pt x="2092893" y="1338735"/>
                    <a:pt x="2084823" y="1330665"/>
                    <a:pt x="2084823" y="1320710"/>
                  </a:cubicBezTo>
                  <a:cubicBezTo>
                    <a:pt x="2084823" y="1310755"/>
                    <a:pt x="2092893" y="1302686"/>
                    <a:pt x="2102847" y="1302686"/>
                  </a:cubicBezTo>
                  <a:close/>
                  <a:moveTo>
                    <a:pt x="1273724" y="1302686"/>
                  </a:moveTo>
                  <a:cubicBezTo>
                    <a:pt x="1283679" y="1302686"/>
                    <a:pt x="1291749" y="1310755"/>
                    <a:pt x="1291749" y="1320710"/>
                  </a:cubicBezTo>
                  <a:cubicBezTo>
                    <a:pt x="1291749" y="1330665"/>
                    <a:pt x="1283679" y="1338735"/>
                    <a:pt x="1273724" y="1338735"/>
                  </a:cubicBezTo>
                  <a:cubicBezTo>
                    <a:pt x="1263770" y="1338735"/>
                    <a:pt x="1255700" y="1330665"/>
                    <a:pt x="1255700" y="1320710"/>
                  </a:cubicBezTo>
                  <a:cubicBezTo>
                    <a:pt x="1255700" y="1310755"/>
                    <a:pt x="1263770" y="1302686"/>
                    <a:pt x="1273724" y="1302686"/>
                  </a:cubicBezTo>
                  <a:close/>
                  <a:moveTo>
                    <a:pt x="1033398" y="1302686"/>
                  </a:moveTo>
                  <a:cubicBezTo>
                    <a:pt x="1043353" y="1302686"/>
                    <a:pt x="1051423" y="1310755"/>
                    <a:pt x="1051423" y="1320710"/>
                  </a:cubicBezTo>
                  <a:cubicBezTo>
                    <a:pt x="1051423" y="1330665"/>
                    <a:pt x="1043353" y="1338735"/>
                    <a:pt x="1033398" y="1338735"/>
                  </a:cubicBezTo>
                  <a:cubicBezTo>
                    <a:pt x="1023444" y="1338735"/>
                    <a:pt x="1015374" y="1330665"/>
                    <a:pt x="1015374" y="1320710"/>
                  </a:cubicBezTo>
                  <a:cubicBezTo>
                    <a:pt x="1015374" y="1310755"/>
                    <a:pt x="1023444" y="1302686"/>
                    <a:pt x="1033398" y="1302686"/>
                  </a:cubicBezTo>
                  <a:close/>
                  <a:moveTo>
                    <a:pt x="4548158" y="1296678"/>
                  </a:moveTo>
                  <a:cubicBezTo>
                    <a:pt x="4558113" y="1296678"/>
                    <a:pt x="4566183" y="1304748"/>
                    <a:pt x="4566183" y="1314702"/>
                  </a:cubicBezTo>
                  <a:cubicBezTo>
                    <a:pt x="4566183" y="1324657"/>
                    <a:pt x="4558113" y="1332727"/>
                    <a:pt x="4548158" y="1332727"/>
                  </a:cubicBezTo>
                  <a:cubicBezTo>
                    <a:pt x="4538203" y="1332727"/>
                    <a:pt x="4530133" y="1324657"/>
                    <a:pt x="4530133" y="1314702"/>
                  </a:cubicBezTo>
                  <a:cubicBezTo>
                    <a:pt x="4530133" y="1304748"/>
                    <a:pt x="4538203" y="1296678"/>
                    <a:pt x="4548158" y="1296678"/>
                  </a:cubicBezTo>
                  <a:close/>
                  <a:moveTo>
                    <a:pt x="3520767" y="1290670"/>
                  </a:moveTo>
                  <a:cubicBezTo>
                    <a:pt x="3530722" y="1290670"/>
                    <a:pt x="3538792" y="1298740"/>
                    <a:pt x="3538792" y="1308694"/>
                  </a:cubicBezTo>
                  <a:cubicBezTo>
                    <a:pt x="3538792" y="1318649"/>
                    <a:pt x="3530722" y="1326719"/>
                    <a:pt x="3520767" y="1326719"/>
                  </a:cubicBezTo>
                  <a:cubicBezTo>
                    <a:pt x="3510812" y="1326719"/>
                    <a:pt x="3502743" y="1318649"/>
                    <a:pt x="3502743" y="1308694"/>
                  </a:cubicBezTo>
                  <a:cubicBezTo>
                    <a:pt x="3502743" y="1298740"/>
                    <a:pt x="3510812" y="1290670"/>
                    <a:pt x="3520767" y="1290670"/>
                  </a:cubicBezTo>
                  <a:close/>
                  <a:moveTo>
                    <a:pt x="3244392" y="1290670"/>
                  </a:moveTo>
                  <a:cubicBezTo>
                    <a:pt x="3254347" y="1290670"/>
                    <a:pt x="3262417" y="1298740"/>
                    <a:pt x="3262417" y="1308694"/>
                  </a:cubicBezTo>
                  <a:cubicBezTo>
                    <a:pt x="3262417" y="1318649"/>
                    <a:pt x="3254347" y="1326719"/>
                    <a:pt x="3244392" y="1326719"/>
                  </a:cubicBezTo>
                  <a:cubicBezTo>
                    <a:pt x="3234437" y="1326719"/>
                    <a:pt x="3226368" y="1318649"/>
                    <a:pt x="3226368" y="1308694"/>
                  </a:cubicBezTo>
                  <a:cubicBezTo>
                    <a:pt x="3226368" y="1298740"/>
                    <a:pt x="3234437" y="1290670"/>
                    <a:pt x="3244392" y="1290670"/>
                  </a:cubicBezTo>
                  <a:close/>
                  <a:moveTo>
                    <a:pt x="757024" y="1290670"/>
                  </a:moveTo>
                  <a:cubicBezTo>
                    <a:pt x="766979" y="1290670"/>
                    <a:pt x="775049" y="1298740"/>
                    <a:pt x="775049" y="1308694"/>
                  </a:cubicBezTo>
                  <a:cubicBezTo>
                    <a:pt x="775049" y="1318649"/>
                    <a:pt x="766979" y="1326719"/>
                    <a:pt x="757024" y="1326719"/>
                  </a:cubicBezTo>
                  <a:cubicBezTo>
                    <a:pt x="747070" y="1326719"/>
                    <a:pt x="739000" y="1318649"/>
                    <a:pt x="739000" y="1308694"/>
                  </a:cubicBezTo>
                  <a:cubicBezTo>
                    <a:pt x="739000" y="1298740"/>
                    <a:pt x="747070" y="1290670"/>
                    <a:pt x="757024" y="1290670"/>
                  </a:cubicBezTo>
                  <a:close/>
                  <a:moveTo>
                    <a:pt x="4427995" y="1284661"/>
                  </a:moveTo>
                  <a:cubicBezTo>
                    <a:pt x="4437950" y="1284661"/>
                    <a:pt x="4446020" y="1292731"/>
                    <a:pt x="4446020" y="1302685"/>
                  </a:cubicBezTo>
                  <a:cubicBezTo>
                    <a:pt x="4446020" y="1312640"/>
                    <a:pt x="4437950" y="1320710"/>
                    <a:pt x="4427995" y="1320710"/>
                  </a:cubicBezTo>
                  <a:cubicBezTo>
                    <a:pt x="4418040" y="1320710"/>
                    <a:pt x="4409970" y="1312640"/>
                    <a:pt x="4409970" y="1302685"/>
                  </a:cubicBezTo>
                  <a:cubicBezTo>
                    <a:pt x="4409970" y="1292731"/>
                    <a:pt x="4418040" y="1284661"/>
                    <a:pt x="4427995" y="1284661"/>
                  </a:cubicBezTo>
                  <a:close/>
                  <a:moveTo>
                    <a:pt x="2763741" y="1278653"/>
                  </a:moveTo>
                  <a:cubicBezTo>
                    <a:pt x="2773696" y="1278653"/>
                    <a:pt x="2781766" y="1286723"/>
                    <a:pt x="2781766" y="1296678"/>
                  </a:cubicBezTo>
                  <a:cubicBezTo>
                    <a:pt x="2781766" y="1306632"/>
                    <a:pt x="2773696" y="1314702"/>
                    <a:pt x="2763741" y="1314702"/>
                  </a:cubicBezTo>
                  <a:cubicBezTo>
                    <a:pt x="2753786" y="1314702"/>
                    <a:pt x="2745717" y="1306632"/>
                    <a:pt x="2745717" y="1296678"/>
                  </a:cubicBezTo>
                  <a:cubicBezTo>
                    <a:pt x="2745717" y="1286723"/>
                    <a:pt x="2753786" y="1278653"/>
                    <a:pt x="2763741" y="1278653"/>
                  </a:cubicBezTo>
                  <a:close/>
                  <a:moveTo>
                    <a:pt x="2217002" y="1272645"/>
                  </a:moveTo>
                  <a:cubicBezTo>
                    <a:pt x="2226956" y="1272645"/>
                    <a:pt x="2235026" y="1280714"/>
                    <a:pt x="2235026" y="1290669"/>
                  </a:cubicBezTo>
                  <a:cubicBezTo>
                    <a:pt x="2235026" y="1300624"/>
                    <a:pt x="2226956" y="1308694"/>
                    <a:pt x="2217002" y="1308694"/>
                  </a:cubicBezTo>
                  <a:cubicBezTo>
                    <a:pt x="2207047" y="1308694"/>
                    <a:pt x="2198977" y="1300624"/>
                    <a:pt x="2198977" y="1290669"/>
                  </a:cubicBezTo>
                  <a:cubicBezTo>
                    <a:pt x="2198977" y="1280714"/>
                    <a:pt x="2207047" y="1272645"/>
                    <a:pt x="2217002" y="1272645"/>
                  </a:cubicBezTo>
                  <a:close/>
                  <a:moveTo>
                    <a:pt x="1874537" y="1272645"/>
                  </a:moveTo>
                  <a:cubicBezTo>
                    <a:pt x="1884492" y="1272645"/>
                    <a:pt x="1892562" y="1280714"/>
                    <a:pt x="1892562" y="1290669"/>
                  </a:cubicBezTo>
                  <a:cubicBezTo>
                    <a:pt x="1892562" y="1300624"/>
                    <a:pt x="1884492" y="1308694"/>
                    <a:pt x="1874537" y="1308694"/>
                  </a:cubicBezTo>
                  <a:cubicBezTo>
                    <a:pt x="1864583" y="1308694"/>
                    <a:pt x="1856513" y="1300624"/>
                    <a:pt x="1856513" y="1290669"/>
                  </a:cubicBezTo>
                  <a:cubicBezTo>
                    <a:pt x="1856513" y="1280714"/>
                    <a:pt x="1864583" y="1272645"/>
                    <a:pt x="1874537" y="1272645"/>
                  </a:cubicBezTo>
                  <a:close/>
                  <a:moveTo>
                    <a:pt x="3376571" y="1266637"/>
                  </a:moveTo>
                  <a:cubicBezTo>
                    <a:pt x="3386526" y="1266637"/>
                    <a:pt x="3394596" y="1274707"/>
                    <a:pt x="3394596" y="1284661"/>
                  </a:cubicBezTo>
                  <a:cubicBezTo>
                    <a:pt x="3394596" y="1294616"/>
                    <a:pt x="3386526" y="1302686"/>
                    <a:pt x="3376571" y="1302686"/>
                  </a:cubicBezTo>
                  <a:cubicBezTo>
                    <a:pt x="3366616" y="1302686"/>
                    <a:pt x="3358546" y="1294616"/>
                    <a:pt x="3358546" y="1284661"/>
                  </a:cubicBezTo>
                  <a:cubicBezTo>
                    <a:pt x="3358546" y="1274707"/>
                    <a:pt x="3366616" y="1266637"/>
                    <a:pt x="3376571" y="1266637"/>
                  </a:cubicBezTo>
                  <a:close/>
                  <a:moveTo>
                    <a:pt x="2643579" y="1266637"/>
                  </a:moveTo>
                  <a:cubicBezTo>
                    <a:pt x="2653534" y="1266637"/>
                    <a:pt x="2661604" y="1274707"/>
                    <a:pt x="2661604" y="1284661"/>
                  </a:cubicBezTo>
                  <a:cubicBezTo>
                    <a:pt x="2661604" y="1294616"/>
                    <a:pt x="2653534" y="1302686"/>
                    <a:pt x="2643579" y="1302686"/>
                  </a:cubicBezTo>
                  <a:cubicBezTo>
                    <a:pt x="2633624" y="1302686"/>
                    <a:pt x="2625555" y="1294616"/>
                    <a:pt x="2625555" y="1284661"/>
                  </a:cubicBezTo>
                  <a:cubicBezTo>
                    <a:pt x="2625555" y="1274707"/>
                    <a:pt x="2633624" y="1266637"/>
                    <a:pt x="2643579" y="1266637"/>
                  </a:cubicBezTo>
                  <a:close/>
                  <a:moveTo>
                    <a:pt x="1754375" y="1266637"/>
                  </a:moveTo>
                  <a:cubicBezTo>
                    <a:pt x="1764330" y="1266637"/>
                    <a:pt x="1772400" y="1274707"/>
                    <a:pt x="1772400" y="1284661"/>
                  </a:cubicBezTo>
                  <a:cubicBezTo>
                    <a:pt x="1772400" y="1294616"/>
                    <a:pt x="1764330" y="1302686"/>
                    <a:pt x="1754375" y="1302686"/>
                  </a:cubicBezTo>
                  <a:cubicBezTo>
                    <a:pt x="1744421" y="1302686"/>
                    <a:pt x="1736351" y="1294616"/>
                    <a:pt x="1736351" y="1284661"/>
                  </a:cubicBezTo>
                  <a:cubicBezTo>
                    <a:pt x="1736351" y="1274707"/>
                    <a:pt x="1744421" y="1266637"/>
                    <a:pt x="1754375" y="1266637"/>
                  </a:cubicBezTo>
                  <a:close/>
                  <a:moveTo>
                    <a:pt x="4740418" y="1260629"/>
                  </a:moveTo>
                  <a:cubicBezTo>
                    <a:pt x="4750373" y="1260629"/>
                    <a:pt x="4758443" y="1268699"/>
                    <a:pt x="4758443" y="1278653"/>
                  </a:cubicBezTo>
                  <a:cubicBezTo>
                    <a:pt x="4758443" y="1288608"/>
                    <a:pt x="4750373" y="1296678"/>
                    <a:pt x="4740418" y="1296678"/>
                  </a:cubicBezTo>
                  <a:cubicBezTo>
                    <a:pt x="4730464" y="1296678"/>
                    <a:pt x="4722394" y="1288608"/>
                    <a:pt x="4722394" y="1278653"/>
                  </a:cubicBezTo>
                  <a:cubicBezTo>
                    <a:pt x="4722394" y="1268699"/>
                    <a:pt x="4730464" y="1260629"/>
                    <a:pt x="4740418" y="1260629"/>
                  </a:cubicBezTo>
                  <a:close/>
                  <a:moveTo>
                    <a:pt x="4103556" y="1260629"/>
                  </a:moveTo>
                  <a:cubicBezTo>
                    <a:pt x="4113511" y="1260629"/>
                    <a:pt x="4121581" y="1268699"/>
                    <a:pt x="4121581" y="1278653"/>
                  </a:cubicBezTo>
                  <a:cubicBezTo>
                    <a:pt x="4121581" y="1288608"/>
                    <a:pt x="4113511" y="1296678"/>
                    <a:pt x="4103556" y="1296678"/>
                  </a:cubicBezTo>
                  <a:cubicBezTo>
                    <a:pt x="4093602" y="1296678"/>
                    <a:pt x="4085532" y="1288608"/>
                    <a:pt x="4085532" y="1278653"/>
                  </a:cubicBezTo>
                  <a:cubicBezTo>
                    <a:pt x="4085532" y="1268699"/>
                    <a:pt x="4093602" y="1260629"/>
                    <a:pt x="4103556" y="1260629"/>
                  </a:cubicBezTo>
                  <a:close/>
                  <a:moveTo>
                    <a:pt x="3725043" y="1260629"/>
                  </a:moveTo>
                  <a:cubicBezTo>
                    <a:pt x="3734998" y="1260629"/>
                    <a:pt x="3743068" y="1268699"/>
                    <a:pt x="3743068" y="1278653"/>
                  </a:cubicBezTo>
                  <a:cubicBezTo>
                    <a:pt x="3743068" y="1288608"/>
                    <a:pt x="3734998" y="1296678"/>
                    <a:pt x="3725043" y="1296678"/>
                  </a:cubicBezTo>
                  <a:cubicBezTo>
                    <a:pt x="3715088" y="1296678"/>
                    <a:pt x="3707019" y="1288608"/>
                    <a:pt x="3707019" y="1278653"/>
                  </a:cubicBezTo>
                  <a:cubicBezTo>
                    <a:pt x="3707019" y="1268699"/>
                    <a:pt x="3715088" y="1260629"/>
                    <a:pt x="3725043" y="1260629"/>
                  </a:cubicBezTo>
                  <a:close/>
                  <a:moveTo>
                    <a:pt x="1405904" y="1260629"/>
                  </a:moveTo>
                  <a:cubicBezTo>
                    <a:pt x="1415858" y="1260629"/>
                    <a:pt x="1423928" y="1268699"/>
                    <a:pt x="1423928" y="1278653"/>
                  </a:cubicBezTo>
                  <a:cubicBezTo>
                    <a:pt x="1423928" y="1288608"/>
                    <a:pt x="1415858" y="1296678"/>
                    <a:pt x="1405904" y="1296678"/>
                  </a:cubicBezTo>
                  <a:cubicBezTo>
                    <a:pt x="1395949" y="1296678"/>
                    <a:pt x="1387879" y="1288608"/>
                    <a:pt x="1387879" y="1278653"/>
                  </a:cubicBezTo>
                  <a:cubicBezTo>
                    <a:pt x="1387879" y="1268699"/>
                    <a:pt x="1395949" y="1260629"/>
                    <a:pt x="1405904" y="1260629"/>
                  </a:cubicBezTo>
                  <a:close/>
                  <a:moveTo>
                    <a:pt x="492666" y="1260629"/>
                  </a:moveTo>
                  <a:cubicBezTo>
                    <a:pt x="502621" y="1260629"/>
                    <a:pt x="510691" y="1268699"/>
                    <a:pt x="510691" y="1278653"/>
                  </a:cubicBezTo>
                  <a:cubicBezTo>
                    <a:pt x="510691" y="1288608"/>
                    <a:pt x="502621" y="1296678"/>
                    <a:pt x="492666" y="1296678"/>
                  </a:cubicBezTo>
                  <a:cubicBezTo>
                    <a:pt x="482712" y="1296678"/>
                    <a:pt x="474642" y="1288608"/>
                    <a:pt x="474642" y="1278653"/>
                  </a:cubicBezTo>
                  <a:cubicBezTo>
                    <a:pt x="474642" y="1268699"/>
                    <a:pt x="482712" y="1260629"/>
                    <a:pt x="492666" y="1260629"/>
                  </a:cubicBezTo>
                  <a:close/>
                  <a:moveTo>
                    <a:pt x="4229726" y="1248613"/>
                  </a:moveTo>
                  <a:cubicBezTo>
                    <a:pt x="4239681" y="1248613"/>
                    <a:pt x="4247751" y="1256683"/>
                    <a:pt x="4247751" y="1266638"/>
                  </a:cubicBezTo>
                  <a:cubicBezTo>
                    <a:pt x="4247751" y="1276592"/>
                    <a:pt x="4239681" y="1284662"/>
                    <a:pt x="4229726" y="1284662"/>
                  </a:cubicBezTo>
                  <a:cubicBezTo>
                    <a:pt x="4219772" y="1284662"/>
                    <a:pt x="4211702" y="1276592"/>
                    <a:pt x="4211702" y="1266638"/>
                  </a:cubicBezTo>
                  <a:cubicBezTo>
                    <a:pt x="4211702" y="1256683"/>
                    <a:pt x="4219772" y="1248613"/>
                    <a:pt x="4229726" y="1248613"/>
                  </a:cubicBezTo>
                  <a:close/>
                  <a:moveTo>
                    <a:pt x="2439302" y="1248613"/>
                  </a:moveTo>
                  <a:cubicBezTo>
                    <a:pt x="2449257" y="1248613"/>
                    <a:pt x="2457327" y="1256683"/>
                    <a:pt x="2457327" y="1266638"/>
                  </a:cubicBezTo>
                  <a:cubicBezTo>
                    <a:pt x="2457327" y="1276592"/>
                    <a:pt x="2449257" y="1284662"/>
                    <a:pt x="2439302" y="1284662"/>
                  </a:cubicBezTo>
                  <a:cubicBezTo>
                    <a:pt x="2429347" y="1284662"/>
                    <a:pt x="2421278" y="1276592"/>
                    <a:pt x="2421278" y="1266638"/>
                  </a:cubicBezTo>
                  <a:cubicBezTo>
                    <a:pt x="2421278" y="1256683"/>
                    <a:pt x="2429347" y="1248613"/>
                    <a:pt x="2439302" y="1248613"/>
                  </a:cubicBezTo>
                  <a:close/>
                  <a:moveTo>
                    <a:pt x="2337165" y="1248613"/>
                  </a:moveTo>
                  <a:cubicBezTo>
                    <a:pt x="2347119" y="1248613"/>
                    <a:pt x="2355189" y="1256683"/>
                    <a:pt x="2355189" y="1266638"/>
                  </a:cubicBezTo>
                  <a:cubicBezTo>
                    <a:pt x="2355189" y="1276592"/>
                    <a:pt x="2347119" y="1284662"/>
                    <a:pt x="2337165" y="1284662"/>
                  </a:cubicBezTo>
                  <a:cubicBezTo>
                    <a:pt x="2327210" y="1284662"/>
                    <a:pt x="2319140" y="1276592"/>
                    <a:pt x="2319140" y="1266638"/>
                  </a:cubicBezTo>
                  <a:cubicBezTo>
                    <a:pt x="2319140" y="1256683"/>
                    <a:pt x="2327210" y="1248613"/>
                    <a:pt x="2337165" y="1248613"/>
                  </a:cubicBezTo>
                  <a:close/>
                  <a:moveTo>
                    <a:pt x="2012725" y="1248613"/>
                  </a:moveTo>
                  <a:cubicBezTo>
                    <a:pt x="2022680" y="1248613"/>
                    <a:pt x="2030750" y="1256683"/>
                    <a:pt x="2030750" y="1266638"/>
                  </a:cubicBezTo>
                  <a:cubicBezTo>
                    <a:pt x="2030750" y="1276592"/>
                    <a:pt x="2022680" y="1284662"/>
                    <a:pt x="2012725" y="1284662"/>
                  </a:cubicBezTo>
                  <a:cubicBezTo>
                    <a:pt x="2002771" y="1284662"/>
                    <a:pt x="1994701" y="1276592"/>
                    <a:pt x="1994701" y="1266638"/>
                  </a:cubicBezTo>
                  <a:cubicBezTo>
                    <a:pt x="1994701" y="1256683"/>
                    <a:pt x="2002771" y="1248613"/>
                    <a:pt x="2012725" y="1248613"/>
                  </a:cubicBezTo>
                  <a:close/>
                  <a:moveTo>
                    <a:pt x="1165578" y="1248613"/>
                  </a:moveTo>
                  <a:cubicBezTo>
                    <a:pt x="1175532" y="1248613"/>
                    <a:pt x="1183602" y="1256683"/>
                    <a:pt x="1183602" y="1266638"/>
                  </a:cubicBezTo>
                  <a:cubicBezTo>
                    <a:pt x="1183602" y="1276592"/>
                    <a:pt x="1175532" y="1284662"/>
                    <a:pt x="1165578" y="1284662"/>
                  </a:cubicBezTo>
                  <a:cubicBezTo>
                    <a:pt x="1155623" y="1284662"/>
                    <a:pt x="1147553" y="1276592"/>
                    <a:pt x="1147553" y="1266638"/>
                  </a:cubicBezTo>
                  <a:cubicBezTo>
                    <a:pt x="1147553" y="1256683"/>
                    <a:pt x="1155623" y="1248613"/>
                    <a:pt x="1165578" y="1248613"/>
                  </a:cubicBezTo>
                  <a:close/>
                  <a:moveTo>
                    <a:pt x="3989401" y="1242605"/>
                  </a:moveTo>
                  <a:cubicBezTo>
                    <a:pt x="3999356" y="1242605"/>
                    <a:pt x="4007426" y="1250674"/>
                    <a:pt x="4007426" y="1260629"/>
                  </a:cubicBezTo>
                  <a:cubicBezTo>
                    <a:pt x="4007426" y="1270584"/>
                    <a:pt x="3999356" y="1278654"/>
                    <a:pt x="3989401" y="1278654"/>
                  </a:cubicBezTo>
                  <a:cubicBezTo>
                    <a:pt x="3979447" y="1278654"/>
                    <a:pt x="3971377" y="1270584"/>
                    <a:pt x="3971377" y="1260629"/>
                  </a:cubicBezTo>
                  <a:cubicBezTo>
                    <a:pt x="3971377" y="1250674"/>
                    <a:pt x="3979447" y="1242605"/>
                    <a:pt x="3989401" y="1242605"/>
                  </a:cubicBezTo>
                  <a:close/>
                  <a:moveTo>
                    <a:pt x="1514049" y="1242605"/>
                  </a:moveTo>
                  <a:cubicBezTo>
                    <a:pt x="1524004" y="1242605"/>
                    <a:pt x="1532074" y="1250674"/>
                    <a:pt x="1532074" y="1260629"/>
                  </a:cubicBezTo>
                  <a:cubicBezTo>
                    <a:pt x="1532074" y="1270584"/>
                    <a:pt x="1524004" y="1278654"/>
                    <a:pt x="1514049" y="1278654"/>
                  </a:cubicBezTo>
                  <a:cubicBezTo>
                    <a:pt x="1504095" y="1278654"/>
                    <a:pt x="1496025" y="1270584"/>
                    <a:pt x="1496025" y="1260629"/>
                  </a:cubicBezTo>
                  <a:cubicBezTo>
                    <a:pt x="1496025" y="1250674"/>
                    <a:pt x="1504095" y="1242605"/>
                    <a:pt x="1514049" y="1242605"/>
                  </a:cubicBezTo>
                  <a:close/>
                  <a:moveTo>
                    <a:pt x="3088181" y="1230588"/>
                  </a:moveTo>
                  <a:cubicBezTo>
                    <a:pt x="3098136" y="1230588"/>
                    <a:pt x="3106206" y="1238658"/>
                    <a:pt x="3106206" y="1248612"/>
                  </a:cubicBezTo>
                  <a:cubicBezTo>
                    <a:pt x="3106206" y="1258567"/>
                    <a:pt x="3098136" y="1266637"/>
                    <a:pt x="3088181" y="1266637"/>
                  </a:cubicBezTo>
                  <a:cubicBezTo>
                    <a:pt x="3078227" y="1266637"/>
                    <a:pt x="3070157" y="1258567"/>
                    <a:pt x="3070157" y="1248612"/>
                  </a:cubicBezTo>
                  <a:cubicBezTo>
                    <a:pt x="3070157" y="1238658"/>
                    <a:pt x="3078227" y="1230588"/>
                    <a:pt x="3088181" y="1230588"/>
                  </a:cubicBezTo>
                  <a:close/>
                  <a:moveTo>
                    <a:pt x="895212" y="1230588"/>
                  </a:moveTo>
                  <a:cubicBezTo>
                    <a:pt x="905166" y="1230588"/>
                    <a:pt x="913236" y="1238658"/>
                    <a:pt x="913236" y="1248612"/>
                  </a:cubicBezTo>
                  <a:cubicBezTo>
                    <a:pt x="913236" y="1258567"/>
                    <a:pt x="905166" y="1266637"/>
                    <a:pt x="895212" y="1266637"/>
                  </a:cubicBezTo>
                  <a:cubicBezTo>
                    <a:pt x="885257" y="1266637"/>
                    <a:pt x="877187" y="1258567"/>
                    <a:pt x="877187" y="1248612"/>
                  </a:cubicBezTo>
                  <a:cubicBezTo>
                    <a:pt x="877187" y="1238658"/>
                    <a:pt x="885257" y="1230588"/>
                    <a:pt x="895212" y="1230588"/>
                  </a:cubicBezTo>
                  <a:close/>
                  <a:moveTo>
                    <a:pt x="4626263" y="1224580"/>
                  </a:moveTo>
                  <a:cubicBezTo>
                    <a:pt x="4636218" y="1224580"/>
                    <a:pt x="4644288" y="1232650"/>
                    <a:pt x="4644288" y="1242604"/>
                  </a:cubicBezTo>
                  <a:cubicBezTo>
                    <a:pt x="4644288" y="1252559"/>
                    <a:pt x="4636218" y="1260629"/>
                    <a:pt x="4626263" y="1260629"/>
                  </a:cubicBezTo>
                  <a:cubicBezTo>
                    <a:pt x="4616308" y="1260629"/>
                    <a:pt x="4608239" y="1252559"/>
                    <a:pt x="4608239" y="1242604"/>
                  </a:cubicBezTo>
                  <a:cubicBezTo>
                    <a:pt x="4608239" y="1232650"/>
                    <a:pt x="4616308" y="1224580"/>
                    <a:pt x="4626263" y="1224580"/>
                  </a:cubicBezTo>
                  <a:close/>
                  <a:moveTo>
                    <a:pt x="2547449" y="1224580"/>
                  </a:moveTo>
                  <a:cubicBezTo>
                    <a:pt x="2557404" y="1224580"/>
                    <a:pt x="2565474" y="1232650"/>
                    <a:pt x="2565474" y="1242604"/>
                  </a:cubicBezTo>
                  <a:cubicBezTo>
                    <a:pt x="2565474" y="1252559"/>
                    <a:pt x="2557404" y="1260629"/>
                    <a:pt x="2547449" y="1260629"/>
                  </a:cubicBezTo>
                  <a:cubicBezTo>
                    <a:pt x="2537495" y="1260629"/>
                    <a:pt x="2529425" y="1252559"/>
                    <a:pt x="2529425" y="1242604"/>
                  </a:cubicBezTo>
                  <a:cubicBezTo>
                    <a:pt x="2529425" y="1232650"/>
                    <a:pt x="2537495" y="1224580"/>
                    <a:pt x="2547449" y="1224580"/>
                  </a:cubicBezTo>
                  <a:close/>
                  <a:moveTo>
                    <a:pt x="1628204" y="1224580"/>
                  </a:moveTo>
                  <a:cubicBezTo>
                    <a:pt x="1638159" y="1224580"/>
                    <a:pt x="1646229" y="1232650"/>
                    <a:pt x="1646229" y="1242604"/>
                  </a:cubicBezTo>
                  <a:cubicBezTo>
                    <a:pt x="1646229" y="1252559"/>
                    <a:pt x="1638159" y="1260629"/>
                    <a:pt x="1628204" y="1260629"/>
                  </a:cubicBezTo>
                  <a:cubicBezTo>
                    <a:pt x="1618250" y="1260629"/>
                    <a:pt x="1610180" y="1252559"/>
                    <a:pt x="1610180" y="1242604"/>
                  </a:cubicBezTo>
                  <a:cubicBezTo>
                    <a:pt x="1610180" y="1232650"/>
                    <a:pt x="1618250" y="1224580"/>
                    <a:pt x="1628204" y="1224580"/>
                  </a:cubicBezTo>
                  <a:close/>
                  <a:moveTo>
                    <a:pt x="5052841" y="1212564"/>
                  </a:moveTo>
                  <a:cubicBezTo>
                    <a:pt x="5062796" y="1212564"/>
                    <a:pt x="5070866" y="1220633"/>
                    <a:pt x="5070866" y="1230588"/>
                  </a:cubicBezTo>
                  <a:cubicBezTo>
                    <a:pt x="5070866" y="1240543"/>
                    <a:pt x="5062796" y="1248613"/>
                    <a:pt x="5052841" y="1248613"/>
                  </a:cubicBezTo>
                  <a:cubicBezTo>
                    <a:pt x="5042886" y="1248613"/>
                    <a:pt x="5034817" y="1240543"/>
                    <a:pt x="5034817" y="1230588"/>
                  </a:cubicBezTo>
                  <a:cubicBezTo>
                    <a:pt x="5034817" y="1220633"/>
                    <a:pt x="5042886" y="1212564"/>
                    <a:pt x="5052841" y="1212564"/>
                  </a:cubicBezTo>
                  <a:close/>
                  <a:moveTo>
                    <a:pt x="3845206" y="1206556"/>
                  </a:moveTo>
                  <a:cubicBezTo>
                    <a:pt x="3855161" y="1206556"/>
                    <a:pt x="3863231" y="1214626"/>
                    <a:pt x="3863231" y="1224580"/>
                  </a:cubicBezTo>
                  <a:cubicBezTo>
                    <a:pt x="3863231" y="1234535"/>
                    <a:pt x="3855161" y="1242605"/>
                    <a:pt x="3845206" y="1242605"/>
                  </a:cubicBezTo>
                  <a:cubicBezTo>
                    <a:pt x="3835251" y="1242605"/>
                    <a:pt x="3827182" y="1234535"/>
                    <a:pt x="3827182" y="1224580"/>
                  </a:cubicBezTo>
                  <a:cubicBezTo>
                    <a:pt x="3827182" y="1214626"/>
                    <a:pt x="3835251" y="1206556"/>
                    <a:pt x="3845206" y="1206556"/>
                  </a:cubicBezTo>
                  <a:close/>
                  <a:moveTo>
                    <a:pt x="3604880" y="1206556"/>
                  </a:moveTo>
                  <a:cubicBezTo>
                    <a:pt x="3614835" y="1206556"/>
                    <a:pt x="3622905" y="1214626"/>
                    <a:pt x="3622905" y="1224580"/>
                  </a:cubicBezTo>
                  <a:cubicBezTo>
                    <a:pt x="3622905" y="1234535"/>
                    <a:pt x="3614835" y="1242605"/>
                    <a:pt x="3604880" y="1242605"/>
                  </a:cubicBezTo>
                  <a:cubicBezTo>
                    <a:pt x="3594925" y="1242605"/>
                    <a:pt x="3586856" y="1234535"/>
                    <a:pt x="3586856" y="1224580"/>
                  </a:cubicBezTo>
                  <a:cubicBezTo>
                    <a:pt x="3586856" y="1214626"/>
                    <a:pt x="3594925" y="1206556"/>
                    <a:pt x="3604880" y="1206556"/>
                  </a:cubicBezTo>
                  <a:close/>
                  <a:moveTo>
                    <a:pt x="600813" y="1200548"/>
                  </a:moveTo>
                  <a:cubicBezTo>
                    <a:pt x="610768" y="1200548"/>
                    <a:pt x="618838" y="1208618"/>
                    <a:pt x="618838" y="1218572"/>
                  </a:cubicBezTo>
                  <a:cubicBezTo>
                    <a:pt x="618838" y="1228527"/>
                    <a:pt x="610768" y="1236597"/>
                    <a:pt x="600813" y="1236597"/>
                  </a:cubicBezTo>
                  <a:cubicBezTo>
                    <a:pt x="590859" y="1236597"/>
                    <a:pt x="582789" y="1228527"/>
                    <a:pt x="582789" y="1218572"/>
                  </a:cubicBezTo>
                  <a:cubicBezTo>
                    <a:pt x="582789" y="1208618"/>
                    <a:pt x="590859" y="1200548"/>
                    <a:pt x="600813" y="1200548"/>
                  </a:cubicBezTo>
                  <a:close/>
                  <a:moveTo>
                    <a:pt x="2949994" y="1194539"/>
                  </a:moveTo>
                  <a:cubicBezTo>
                    <a:pt x="2959949" y="1194539"/>
                    <a:pt x="2968019" y="1202609"/>
                    <a:pt x="2968019" y="1212563"/>
                  </a:cubicBezTo>
                  <a:cubicBezTo>
                    <a:pt x="2968019" y="1222518"/>
                    <a:pt x="2959949" y="1230588"/>
                    <a:pt x="2949994" y="1230588"/>
                  </a:cubicBezTo>
                  <a:cubicBezTo>
                    <a:pt x="2940039" y="1230588"/>
                    <a:pt x="2931970" y="1222518"/>
                    <a:pt x="2931970" y="1212563"/>
                  </a:cubicBezTo>
                  <a:cubicBezTo>
                    <a:pt x="2931970" y="1202609"/>
                    <a:pt x="2940039" y="1194539"/>
                    <a:pt x="2949994" y="1194539"/>
                  </a:cubicBezTo>
                  <a:close/>
                  <a:moveTo>
                    <a:pt x="1009366" y="1194539"/>
                  </a:moveTo>
                  <a:cubicBezTo>
                    <a:pt x="1019321" y="1194539"/>
                    <a:pt x="1027391" y="1202609"/>
                    <a:pt x="1027391" y="1212563"/>
                  </a:cubicBezTo>
                  <a:cubicBezTo>
                    <a:pt x="1027391" y="1222518"/>
                    <a:pt x="1019321" y="1230588"/>
                    <a:pt x="1009366" y="1230588"/>
                  </a:cubicBezTo>
                  <a:cubicBezTo>
                    <a:pt x="999412" y="1230588"/>
                    <a:pt x="991342" y="1222518"/>
                    <a:pt x="991342" y="1212563"/>
                  </a:cubicBezTo>
                  <a:cubicBezTo>
                    <a:pt x="991342" y="1202609"/>
                    <a:pt x="999412" y="1194539"/>
                    <a:pt x="1009366" y="1194539"/>
                  </a:cubicBezTo>
                  <a:close/>
                  <a:moveTo>
                    <a:pt x="4932678" y="1188531"/>
                  </a:moveTo>
                  <a:cubicBezTo>
                    <a:pt x="4942633" y="1188531"/>
                    <a:pt x="4950703" y="1196601"/>
                    <a:pt x="4950703" y="1206556"/>
                  </a:cubicBezTo>
                  <a:cubicBezTo>
                    <a:pt x="4950703" y="1216510"/>
                    <a:pt x="4942633" y="1224580"/>
                    <a:pt x="4932678" y="1224580"/>
                  </a:cubicBezTo>
                  <a:cubicBezTo>
                    <a:pt x="4922723" y="1224580"/>
                    <a:pt x="4914654" y="1216510"/>
                    <a:pt x="4914654" y="1206556"/>
                  </a:cubicBezTo>
                  <a:cubicBezTo>
                    <a:pt x="4914654" y="1196601"/>
                    <a:pt x="4922723" y="1188531"/>
                    <a:pt x="4932678" y="1188531"/>
                  </a:cubicBezTo>
                  <a:close/>
                  <a:moveTo>
                    <a:pt x="4361905" y="1188531"/>
                  </a:moveTo>
                  <a:cubicBezTo>
                    <a:pt x="4371860" y="1188531"/>
                    <a:pt x="4379930" y="1196601"/>
                    <a:pt x="4379930" y="1206556"/>
                  </a:cubicBezTo>
                  <a:cubicBezTo>
                    <a:pt x="4379930" y="1216510"/>
                    <a:pt x="4371860" y="1224580"/>
                    <a:pt x="4361905" y="1224580"/>
                  </a:cubicBezTo>
                  <a:cubicBezTo>
                    <a:pt x="4351950" y="1224580"/>
                    <a:pt x="4343881" y="1216510"/>
                    <a:pt x="4343881" y="1206556"/>
                  </a:cubicBezTo>
                  <a:cubicBezTo>
                    <a:pt x="4343881" y="1196601"/>
                    <a:pt x="4351950" y="1188531"/>
                    <a:pt x="4361905" y="1188531"/>
                  </a:cubicBezTo>
                  <a:close/>
                  <a:moveTo>
                    <a:pt x="3220360" y="1188531"/>
                  </a:moveTo>
                  <a:cubicBezTo>
                    <a:pt x="3230315" y="1188531"/>
                    <a:pt x="3238385" y="1196601"/>
                    <a:pt x="3238385" y="1206556"/>
                  </a:cubicBezTo>
                  <a:cubicBezTo>
                    <a:pt x="3238385" y="1216510"/>
                    <a:pt x="3230315" y="1224580"/>
                    <a:pt x="3220360" y="1224580"/>
                  </a:cubicBezTo>
                  <a:cubicBezTo>
                    <a:pt x="3210405" y="1224580"/>
                    <a:pt x="3202336" y="1216510"/>
                    <a:pt x="3202336" y="1206556"/>
                  </a:cubicBezTo>
                  <a:cubicBezTo>
                    <a:pt x="3202336" y="1196601"/>
                    <a:pt x="3210405" y="1188531"/>
                    <a:pt x="3220360" y="1188531"/>
                  </a:cubicBezTo>
                  <a:close/>
                  <a:moveTo>
                    <a:pt x="708959" y="1188531"/>
                  </a:moveTo>
                  <a:cubicBezTo>
                    <a:pt x="718914" y="1188531"/>
                    <a:pt x="726984" y="1196601"/>
                    <a:pt x="726984" y="1206556"/>
                  </a:cubicBezTo>
                  <a:cubicBezTo>
                    <a:pt x="726984" y="1216510"/>
                    <a:pt x="718914" y="1224580"/>
                    <a:pt x="708959" y="1224580"/>
                  </a:cubicBezTo>
                  <a:cubicBezTo>
                    <a:pt x="699005" y="1224580"/>
                    <a:pt x="690935" y="1216510"/>
                    <a:pt x="690935" y="1206556"/>
                  </a:cubicBezTo>
                  <a:cubicBezTo>
                    <a:pt x="690935" y="1196601"/>
                    <a:pt x="699005" y="1188531"/>
                    <a:pt x="708959" y="1188531"/>
                  </a:cubicBezTo>
                  <a:close/>
                  <a:moveTo>
                    <a:pt x="4824532" y="1182523"/>
                  </a:moveTo>
                  <a:cubicBezTo>
                    <a:pt x="4834487" y="1182523"/>
                    <a:pt x="4842557" y="1190592"/>
                    <a:pt x="4842557" y="1200547"/>
                  </a:cubicBezTo>
                  <a:cubicBezTo>
                    <a:pt x="4842557" y="1210502"/>
                    <a:pt x="4834487" y="1218572"/>
                    <a:pt x="4824532" y="1218572"/>
                  </a:cubicBezTo>
                  <a:cubicBezTo>
                    <a:pt x="4814578" y="1218572"/>
                    <a:pt x="4806508" y="1210502"/>
                    <a:pt x="4806508" y="1200547"/>
                  </a:cubicBezTo>
                  <a:cubicBezTo>
                    <a:pt x="4806508" y="1190592"/>
                    <a:pt x="4814578" y="1182523"/>
                    <a:pt x="4824532" y="1182523"/>
                  </a:cubicBezTo>
                  <a:close/>
                  <a:moveTo>
                    <a:pt x="1279732" y="1170507"/>
                  </a:moveTo>
                  <a:cubicBezTo>
                    <a:pt x="1289687" y="1170507"/>
                    <a:pt x="1297757" y="1178577"/>
                    <a:pt x="1297757" y="1188531"/>
                  </a:cubicBezTo>
                  <a:cubicBezTo>
                    <a:pt x="1297757" y="1198486"/>
                    <a:pt x="1289687" y="1206556"/>
                    <a:pt x="1279732" y="1206556"/>
                  </a:cubicBezTo>
                  <a:cubicBezTo>
                    <a:pt x="1269778" y="1206556"/>
                    <a:pt x="1261708" y="1198486"/>
                    <a:pt x="1261708" y="1188531"/>
                  </a:cubicBezTo>
                  <a:cubicBezTo>
                    <a:pt x="1261708" y="1178577"/>
                    <a:pt x="1269778" y="1170507"/>
                    <a:pt x="1279732" y="1170507"/>
                  </a:cubicBezTo>
                  <a:close/>
                  <a:moveTo>
                    <a:pt x="3478710" y="1164499"/>
                  </a:moveTo>
                  <a:cubicBezTo>
                    <a:pt x="3488665" y="1164499"/>
                    <a:pt x="3496735" y="1172569"/>
                    <a:pt x="3496735" y="1182523"/>
                  </a:cubicBezTo>
                  <a:cubicBezTo>
                    <a:pt x="3496735" y="1192478"/>
                    <a:pt x="3488665" y="1200548"/>
                    <a:pt x="3478710" y="1200548"/>
                  </a:cubicBezTo>
                  <a:cubicBezTo>
                    <a:pt x="3468756" y="1200548"/>
                    <a:pt x="3460686" y="1192478"/>
                    <a:pt x="3460686" y="1182523"/>
                  </a:cubicBezTo>
                  <a:cubicBezTo>
                    <a:pt x="3460686" y="1172569"/>
                    <a:pt x="3468756" y="1164499"/>
                    <a:pt x="3478710" y="1164499"/>
                  </a:cubicBezTo>
                  <a:close/>
                  <a:moveTo>
                    <a:pt x="2703660" y="1164499"/>
                  </a:moveTo>
                  <a:cubicBezTo>
                    <a:pt x="2713615" y="1164499"/>
                    <a:pt x="2721685" y="1172569"/>
                    <a:pt x="2721685" y="1182523"/>
                  </a:cubicBezTo>
                  <a:cubicBezTo>
                    <a:pt x="2721685" y="1192478"/>
                    <a:pt x="2713615" y="1200548"/>
                    <a:pt x="2703660" y="1200548"/>
                  </a:cubicBezTo>
                  <a:cubicBezTo>
                    <a:pt x="2693705" y="1200548"/>
                    <a:pt x="2685636" y="1192478"/>
                    <a:pt x="2685636" y="1182523"/>
                  </a:cubicBezTo>
                  <a:cubicBezTo>
                    <a:pt x="2685636" y="1172569"/>
                    <a:pt x="2693705" y="1164499"/>
                    <a:pt x="2703660" y="1164499"/>
                  </a:cubicBezTo>
                  <a:close/>
                  <a:moveTo>
                    <a:pt x="4500093" y="1158491"/>
                  </a:moveTo>
                  <a:cubicBezTo>
                    <a:pt x="4510048" y="1158491"/>
                    <a:pt x="4518118" y="1166561"/>
                    <a:pt x="4518118" y="1176516"/>
                  </a:cubicBezTo>
                  <a:cubicBezTo>
                    <a:pt x="4518118" y="1186470"/>
                    <a:pt x="4510048" y="1194540"/>
                    <a:pt x="4500093" y="1194540"/>
                  </a:cubicBezTo>
                  <a:cubicBezTo>
                    <a:pt x="4490139" y="1194540"/>
                    <a:pt x="4482069" y="1186470"/>
                    <a:pt x="4482069" y="1176516"/>
                  </a:cubicBezTo>
                  <a:cubicBezTo>
                    <a:pt x="4482069" y="1166561"/>
                    <a:pt x="4490139" y="1158491"/>
                    <a:pt x="4500093" y="1158491"/>
                  </a:cubicBezTo>
                  <a:close/>
                  <a:moveTo>
                    <a:pt x="4199686" y="1158491"/>
                  </a:moveTo>
                  <a:cubicBezTo>
                    <a:pt x="4209641" y="1158491"/>
                    <a:pt x="4217711" y="1166561"/>
                    <a:pt x="4217711" y="1176516"/>
                  </a:cubicBezTo>
                  <a:cubicBezTo>
                    <a:pt x="4217711" y="1186470"/>
                    <a:pt x="4209641" y="1194540"/>
                    <a:pt x="4199686" y="1194540"/>
                  </a:cubicBezTo>
                  <a:cubicBezTo>
                    <a:pt x="4189732" y="1194540"/>
                    <a:pt x="4181662" y="1186470"/>
                    <a:pt x="4181662" y="1176516"/>
                  </a:cubicBezTo>
                  <a:cubicBezTo>
                    <a:pt x="4181662" y="1166561"/>
                    <a:pt x="4189732" y="1158491"/>
                    <a:pt x="4199686" y="1158491"/>
                  </a:cubicBezTo>
                  <a:close/>
                  <a:moveTo>
                    <a:pt x="2132887" y="1158491"/>
                  </a:moveTo>
                  <a:cubicBezTo>
                    <a:pt x="2142842" y="1158491"/>
                    <a:pt x="2150912" y="1166561"/>
                    <a:pt x="2150912" y="1176516"/>
                  </a:cubicBezTo>
                  <a:cubicBezTo>
                    <a:pt x="2150912" y="1186470"/>
                    <a:pt x="2142842" y="1194540"/>
                    <a:pt x="2132887" y="1194540"/>
                  </a:cubicBezTo>
                  <a:cubicBezTo>
                    <a:pt x="2122933" y="1194540"/>
                    <a:pt x="2114863" y="1186470"/>
                    <a:pt x="2114863" y="1176516"/>
                  </a:cubicBezTo>
                  <a:cubicBezTo>
                    <a:pt x="2114863" y="1166561"/>
                    <a:pt x="2122933" y="1158491"/>
                    <a:pt x="2132887" y="1158491"/>
                  </a:cubicBezTo>
                  <a:close/>
                  <a:moveTo>
                    <a:pt x="1850505" y="1158491"/>
                  </a:moveTo>
                  <a:cubicBezTo>
                    <a:pt x="1860460" y="1158491"/>
                    <a:pt x="1868530" y="1166561"/>
                    <a:pt x="1868530" y="1176516"/>
                  </a:cubicBezTo>
                  <a:cubicBezTo>
                    <a:pt x="1868530" y="1186470"/>
                    <a:pt x="1860460" y="1194540"/>
                    <a:pt x="1850505" y="1194540"/>
                  </a:cubicBezTo>
                  <a:cubicBezTo>
                    <a:pt x="1840551" y="1194540"/>
                    <a:pt x="1832481" y="1186470"/>
                    <a:pt x="1832481" y="1176516"/>
                  </a:cubicBezTo>
                  <a:cubicBezTo>
                    <a:pt x="1832481" y="1166561"/>
                    <a:pt x="1840551" y="1158491"/>
                    <a:pt x="1850505" y="1158491"/>
                  </a:cubicBezTo>
                  <a:close/>
                  <a:moveTo>
                    <a:pt x="3340522" y="1152483"/>
                  </a:moveTo>
                  <a:cubicBezTo>
                    <a:pt x="3350477" y="1152483"/>
                    <a:pt x="3358547" y="1160552"/>
                    <a:pt x="3358547" y="1170507"/>
                  </a:cubicBezTo>
                  <a:cubicBezTo>
                    <a:pt x="3358547" y="1180462"/>
                    <a:pt x="3350477" y="1188532"/>
                    <a:pt x="3340522" y="1188532"/>
                  </a:cubicBezTo>
                  <a:cubicBezTo>
                    <a:pt x="3330567" y="1188532"/>
                    <a:pt x="3322498" y="1180462"/>
                    <a:pt x="3322498" y="1170507"/>
                  </a:cubicBezTo>
                  <a:cubicBezTo>
                    <a:pt x="3322498" y="1160552"/>
                    <a:pt x="3330567" y="1152483"/>
                    <a:pt x="3340522" y="1152483"/>
                  </a:cubicBezTo>
                  <a:close/>
                  <a:moveTo>
                    <a:pt x="2829831" y="1152483"/>
                  </a:moveTo>
                  <a:cubicBezTo>
                    <a:pt x="2839786" y="1152483"/>
                    <a:pt x="2847856" y="1160552"/>
                    <a:pt x="2847856" y="1170507"/>
                  </a:cubicBezTo>
                  <a:cubicBezTo>
                    <a:pt x="2847856" y="1180462"/>
                    <a:pt x="2839786" y="1188532"/>
                    <a:pt x="2829831" y="1188532"/>
                  </a:cubicBezTo>
                  <a:cubicBezTo>
                    <a:pt x="2819876" y="1188532"/>
                    <a:pt x="2811807" y="1180462"/>
                    <a:pt x="2811807" y="1170507"/>
                  </a:cubicBezTo>
                  <a:cubicBezTo>
                    <a:pt x="2811807" y="1160552"/>
                    <a:pt x="2819876" y="1152483"/>
                    <a:pt x="2829831" y="1152483"/>
                  </a:cubicBezTo>
                  <a:close/>
                  <a:moveTo>
                    <a:pt x="2253050" y="1152483"/>
                  </a:moveTo>
                  <a:cubicBezTo>
                    <a:pt x="2263005" y="1152483"/>
                    <a:pt x="2271075" y="1160552"/>
                    <a:pt x="2271075" y="1170507"/>
                  </a:cubicBezTo>
                  <a:cubicBezTo>
                    <a:pt x="2271075" y="1180462"/>
                    <a:pt x="2263005" y="1188532"/>
                    <a:pt x="2253050" y="1188532"/>
                  </a:cubicBezTo>
                  <a:cubicBezTo>
                    <a:pt x="2243096" y="1188532"/>
                    <a:pt x="2235026" y="1180462"/>
                    <a:pt x="2235026" y="1170507"/>
                  </a:cubicBezTo>
                  <a:cubicBezTo>
                    <a:pt x="2235026" y="1160552"/>
                    <a:pt x="2243096" y="1152483"/>
                    <a:pt x="2253050" y="1152483"/>
                  </a:cubicBezTo>
                  <a:close/>
                  <a:moveTo>
                    <a:pt x="1994700" y="1146474"/>
                  </a:moveTo>
                  <a:cubicBezTo>
                    <a:pt x="2004655" y="1146474"/>
                    <a:pt x="2012725" y="1154544"/>
                    <a:pt x="2012725" y="1164498"/>
                  </a:cubicBezTo>
                  <a:cubicBezTo>
                    <a:pt x="2012725" y="1174453"/>
                    <a:pt x="2004655" y="1182523"/>
                    <a:pt x="1994700" y="1182523"/>
                  </a:cubicBezTo>
                  <a:cubicBezTo>
                    <a:pt x="1984746" y="1182523"/>
                    <a:pt x="1976676" y="1174453"/>
                    <a:pt x="1976676" y="1164498"/>
                  </a:cubicBezTo>
                  <a:cubicBezTo>
                    <a:pt x="1976676" y="1154544"/>
                    <a:pt x="1984746" y="1146474"/>
                    <a:pt x="1994700" y="1146474"/>
                  </a:cubicBezTo>
                  <a:close/>
                  <a:moveTo>
                    <a:pt x="1718326" y="1146474"/>
                  </a:moveTo>
                  <a:cubicBezTo>
                    <a:pt x="1728281" y="1146474"/>
                    <a:pt x="1736351" y="1154544"/>
                    <a:pt x="1736351" y="1164498"/>
                  </a:cubicBezTo>
                  <a:cubicBezTo>
                    <a:pt x="1736351" y="1174453"/>
                    <a:pt x="1728281" y="1182523"/>
                    <a:pt x="1718326" y="1182523"/>
                  </a:cubicBezTo>
                  <a:cubicBezTo>
                    <a:pt x="1708372" y="1182523"/>
                    <a:pt x="1700302" y="1174453"/>
                    <a:pt x="1700302" y="1164498"/>
                  </a:cubicBezTo>
                  <a:cubicBezTo>
                    <a:pt x="1700302" y="1154544"/>
                    <a:pt x="1708372" y="1146474"/>
                    <a:pt x="1718326" y="1146474"/>
                  </a:cubicBezTo>
                  <a:close/>
                  <a:moveTo>
                    <a:pt x="1129529" y="1146474"/>
                  </a:moveTo>
                  <a:cubicBezTo>
                    <a:pt x="1139484" y="1146474"/>
                    <a:pt x="1147554" y="1154544"/>
                    <a:pt x="1147554" y="1164498"/>
                  </a:cubicBezTo>
                  <a:cubicBezTo>
                    <a:pt x="1147554" y="1174453"/>
                    <a:pt x="1139484" y="1182523"/>
                    <a:pt x="1129529" y="1182523"/>
                  </a:cubicBezTo>
                  <a:cubicBezTo>
                    <a:pt x="1119575" y="1182523"/>
                    <a:pt x="1111505" y="1174453"/>
                    <a:pt x="1111505" y="1164498"/>
                  </a:cubicBezTo>
                  <a:cubicBezTo>
                    <a:pt x="1111505" y="1154544"/>
                    <a:pt x="1119575" y="1146474"/>
                    <a:pt x="1129529" y="1146474"/>
                  </a:cubicBezTo>
                  <a:close/>
                  <a:moveTo>
                    <a:pt x="498674" y="1140466"/>
                  </a:moveTo>
                  <a:cubicBezTo>
                    <a:pt x="508629" y="1140466"/>
                    <a:pt x="516699" y="1148536"/>
                    <a:pt x="516699" y="1158490"/>
                  </a:cubicBezTo>
                  <a:cubicBezTo>
                    <a:pt x="516699" y="1168445"/>
                    <a:pt x="508629" y="1176515"/>
                    <a:pt x="498674" y="1176515"/>
                  </a:cubicBezTo>
                  <a:cubicBezTo>
                    <a:pt x="488720" y="1176515"/>
                    <a:pt x="480650" y="1168445"/>
                    <a:pt x="480650" y="1158490"/>
                  </a:cubicBezTo>
                  <a:cubicBezTo>
                    <a:pt x="480650" y="1148536"/>
                    <a:pt x="488720" y="1140466"/>
                    <a:pt x="498674" y="1140466"/>
                  </a:cubicBezTo>
                  <a:close/>
                  <a:moveTo>
                    <a:pt x="3707019" y="1134458"/>
                  </a:moveTo>
                  <a:cubicBezTo>
                    <a:pt x="3716974" y="1134458"/>
                    <a:pt x="3725044" y="1142528"/>
                    <a:pt x="3725044" y="1152482"/>
                  </a:cubicBezTo>
                  <a:cubicBezTo>
                    <a:pt x="3725044" y="1162437"/>
                    <a:pt x="3716974" y="1170507"/>
                    <a:pt x="3707019" y="1170507"/>
                  </a:cubicBezTo>
                  <a:cubicBezTo>
                    <a:pt x="3697064" y="1170507"/>
                    <a:pt x="3688994" y="1162437"/>
                    <a:pt x="3688994" y="1152482"/>
                  </a:cubicBezTo>
                  <a:cubicBezTo>
                    <a:pt x="3688994" y="1142528"/>
                    <a:pt x="3697064" y="1134458"/>
                    <a:pt x="3707019" y="1134458"/>
                  </a:cubicBezTo>
                  <a:close/>
                  <a:moveTo>
                    <a:pt x="799081" y="1134458"/>
                  </a:moveTo>
                  <a:cubicBezTo>
                    <a:pt x="809036" y="1134458"/>
                    <a:pt x="817106" y="1142528"/>
                    <a:pt x="817106" y="1152482"/>
                  </a:cubicBezTo>
                  <a:cubicBezTo>
                    <a:pt x="817106" y="1162437"/>
                    <a:pt x="809036" y="1170507"/>
                    <a:pt x="799081" y="1170507"/>
                  </a:cubicBezTo>
                  <a:cubicBezTo>
                    <a:pt x="789127" y="1170507"/>
                    <a:pt x="781057" y="1162437"/>
                    <a:pt x="781057" y="1152482"/>
                  </a:cubicBezTo>
                  <a:cubicBezTo>
                    <a:pt x="781057" y="1142528"/>
                    <a:pt x="789127" y="1134458"/>
                    <a:pt x="799081" y="1134458"/>
                  </a:cubicBezTo>
                  <a:close/>
                  <a:moveTo>
                    <a:pt x="384520" y="1134458"/>
                  </a:moveTo>
                  <a:cubicBezTo>
                    <a:pt x="394475" y="1134458"/>
                    <a:pt x="402545" y="1142528"/>
                    <a:pt x="402545" y="1152482"/>
                  </a:cubicBezTo>
                  <a:cubicBezTo>
                    <a:pt x="402545" y="1162437"/>
                    <a:pt x="394475" y="1170507"/>
                    <a:pt x="384520" y="1170507"/>
                  </a:cubicBezTo>
                  <a:cubicBezTo>
                    <a:pt x="374566" y="1170507"/>
                    <a:pt x="366496" y="1162437"/>
                    <a:pt x="366496" y="1152482"/>
                  </a:cubicBezTo>
                  <a:cubicBezTo>
                    <a:pt x="366496" y="1142528"/>
                    <a:pt x="374566" y="1134458"/>
                    <a:pt x="384520" y="1134458"/>
                  </a:cubicBezTo>
                  <a:close/>
                  <a:moveTo>
                    <a:pt x="3935328" y="1128450"/>
                  </a:moveTo>
                  <a:cubicBezTo>
                    <a:pt x="3945283" y="1128450"/>
                    <a:pt x="3953353" y="1136520"/>
                    <a:pt x="3953353" y="1146475"/>
                  </a:cubicBezTo>
                  <a:cubicBezTo>
                    <a:pt x="3953353" y="1156429"/>
                    <a:pt x="3945283" y="1164499"/>
                    <a:pt x="3935328" y="1164499"/>
                  </a:cubicBezTo>
                  <a:cubicBezTo>
                    <a:pt x="3925373" y="1164499"/>
                    <a:pt x="3917304" y="1156429"/>
                    <a:pt x="3917304" y="1146475"/>
                  </a:cubicBezTo>
                  <a:cubicBezTo>
                    <a:pt x="3917304" y="1136520"/>
                    <a:pt x="3925373" y="1128450"/>
                    <a:pt x="3935328" y="1128450"/>
                  </a:cubicBezTo>
                  <a:close/>
                  <a:moveTo>
                    <a:pt x="1514049" y="1128450"/>
                  </a:moveTo>
                  <a:cubicBezTo>
                    <a:pt x="1524004" y="1128450"/>
                    <a:pt x="1532074" y="1136520"/>
                    <a:pt x="1532074" y="1146475"/>
                  </a:cubicBezTo>
                  <a:cubicBezTo>
                    <a:pt x="1532074" y="1156429"/>
                    <a:pt x="1524004" y="1164499"/>
                    <a:pt x="1514049" y="1164499"/>
                  </a:cubicBezTo>
                  <a:cubicBezTo>
                    <a:pt x="1504095" y="1164499"/>
                    <a:pt x="1496025" y="1156429"/>
                    <a:pt x="1496025" y="1146475"/>
                  </a:cubicBezTo>
                  <a:cubicBezTo>
                    <a:pt x="1496025" y="1136520"/>
                    <a:pt x="1504095" y="1128450"/>
                    <a:pt x="1514049" y="1128450"/>
                  </a:cubicBezTo>
                  <a:close/>
                  <a:moveTo>
                    <a:pt x="4650296" y="1122442"/>
                  </a:moveTo>
                  <a:cubicBezTo>
                    <a:pt x="4660251" y="1122442"/>
                    <a:pt x="4668321" y="1130511"/>
                    <a:pt x="4668321" y="1140466"/>
                  </a:cubicBezTo>
                  <a:cubicBezTo>
                    <a:pt x="4668321" y="1150421"/>
                    <a:pt x="4660251" y="1158491"/>
                    <a:pt x="4650296" y="1158491"/>
                  </a:cubicBezTo>
                  <a:cubicBezTo>
                    <a:pt x="4640342" y="1158491"/>
                    <a:pt x="4632272" y="1150421"/>
                    <a:pt x="4632272" y="1140466"/>
                  </a:cubicBezTo>
                  <a:cubicBezTo>
                    <a:pt x="4632272" y="1130511"/>
                    <a:pt x="4640342" y="1122442"/>
                    <a:pt x="4650296" y="1122442"/>
                  </a:cubicBezTo>
                  <a:close/>
                  <a:moveTo>
                    <a:pt x="4073515" y="1122442"/>
                  </a:moveTo>
                  <a:cubicBezTo>
                    <a:pt x="4083470" y="1122442"/>
                    <a:pt x="4091540" y="1130511"/>
                    <a:pt x="4091540" y="1140466"/>
                  </a:cubicBezTo>
                  <a:cubicBezTo>
                    <a:pt x="4091540" y="1150421"/>
                    <a:pt x="4083470" y="1158491"/>
                    <a:pt x="4073515" y="1158491"/>
                  </a:cubicBezTo>
                  <a:cubicBezTo>
                    <a:pt x="4063561" y="1158491"/>
                    <a:pt x="4055491" y="1150421"/>
                    <a:pt x="4055491" y="1140466"/>
                  </a:cubicBezTo>
                  <a:cubicBezTo>
                    <a:pt x="4055491" y="1130511"/>
                    <a:pt x="4063561" y="1122442"/>
                    <a:pt x="4073515" y="1122442"/>
                  </a:cubicBezTo>
                  <a:close/>
                  <a:moveTo>
                    <a:pt x="2475351" y="1122442"/>
                  </a:moveTo>
                  <a:cubicBezTo>
                    <a:pt x="2485306" y="1122442"/>
                    <a:pt x="2493376" y="1130511"/>
                    <a:pt x="2493376" y="1140466"/>
                  </a:cubicBezTo>
                  <a:cubicBezTo>
                    <a:pt x="2493376" y="1150421"/>
                    <a:pt x="2485306" y="1158491"/>
                    <a:pt x="2475351" y="1158491"/>
                  </a:cubicBezTo>
                  <a:cubicBezTo>
                    <a:pt x="2465396" y="1158491"/>
                    <a:pt x="2457326" y="1150421"/>
                    <a:pt x="2457326" y="1140466"/>
                  </a:cubicBezTo>
                  <a:cubicBezTo>
                    <a:pt x="2457326" y="1130511"/>
                    <a:pt x="2465396" y="1122442"/>
                    <a:pt x="2475351" y="1122442"/>
                  </a:cubicBezTo>
                  <a:close/>
                  <a:moveTo>
                    <a:pt x="1393887" y="1122442"/>
                  </a:moveTo>
                  <a:cubicBezTo>
                    <a:pt x="1403842" y="1122442"/>
                    <a:pt x="1411912" y="1130511"/>
                    <a:pt x="1411912" y="1140466"/>
                  </a:cubicBezTo>
                  <a:cubicBezTo>
                    <a:pt x="1411912" y="1150421"/>
                    <a:pt x="1403842" y="1158491"/>
                    <a:pt x="1393887" y="1158491"/>
                  </a:cubicBezTo>
                  <a:cubicBezTo>
                    <a:pt x="1383933" y="1158491"/>
                    <a:pt x="1375863" y="1150421"/>
                    <a:pt x="1375863" y="1140466"/>
                  </a:cubicBezTo>
                  <a:cubicBezTo>
                    <a:pt x="1375863" y="1130511"/>
                    <a:pt x="1383933" y="1122442"/>
                    <a:pt x="1393887" y="1122442"/>
                  </a:cubicBezTo>
                  <a:close/>
                  <a:moveTo>
                    <a:pt x="3058140" y="1116434"/>
                  </a:moveTo>
                  <a:cubicBezTo>
                    <a:pt x="3068095" y="1116434"/>
                    <a:pt x="3076165" y="1124504"/>
                    <a:pt x="3076165" y="1134458"/>
                  </a:cubicBezTo>
                  <a:cubicBezTo>
                    <a:pt x="3076165" y="1144413"/>
                    <a:pt x="3068095" y="1152483"/>
                    <a:pt x="3058140" y="1152483"/>
                  </a:cubicBezTo>
                  <a:cubicBezTo>
                    <a:pt x="3048186" y="1152483"/>
                    <a:pt x="3040116" y="1144413"/>
                    <a:pt x="3040116" y="1134458"/>
                  </a:cubicBezTo>
                  <a:cubicBezTo>
                    <a:pt x="3040116" y="1124504"/>
                    <a:pt x="3048186" y="1116434"/>
                    <a:pt x="3058140" y="1116434"/>
                  </a:cubicBezTo>
                  <a:close/>
                  <a:moveTo>
                    <a:pt x="4800499" y="1092401"/>
                  </a:moveTo>
                  <a:cubicBezTo>
                    <a:pt x="4810454" y="1092401"/>
                    <a:pt x="4818524" y="1100470"/>
                    <a:pt x="4818524" y="1110425"/>
                  </a:cubicBezTo>
                  <a:cubicBezTo>
                    <a:pt x="4818524" y="1120380"/>
                    <a:pt x="4810454" y="1128450"/>
                    <a:pt x="4800499" y="1128450"/>
                  </a:cubicBezTo>
                  <a:cubicBezTo>
                    <a:pt x="4790545" y="1128450"/>
                    <a:pt x="4782475" y="1120380"/>
                    <a:pt x="4782475" y="1110425"/>
                  </a:cubicBezTo>
                  <a:cubicBezTo>
                    <a:pt x="4782475" y="1100470"/>
                    <a:pt x="4790545" y="1092401"/>
                    <a:pt x="4800499" y="1092401"/>
                  </a:cubicBezTo>
                  <a:close/>
                  <a:moveTo>
                    <a:pt x="2349180" y="1092401"/>
                  </a:moveTo>
                  <a:cubicBezTo>
                    <a:pt x="2359135" y="1092401"/>
                    <a:pt x="2367205" y="1100470"/>
                    <a:pt x="2367205" y="1110425"/>
                  </a:cubicBezTo>
                  <a:cubicBezTo>
                    <a:pt x="2367205" y="1120380"/>
                    <a:pt x="2359135" y="1128450"/>
                    <a:pt x="2349180" y="1128450"/>
                  </a:cubicBezTo>
                  <a:cubicBezTo>
                    <a:pt x="2339226" y="1128450"/>
                    <a:pt x="2331156" y="1120380"/>
                    <a:pt x="2331156" y="1110425"/>
                  </a:cubicBezTo>
                  <a:cubicBezTo>
                    <a:pt x="2331156" y="1100470"/>
                    <a:pt x="2339226" y="1092401"/>
                    <a:pt x="2349180" y="1092401"/>
                  </a:cubicBezTo>
                  <a:close/>
                  <a:moveTo>
                    <a:pt x="931260" y="1092401"/>
                  </a:moveTo>
                  <a:cubicBezTo>
                    <a:pt x="941215" y="1092401"/>
                    <a:pt x="949285" y="1100470"/>
                    <a:pt x="949285" y="1110425"/>
                  </a:cubicBezTo>
                  <a:cubicBezTo>
                    <a:pt x="949285" y="1120380"/>
                    <a:pt x="941215" y="1128450"/>
                    <a:pt x="931260" y="1128450"/>
                  </a:cubicBezTo>
                  <a:cubicBezTo>
                    <a:pt x="921306" y="1128450"/>
                    <a:pt x="913236" y="1120380"/>
                    <a:pt x="913236" y="1110425"/>
                  </a:cubicBezTo>
                  <a:cubicBezTo>
                    <a:pt x="913236" y="1100470"/>
                    <a:pt x="921306" y="1092401"/>
                    <a:pt x="931260" y="1092401"/>
                  </a:cubicBezTo>
                  <a:close/>
                  <a:moveTo>
                    <a:pt x="4986752" y="1086393"/>
                  </a:moveTo>
                  <a:cubicBezTo>
                    <a:pt x="4996707" y="1086393"/>
                    <a:pt x="5004777" y="1094463"/>
                    <a:pt x="5004777" y="1104417"/>
                  </a:cubicBezTo>
                  <a:cubicBezTo>
                    <a:pt x="5004777" y="1114372"/>
                    <a:pt x="4996707" y="1122442"/>
                    <a:pt x="4986752" y="1122442"/>
                  </a:cubicBezTo>
                  <a:cubicBezTo>
                    <a:pt x="4976797" y="1122442"/>
                    <a:pt x="4968728" y="1114372"/>
                    <a:pt x="4968728" y="1104417"/>
                  </a:cubicBezTo>
                  <a:cubicBezTo>
                    <a:pt x="4968728" y="1094463"/>
                    <a:pt x="4976797" y="1086393"/>
                    <a:pt x="4986752" y="1086393"/>
                  </a:cubicBezTo>
                  <a:close/>
                  <a:moveTo>
                    <a:pt x="3815165" y="1086393"/>
                  </a:moveTo>
                  <a:cubicBezTo>
                    <a:pt x="3825120" y="1086393"/>
                    <a:pt x="3833190" y="1094463"/>
                    <a:pt x="3833190" y="1104417"/>
                  </a:cubicBezTo>
                  <a:cubicBezTo>
                    <a:pt x="3833190" y="1114372"/>
                    <a:pt x="3825120" y="1122442"/>
                    <a:pt x="3815165" y="1122442"/>
                  </a:cubicBezTo>
                  <a:cubicBezTo>
                    <a:pt x="3805210" y="1122442"/>
                    <a:pt x="3797141" y="1114372"/>
                    <a:pt x="3797141" y="1104417"/>
                  </a:cubicBezTo>
                  <a:cubicBezTo>
                    <a:pt x="3797141" y="1094463"/>
                    <a:pt x="3805210" y="1086393"/>
                    <a:pt x="3815165" y="1086393"/>
                  </a:cubicBezTo>
                  <a:close/>
                  <a:moveTo>
                    <a:pt x="3586856" y="1086393"/>
                  </a:moveTo>
                  <a:cubicBezTo>
                    <a:pt x="3596811" y="1086393"/>
                    <a:pt x="3604881" y="1094463"/>
                    <a:pt x="3604881" y="1104417"/>
                  </a:cubicBezTo>
                  <a:cubicBezTo>
                    <a:pt x="3604881" y="1114372"/>
                    <a:pt x="3596811" y="1122442"/>
                    <a:pt x="3586856" y="1122442"/>
                  </a:cubicBezTo>
                  <a:cubicBezTo>
                    <a:pt x="3576901" y="1122442"/>
                    <a:pt x="3568831" y="1114372"/>
                    <a:pt x="3568831" y="1104417"/>
                  </a:cubicBezTo>
                  <a:cubicBezTo>
                    <a:pt x="3568831" y="1094463"/>
                    <a:pt x="3576901" y="1086393"/>
                    <a:pt x="3586856" y="1086393"/>
                  </a:cubicBezTo>
                  <a:close/>
                  <a:moveTo>
                    <a:pt x="3166287" y="1086393"/>
                  </a:moveTo>
                  <a:cubicBezTo>
                    <a:pt x="3176242" y="1086393"/>
                    <a:pt x="3184312" y="1094463"/>
                    <a:pt x="3184312" y="1104417"/>
                  </a:cubicBezTo>
                  <a:cubicBezTo>
                    <a:pt x="3184312" y="1114372"/>
                    <a:pt x="3176242" y="1122442"/>
                    <a:pt x="3166287" y="1122442"/>
                  </a:cubicBezTo>
                  <a:cubicBezTo>
                    <a:pt x="3156332" y="1122442"/>
                    <a:pt x="3148262" y="1114372"/>
                    <a:pt x="3148262" y="1104417"/>
                  </a:cubicBezTo>
                  <a:cubicBezTo>
                    <a:pt x="3148262" y="1094463"/>
                    <a:pt x="3156332" y="1086393"/>
                    <a:pt x="3166287" y="1086393"/>
                  </a:cubicBezTo>
                  <a:close/>
                  <a:moveTo>
                    <a:pt x="2595514" y="1086393"/>
                  </a:moveTo>
                  <a:cubicBezTo>
                    <a:pt x="2605469" y="1086393"/>
                    <a:pt x="2613539" y="1094463"/>
                    <a:pt x="2613539" y="1104417"/>
                  </a:cubicBezTo>
                  <a:cubicBezTo>
                    <a:pt x="2613539" y="1114372"/>
                    <a:pt x="2605469" y="1122442"/>
                    <a:pt x="2595514" y="1122442"/>
                  </a:cubicBezTo>
                  <a:cubicBezTo>
                    <a:pt x="2585559" y="1122442"/>
                    <a:pt x="2577489" y="1114372"/>
                    <a:pt x="2577489" y="1104417"/>
                  </a:cubicBezTo>
                  <a:cubicBezTo>
                    <a:pt x="2577489" y="1094463"/>
                    <a:pt x="2585559" y="1086393"/>
                    <a:pt x="2595514" y="1086393"/>
                  </a:cubicBezTo>
                  <a:close/>
                  <a:moveTo>
                    <a:pt x="1628204" y="1074377"/>
                  </a:moveTo>
                  <a:cubicBezTo>
                    <a:pt x="1638159" y="1074377"/>
                    <a:pt x="1646229" y="1082447"/>
                    <a:pt x="1646229" y="1092401"/>
                  </a:cubicBezTo>
                  <a:cubicBezTo>
                    <a:pt x="1646229" y="1102356"/>
                    <a:pt x="1638159" y="1110426"/>
                    <a:pt x="1628204" y="1110426"/>
                  </a:cubicBezTo>
                  <a:cubicBezTo>
                    <a:pt x="1618250" y="1110426"/>
                    <a:pt x="1610180" y="1102356"/>
                    <a:pt x="1610180" y="1092401"/>
                  </a:cubicBezTo>
                  <a:cubicBezTo>
                    <a:pt x="1610180" y="1082447"/>
                    <a:pt x="1618250" y="1074377"/>
                    <a:pt x="1628204" y="1074377"/>
                  </a:cubicBezTo>
                  <a:close/>
                  <a:moveTo>
                    <a:pt x="642870" y="1074377"/>
                  </a:moveTo>
                  <a:cubicBezTo>
                    <a:pt x="652825" y="1074377"/>
                    <a:pt x="660895" y="1082447"/>
                    <a:pt x="660895" y="1092401"/>
                  </a:cubicBezTo>
                  <a:cubicBezTo>
                    <a:pt x="660895" y="1102356"/>
                    <a:pt x="652825" y="1110426"/>
                    <a:pt x="642870" y="1110426"/>
                  </a:cubicBezTo>
                  <a:cubicBezTo>
                    <a:pt x="632916" y="1110426"/>
                    <a:pt x="624846" y="1102356"/>
                    <a:pt x="624846" y="1092401"/>
                  </a:cubicBezTo>
                  <a:cubicBezTo>
                    <a:pt x="624846" y="1082447"/>
                    <a:pt x="632916" y="1074377"/>
                    <a:pt x="642870" y="1074377"/>
                  </a:cubicBezTo>
                  <a:close/>
                  <a:moveTo>
                    <a:pt x="2925961" y="1068369"/>
                  </a:moveTo>
                  <a:cubicBezTo>
                    <a:pt x="2935916" y="1068369"/>
                    <a:pt x="2943986" y="1076439"/>
                    <a:pt x="2943986" y="1086394"/>
                  </a:cubicBezTo>
                  <a:cubicBezTo>
                    <a:pt x="2943986" y="1096348"/>
                    <a:pt x="2935916" y="1104418"/>
                    <a:pt x="2925961" y="1104418"/>
                  </a:cubicBezTo>
                  <a:cubicBezTo>
                    <a:pt x="2916006" y="1104418"/>
                    <a:pt x="2907936" y="1096348"/>
                    <a:pt x="2907936" y="1086394"/>
                  </a:cubicBezTo>
                  <a:cubicBezTo>
                    <a:pt x="2907936" y="1076439"/>
                    <a:pt x="2916006" y="1068369"/>
                    <a:pt x="2925961" y="1068369"/>
                  </a:cubicBezTo>
                  <a:close/>
                  <a:moveTo>
                    <a:pt x="3424636" y="1062360"/>
                  </a:moveTo>
                  <a:cubicBezTo>
                    <a:pt x="3434591" y="1062360"/>
                    <a:pt x="3442661" y="1070429"/>
                    <a:pt x="3442661" y="1080384"/>
                  </a:cubicBezTo>
                  <a:cubicBezTo>
                    <a:pt x="3442661" y="1090339"/>
                    <a:pt x="3434591" y="1098409"/>
                    <a:pt x="3424636" y="1098409"/>
                  </a:cubicBezTo>
                  <a:cubicBezTo>
                    <a:pt x="3414681" y="1098409"/>
                    <a:pt x="3406612" y="1090339"/>
                    <a:pt x="3406612" y="1080384"/>
                  </a:cubicBezTo>
                  <a:cubicBezTo>
                    <a:pt x="3406612" y="1070429"/>
                    <a:pt x="3414681" y="1062360"/>
                    <a:pt x="3424636" y="1062360"/>
                  </a:cubicBezTo>
                  <a:close/>
                  <a:moveTo>
                    <a:pt x="1249691" y="1062360"/>
                  </a:moveTo>
                  <a:cubicBezTo>
                    <a:pt x="1259646" y="1062360"/>
                    <a:pt x="1267716" y="1070429"/>
                    <a:pt x="1267716" y="1080384"/>
                  </a:cubicBezTo>
                  <a:cubicBezTo>
                    <a:pt x="1267716" y="1090339"/>
                    <a:pt x="1259646" y="1098409"/>
                    <a:pt x="1249691" y="1098409"/>
                  </a:cubicBezTo>
                  <a:cubicBezTo>
                    <a:pt x="1239737" y="1098409"/>
                    <a:pt x="1231667" y="1090339"/>
                    <a:pt x="1231667" y="1080384"/>
                  </a:cubicBezTo>
                  <a:cubicBezTo>
                    <a:pt x="1231667" y="1070429"/>
                    <a:pt x="1239737" y="1062360"/>
                    <a:pt x="1249691" y="1062360"/>
                  </a:cubicBezTo>
                  <a:close/>
                  <a:moveTo>
                    <a:pt x="1075456" y="1062360"/>
                  </a:moveTo>
                  <a:cubicBezTo>
                    <a:pt x="1085410" y="1062360"/>
                    <a:pt x="1093480" y="1070429"/>
                    <a:pt x="1093480" y="1080384"/>
                  </a:cubicBezTo>
                  <a:cubicBezTo>
                    <a:pt x="1093480" y="1090339"/>
                    <a:pt x="1085410" y="1098409"/>
                    <a:pt x="1075456" y="1098409"/>
                  </a:cubicBezTo>
                  <a:cubicBezTo>
                    <a:pt x="1065501" y="1098409"/>
                    <a:pt x="1057431" y="1090339"/>
                    <a:pt x="1057431" y="1080384"/>
                  </a:cubicBezTo>
                  <a:cubicBezTo>
                    <a:pt x="1057431" y="1070429"/>
                    <a:pt x="1065501" y="1062360"/>
                    <a:pt x="1075456" y="1062360"/>
                  </a:cubicBezTo>
                  <a:close/>
                  <a:moveTo>
                    <a:pt x="1928611" y="1056352"/>
                  </a:moveTo>
                  <a:cubicBezTo>
                    <a:pt x="1938566" y="1056352"/>
                    <a:pt x="1946636" y="1064422"/>
                    <a:pt x="1946636" y="1074376"/>
                  </a:cubicBezTo>
                  <a:cubicBezTo>
                    <a:pt x="1946636" y="1084331"/>
                    <a:pt x="1938566" y="1092401"/>
                    <a:pt x="1928611" y="1092401"/>
                  </a:cubicBezTo>
                  <a:cubicBezTo>
                    <a:pt x="1918657" y="1092401"/>
                    <a:pt x="1910587" y="1084331"/>
                    <a:pt x="1910587" y="1074376"/>
                  </a:cubicBezTo>
                  <a:cubicBezTo>
                    <a:pt x="1910587" y="1064422"/>
                    <a:pt x="1918657" y="1056352"/>
                    <a:pt x="1928611" y="1056352"/>
                  </a:cubicBezTo>
                  <a:close/>
                  <a:moveTo>
                    <a:pt x="2709668" y="1044336"/>
                  </a:moveTo>
                  <a:cubicBezTo>
                    <a:pt x="2719623" y="1044336"/>
                    <a:pt x="2727693" y="1052406"/>
                    <a:pt x="2727693" y="1062360"/>
                  </a:cubicBezTo>
                  <a:cubicBezTo>
                    <a:pt x="2727693" y="1072315"/>
                    <a:pt x="2719623" y="1080385"/>
                    <a:pt x="2709668" y="1080385"/>
                  </a:cubicBezTo>
                  <a:cubicBezTo>
                    <a:pt x="2699713" y="1080385"/>
                    <a:pt x="2691644" y="1072315"/>
                    <a:pt x="2691644" y="1062360"/>
                  </a:cubicBezTo>
                  <a:cubicBezTo>
                    <a:pt x="2691644" y="1052406"/>
                    <a:pt x="2699713" y="1044336"/>
                    <a:pt x="2709668" y="1044336"/>
                  </a:cubicBezTo>
                  <a:close/>
                  <a:moveTo>
                    <a:pt x="1784415" y="1044336"/>
                  </a:moveTo>
                  <a:cubicBezTo>
                    <a:pt x="1794370" y="1044336"/>
                    <a:pt x="1802440" y="1052406"/>
                    <a:pt x="1802440" y="1062360"/>
                  </a:cubicBezTo>
                  <a:cubicBezTo>
                    <a:pt x="1802440" y="1072315"/>
                    <a:pt x="1794370" y="1080385"/>
                    <a:pt x="1784415" y="1080385"/>
                  </a:cubicBezTo>
                  <a:cubicBezTo>
                    <a:pt x="1774461" y="1080385"/>
                    <a:pt x="1766391" y="1072315"/>
                    <a:pt x="1766391" y="1062360"/>
                  </a:cubicBezTo>
                  <a:cubicBezTo>
                    <a:pt x="1766391" y="1052406"/>
                    <a:pt x="1774461" y="1044336"/>
                    <a:pt x="1784415" y="1044336"/>
                  </a:cubicBezTo>
                  <a:close/>
                  <a:moveTo>
                    <a:pt x="3292457" y="1038328"/>
                  </a:moveTo>
                  <a:cubicBezTo>
                    <a:pt x="3302412" y="1038328"/>
                    <a:pt x="3310482" y="1046398"/>
                    <a:pt x="3310482" y="1056353"/>
                  </a:cubicBezTo>
                  <a:cubicBezTo>
                    <a:pt x="3310482" y="1066307"/>
                    <a:pt x="3302412" y="1074377"/>
                    <a:pt x="3292457" y="1074377"/>
                  </a:cubicBezTo>
                  <a:cubicBezTo>
                    <a:pt x="3282503" y="1074377"/>
                    <a:pt x="3274433" y="1066307"/>
                    <a:pt x="3274433" y="1056353"/>
                  </a:cubicBezTo>
                  <a:cubicBezTo>
                    <a:pt x="3274433" y="1046398"/>
                    <a:pt x="3282503" y="1038328"/>
                    <a:pt x="3292457" y="1038328"/>
                  </a:cubicBezTo>
                  <a:close/>
                  <a:moveTo>
                    <a:pt x="2198977" y="1038328"/>
                  </a:moveTo>
                  <a:cubicBezTo>
                    <a:pt x="2208932" y="1038328"/>
                    <a:pt x="2217002" y="1046398"/>
                    <a:pt x="2217002" y="1056353"/>
                  </a:cubicBezTo>
                  <a:cubicBezTo>
                    <a:pt x="2217002" y="1066307"/>
                    <a:pt x="2208932" y="1074377"/>
                    <a:pt x="2198977" y="1074377"/>
                  </a:cubicBezTo>
                  <a:cubicBezTo>
                    <a:pt x="2189023" y="1074377"/>
                    <a:pt x="2180953" y="1066307"/>
                    <a:pt x="2180953" y="1056353"/>
                  </a:cubicBezTo>
                  <a:cubicBezTo>
                    <a:pt x="2180953" y="1046398"/>
                    <a:pt x="2189023" y="1038328"/>
                    <a:pt x="2198977" y="1038328"/>
                  </a:cubicBezTo>
                  <a:close/>
                  <a:moveTo>
                    <a:pt x="2078814" y="1032320"/>
                  </a:moveTo>
                  <a:cubicBezTo>
                    <a:pt x="2088769" y="1032320"/>
                    <a:pt x="2096839" y="1040389"/>
                    <a:pt x="2096839" y="1050344"/>
                  </a:cubicBezTo>
                  <a:cubicBezTo>
                    <a:pt x="2096839" y="1060299"/>
                    <a:pt x="2088769" y="1068369"/>
                    <a:pt x="2078814" y="1068369"/>
                  </a:cubicBezTo>
                  <a:cubicBezTo>
                    <a:pt x="2068860" y="1068369"/>
                    <a:pt x="2060790" y="1060299"/>
                    <a:pt x="2060790" y="1050344"/>
                  </a:cubicBezTo>
                  <a:cubicBezTo>
                    <a:pt x="2060790" y="1040389"/>
                    <a:pt x="2068860" y="1032320"/>
                    <a:pt x="2078814" y="1032320"/>
                  </a:cubicBezTo>
                  <a:close/>
                  <a:moveTo>
                    <a:pt x="3983393" y="1026312"/>
                  </a:moveTo>
                  <a:cubicBezTo>
                    <a:pt x="3993348" y="1026312"/>
                    <a:pt x="4001418" y="1034382"/>
                    <a:pt x="4001418" y="1044336"/>
                  </a:cubicBezTo>
                  <a:cubicBezTo>
                    <a:pt x="4001418" y="1054291"/>
                    <a:pt x="3993348" y="1062361"/>
                    <a:pt x="3983393" y="1062361"/>
                  </a:cubicBezTo>
                  <a:cubicBezTo>
                    <a:pt x="3973439" y="1062361"/>
                    <a:pt x="3965369" y="1054291"/>
                    <a:pt x="3965369" y="1044336"/>
                  </a:cubicBezTo>
                  <a:cubicBezTo>
                    <a:pt x="3965369" y="1034382"/>
                    <a:pt x="3973439" y="1026312"/>
                    <a:pt x="3983393" y="1026312"/>
                  </a:cubicBezTo>
                  <a:close/>
                  <a:moveTo>
                    <a:pt x="817106" y="1020304"/>
                  </a:moveTo>
                  <a:cubicBezTo>
                    <a:pt x="823743" y="1020304"/>
                    <a:pt x="829123" y="1025684"/>
                    <a:pt x="829123" y="1032320"/>
                  </a:cubicBezTo>
                  <a:cubicBezTo>
                    <a:pt x="829123" y="1038957"/>
                    <a:pt x="823743" y="1044336"/>
                    <a:pt x="817106" y="1044336"/>
                  </a:cubicBezTo>
                  <a:cubicBezTo>
                    <a:pt x="810470" y="1044336"/>
                    <a:pt x="805090" y="1038956"/>
                    <a:pt x="805090" y="1032320"/>
                  </a:cubicBezTo>
                  <a:cubicBezTo>
                    <a:pt x="805090" y="1025684"/>
                    <a:pt x="810470" y="1020304"/>
                    <a:pt x="817106" y="1020304"/>
                  </a:cubicBezTo>
                  <a:close/>
                  <a:moveTo>
                    <a:pt x="2817815" y="1014295"/>
                  </a:moveTo>
                  <a:cubicBezTo>
                    <a:pt x="2827770" y="1014295"/>
                    <a:pt x="2835840" y="1022365"/>
                    <a:pt x="2835840" y="1032319"/>
                  </a:cubicBezTo>
                  <a:cubicBezTo>
                    <a:pt x="2835840" y="1042274"/>
                    <a:pt x="2827770" y="1050344"/>
                    <a:pt x="2817815" y="1050344"/>
                  </a:cubicBezTo>
                  <a:cubicBezTo>
                    <a:pt x="2807861" y="1050344"/>
                    <a:pt x="2799791" y="1042274"/>
                    <a:pt x="2799791" y="1032319"/>
                  </a:cubicBezTo>
                  <a:cubicBezTo>
                    <a:pt x="2799791" y="1022365"/>
                    <a:pt x="2807861" y="1014295"/>
                    <a:pt x="2817815" y="1014295"/>
                  </a:cubicBezTo>
                  <a:close/>
                  <a:moveTo>
                    <a:pt x="2445310" y="1014295"/>
                  </a:moveTo>
                  <a:cubicBezTo>
                    <a:pt x="2455265" y="1014295"/>
                    <a:pt x="2463335" y="1022365"/>
                    <a:pt x="2463335" y="1032319"/>
                  </a:cubicBezTo>
                  <a:cubicBezTo>
                    <a:pt x="2463335" y="1042274"/>
                    <a:pt x="2455265" y="1050344"/>
                    <a:pt x="2445310" y="1050344"/>
                  </a:cubicBezTo>
                  <a:cubicBezTo>
                    <a:pt x="2435355" y="1050344"/>
                    <a:pt x="2427285" y="1042274"/>
                    <a:pt x="2427285" y="1032319"/>
                  </a:cubicBezTo>
                  <a:cubicBezTo>
                    <a:pt x="2427285" y="1022365"/>
                    <a:pt x="2435355" y="1014295"/>
                    <a:pt x="2445310" y="1014295"/>
                  </a:cubicBezTo>
                  <a:close/>
                  <a:moveTo>
                    <a:pt x="420569" y="1014295"/>
                  </a:moveTo>
                  <a:cubicBezTo>
                    <a:pt x="430524" y="1014295"/>
                    <a:pt x="438594" y="1022365"/>
                    <a:pt x="438594" y="1032319"/>
                  </a:cubicBezTo>
                  <a:cubicBezTo>
                    <a:pt x="438594" y="1042274"/>
                    <a:pt x="430524" y="1050344"/>
                    <a:pt x="420569" y="1050344"/>
                  </a:cubicBezTo>
                  <a:cubicBezTo>
                    <a:pt x="410615" y="1050344"/>
                    <a:pt x="402545" y="1042274"/>
                    <a:pt x="402545" y="1032319"/>
                  </a:cubicBezTo>
                  <a:cubicBezTo>
                    <a:pt x="402545" y="1022365"/>
                    <a:pt x="410615" y="1014295"/>
                    <a:pt x="420569" y="1014295"/>
                  </a:cubicBezTo>
                  <a:close/>
                  <a:moveTo>
                    <a:pt x="1520057" y="1008287"/>
                  </a:moveTo>
                  <a:cubicBezTo>
                    <a:pt x="1530012" y="1008287"/>
                    <a:pt x="1538082" y="1016357"/>
                    <a:pt x="1538082" y="1026312"/>
                  </a:cubicBezTo>
                  <a:cubicBezTo>
                    <a:pt x="1538082" y="1036266"/>
                    <a:pt x="1530012" y="1044336"/>
                    <a:pt x="1520057" y="1044336"/>
                  </a:cubicBezTo>
                  <a:cubicBezTo>
                    <a:pt x="1510103" y="1044336"/>
                    <a:pt x="1502033" y="1036266"/>
                    <a:pt x="1502033" y="1026312"/>
                  </a:cubicBezTo>
                  <a:cubicBezTo>
                    <a:pt x="1502033" y="1016357"/>
                    <a:pt x="1510103" y="1008287"/>
                    <a:pt x="1520057" y="1008287"/>
                  </a:cubicBezTo>
                  <a:close/>
                  <a:moveTo>
                    <a:pt x="1387878" y="1008287"/>
                  </a:moveTo>
                  <a:cubicBezTo>
                    <a:pt x="1397833" y="1008287"/>
                    <a:pt x="1405903" y="1016357"/>
                    <a:pt x="1405903" y="1026312"/>
                  </a:cubicBezTo>
                  <a:cubicBezTo>
                    <a:pt x="1405903" y="1036266"/>
                    <a:pt x="1397833" y="1044336"/>
                    <a:pt x="1387878" y="1044336"/>
                  </a:cubicBezTo>
                  <a:cubicBezTo>
                    <a:pt x="1377924" y="1044336"/>
                    <a:pt x="1369854" y="1036266"/>
                    <a:pt x="1369854" y="1026312"/>
                  </a:cubicBezTo>
                  <a:cubicBezTo>
                    <a:pt x="1369854" y="1016357"/>
                    <a:pt x="1377924" y="1008287"/>
                    <a:pt x="1387878" y="1008287"/>
                  </a:cubicBezTo>
                  <a:close/>
                  <a:moveTo>
                    <a:pt x="534724" y="1008287"/>
                  </a:moveTo>
                  <a:cubicBezTo>
                    <a:pt x="544678" y="1008287"/>
                    <a:pt x="552748" y="1016357"/>
                    <a:pt x="552748" y="1026312"/>
                  </a:cubicBezTo>
                  <a:cubicBezTo>
                    <a:pt x="552748" y="1036266"/>
                    <a:pt x="544678" y="1044336"/>
                    <a:pt x="534724" y="1044336"/>
                  </a:cubicBezTo>
                  <a:cubicBezTo>
                    <a:pt x="524769" y="1044336"/>
                    <a:pt x="516699" y="1036266"/>
                    <a:pt x="516699" y="1026312"/>
                  </a:cubicBezTo>
                  <a:cubicBezTo>
                    <a:pt x="516699" y="1016357"/>
                    <a:pt x="524769" y="1008287"/>
                    <a:pt x="534724" y="1008287"/>
                  </a:cubicBezTo>
                  <a:close/>
                  <a:moveTo>
                    <a:pt x="3016083" y="1002279"/>
                  </a:moveTo>
                  <a:cubicBezTo>
                    <a:pt x="3026038" y="1002279"/>
                    <a:pt x="3034108" y="1010348"/>
                    <a:pt x="3034108" y="1020303"/>
                  </a:cubicBezTo>
                  <a:cubicBezTo>
                    <a:pt x="3034108" y="1030258"/>
                    <a:pt x="3026038" y="1038328"/>
                    <a:pt x="3016083" y="1038328"/>
                  </a:cubicBezTo>
                  <a:cubicBezTo>
                    <a:pt x="3006128" y="1038328"/>
                    <a:pt x="2998058" y="1030258"/>
                    <a:pt x="2998058" y="1020303"/>
                  </a:cubicBezTo>
                  <a:cubicBezTo>
                    <a:pt x="2998058" y="1010348"/>
                    <a:pt x="3006128" y="1002279"/>
                    <a:pt x="3016083" y="1002279"/>
                  </a:cubicBezTo>
                  <a:close/>
                  <a:moveTo>
                    <a:pt x="294398" y="996271"/>
                  </a:moveTo>
                  <a:cubicBezTo>
                    <a:pt x="304353" y="996271"/>
                    <a:pt x="312423" y="1004341"/>
                    <a:pt x="312423" y="1014295"/>
                  </a:cubicBezTo>
                  <a:cubicBezTo>
                    <a:pt x="312423" y="1024250"/>
                    <a:pt x="304353" y="1032320"/>
                    <a:pt x="294398" y="1032320"/>
                  </a:cubicBezTo>
                  <a:cubicBezTo>
                    <a:pt x="284444" y="1032320"/>
                    <a:pt x="276374" y="1024250"/>
                    <a:pt x="276374" y="1014295"/>
                  </a:cubicBezTo>
                  <a:cubicBezTo>
                    <a:pt x="276374" y="1004341"/>
                    <a:pt x="284444" y="996271"/>
                    <a:pt x="294398" y="996271"/>
                  </a:cubicBezTo>
                  <a:close/>
                  <a:moveTo>
                    <a:pt x="3676978" y="990263"/>
                  </a:moveTo>
                  <a:cubicBezTo>
                    <a:pt x="3686933" y="990263"/>
                    <a:pt x="3695003" y="998333"/>
                    <a:pt x="3695003" y="1008287"/>
                  </a:cubicBezTo>
                  <a:cubicBezTo>
                    <a:pt x="3695003" y="1018242"/>
                    <a:pt x="3686933" y="1026312"/>
                    <a:pt x="3676978" y="1026312"/>
                  </a:cubicBezTo>
                  <a:cubicBezTo>
                    <a:pt x="3667023" y="1026312"/>
                    <a:pt x="3658953" y="1018242"/>
                    <a:pt x="3658953" y="1008287"/>
                  </a:cubicBezTo>
                  <a:cubicBezTo>
                    <a:pt x="3658953" y="998333"/>
                    <a:pt x="3667023" y="990263"/>
                    <a:pt x="3676978" y="990263"/>
                  </a:cubicBezTo>
                  <a:close/>
                  <a:moveTo>
                    <a:pt x="3544799" y="984255"/>
                  </a:moveTo>
                  <a:cubicBezTo>
                    <a:pt x="3554754" y="984255"/>
                    <a:pt x="3562824" y="992325"/>
                    <a:pt x="3562824" y="1002279"/>
                  </a:cubicBezTo>
                  <a:cubicBezTo>
                    <a:pt x="3562824" y="1012234"/>
                    <a:pt x="3554754" y="1020304"/>
                    <a:pt x="3544799" y="1020304"/>
                  </a:cubicBezTo>
                  <a:cubicBezTo>
                    <a:pt x="3534844" y="1020304"/>
                    <a:pt x="3526775" y="1012234"/>
                    <a:pt x="3526775" y="1002279"/>
                  </a:cubicBezTo>
                  <a:cubicBezTo>
                    <a:pt x="3526775" y="992325"/>
                    <a:pt x="3534844" y="984255"/>
                    <a:pt x="3544799" y="984255"/>
                  </a:cubicBezTo>
                  <a:close/>
                  <a:moveTo>
                    <a:pt x="708959" y="984255"/>
                  </a:moveTo>
                  <a:cubicBezTo>
                    <a:pt x="718914" y="984255"/>
                    <a:pt x="726984" y="992325"/>
                    <a:pt x="726984" y="1002279"/>
                  </a:cubicBezTo>
                  <a:cubicBezTo>
                    <a:pt x="726984" y="1012234"/>
                    <a:pt x="718914" y="1020304"/>
                    <a:pt x="708959" y="1020304"/>
                  </a:cubicBezTo>
                  <a:cubicBezTo>
                    <a:pt x="699005" y="1020304"/>
                    <a:pt x="690935" y="1012234"/>
                    <a:pt x="690935" y="1002279"/>
                  </a:cubicBezTo>
                  <a:cubicBezTo>
                    <a:pt x="690935" y="992325"/>
                    <a:pt x="699005" y="984255"/>
                    <a:pt x="708959" y="984255"/>
                  </a:cubicBezTo>
                  <a:close/>
                  <a:moveTo>
                    <a:pt x="3803149" y="978247"/>
                  </a:moveTo>
                  <a:cubicBezTo>
                    <a:pt x="3813104" y="978247"/>
                    <a:pt x="3821174" y="986317"/>
                    <a:pt x="3821174" y="996272"/>
                  </a:cubicBezTo>
                  <a:cubicBezTo>
                    <a:pt x="3821174" y="1006226"/>
                    <a:pt x="3813104" y="1014296"/>
                    <a:pt x="3803149" y="1014296"/>
                  </a:cubicBezTo>
                  <a:cubicBezTo>
                    <a:pt x="3793195" y="1014296"/>
                    <a:pt x="3785125" y="1006226"/>
                    <a:pt x="3785125" y="996272"/>
                  </a:cubicBezTo>
                  <a:cubicBezTo>
                    <a:pt x="3785125" y="986317"/>
                    <a:pt x="3793195" y="978247"/>
                    <a:pt x="3803149" y="978247"/>
                  </a:cubicBezTo>
                  <a:close/>
                  <a:moveTo>
                    <a:pt x="1003358" y="978247"/>
                  </a:moveTo>
                  <a:cubicBezTo>
                    <a:pt x="1013313" y="978247"/>
                    <a:pt x="1021383" y="986317"/>
                    <a:pt x="1021383" y="996272"/>
                  </a:cubicBezTo>
                  <a:cubicBezTo>
                    <a:pt x="1021383" y="1006226"/>
                    <a:pt x="1013313" y="1014296"/>
                    <a:pt x="1003358" y="1014296"/>
                  </a:cubicBezTo>
                  <a:cubicBezTo>
                    <a:pt x="993404" y="1014296"/>
                    <a:pt x="985334" y="1006226"/>
                    <a:pt x="985334" y="996272"/>
                  </a:cubicBezTo>
                  <a:cubicBezTo>
                    <a:pt x="985334" y="986317"/>
                    <a:pt x="993404" y="978247"/>
                    <a:pt x="1003358" y="978247"/>
                  </a:cubicBezTo>
                  <a:close/>
                  <a:moveTo>
                    <a:pt x="3196327" y="972238"/>
                  </a:moveTo>
                  <a:cubicBezTo>
                    <a:pt x="3206282" y="972238"/>
                    <a:pt x="3214352" y="980307"/>
                    <a:pt x="3214352" y="990262"/>
                  </a:cubicBezTo>
                  <a:cubicBezTo>
                    <a:pt x="3214352" y="1000217"/>
                    <a:pt x="3206282" y="1008287"/>
                    <a:pt x="3196327" y="1008287"/>
                  </a:cubicBezTo>
                  <a:cubicBezTo>
                    <a:pt x="3186372" y="1008287"/>
                    <a:pt x="3178302" y="1000217"/>
                    <a:pt x="3178302" y="990262"/>
                  </a:cubicBezTo>
                  <a:cubicBezTo>
                    <a:pt x="3178302" y="980307"/>
                    <a:pt x="3186372" y="972238"/>
                    <a:pt x="3196327" y="972238"/>
                  </a:cubicBezTo>
                  <a:close/>
                  <a:moveTo>
                    <a:pt x="1183602" y="972238"/>
                  </a:moveTo>
                  <a:cubicBezTo>
                    <a:pt x="1193557" y="972238"/>
                    <a:pt x="1201627" y="980307"/>
                    <a:pt x="1201627" y="990262"/>
                  </a:cubicBezTo>
                  <a:cubicBezTo>
                    <a:pt x="1201627" y="1000217"/>
                    <a:pt x="1193557" y="1008287"/>
                    <a:pt x="1183602" y="1008287"/>
                  </a:cubicBezTo>
                  <a:cubicBezTo>
                    <a:pt x="1173648" y="1008287"/>
                    <a:pt x="1165578" y="1000217"/>
                    <a:pt x="1165578" y="990262"/>
                  </a:cubicBezTo>
                  <a:cubicBezTo>
                    <a:pt x="1165578" y="980307"/>
                    <a:pt x="1173648" y="972238"/>
                    <a:pt x="1183602" y="972238"/>
                  </a:cubicBezTo>
                  <a:close/>
                  <a:moveTo>
                    <a:pt x="2271074" y="960222"/>
                  </a:moveTo>
                  <a:cubicBezTo>
                    <a:pt x="2281029" y="960222"/>
                    <a:pt x="2289099" y="968292"/>
                    <a:pt x="2289099" y="978246"/>
                  </a:cubicBezTo>
                  <a:cubicBezTo>
                    <a:pt x="2289099" y="988201"/>
                    <a:pt x="2281029" y="996271"/>
                    <a:pt x="2271074" y="996271"/>
                  </a:cubicBezTo>
                  <a:cubicBezTo>
                    <a:pt x="2261120" y="996271"/>
                    <a:pt x="2253050" y="988201"/>
                    <a:pt x="2253050" y="978246"/>
                  </a:cubicBezTo>
                  <a:cubicBezTo>
                    <a:pt x="2253050" y="968292"/>
                    <a:pt x="2261120" y="960222"/>
                    <a:pt x="2271074" y="960222"/>
                  </a:cubicBezTo>
                  <a:close/>
                  <a:moveTo>
                    <a:pt x="1658245" y="960222"/>
                  </a:moveTo>
                  <a:cubicBezTo>
                    <a:pt x="1668200" y="960222"/>
                    <a:pt x="1676270" y="968292"/>
                    <a:pt x="1676270" y="978246"/>
                  </a:cubicBezTo>
                  <a:cubicBezTo>
                    <a:pt x="1676270" y="988201"/>
                    <a:pt x="1668200" y="996271"/>
                    <a:pt x="1658245" y="996271"/>
                  </a:cubicBezTo>
                  <a:cubicBezTo>
                    <a:pt x="1648291" y="996271"/>
                    <a:pt x="1640221" y="988201"/>
                    <a:pt x="1640221" y="978246"/>
                  </a:cubicBezTo>
                  <a:cubicBezTo>
                    <a:pt x="1640221" y="968292"/>
                    <a:pt x="1648291" y="960222"/>
                    <a:pt x="1658245" y="960222"/>
                  </a:cubicBezTo>
                  <a:close/>
                  <a:moveTo>
                    <a:pt x="1958651" y="954214"/>
                  </a:moveTo>
                  <a:cubicBezTo>
                    <a:pt x="1968606" y="954214"/>
                    <a:pt x="1976676" y="962284"/>
                    <a:pt x="1976676" y="972238"/>
                  </a:cubicBezTo>
                  <a:cubicBezTo>
                    <a:pt x="1976676" y="982193"/>
                    <a:pt x="1968606" y="990263"/>
                    <a:pt x="1958651" y="990263"/>
                  </a:cubicBezTo>
                  <a:cubicBezTo>
                    <a:pt x="1948697" y="990263"/>
                    <a:pt x="1940627" y="982193"/>
                    <a:pt x="1940627" y="972238"/>
                  </a:cubicBezTo>
                  <a:cubicBezTo>
                    <a:pt x="1940627" y="962284"/>
                    <a:pt x="1948697" y="954214"/>
                    <a:pt x="1958651" y="954214"/>
                  </a:cubicBezTo>
                  <a:close/>
                  <a:moveTo>
                    <a:pt x="2631562" y="948206"/>
                  </a:moveTo>
                  <a:cubicBezTo>
                    <a:pt x="2641517" y="948206"/>
                    <a:pt x="2649587" y="956276"/>
                    <a:pt x="2649587" y="966231"/>
                  </a:cubicBezTo>
                  <a:cubicBezTo>
                    <a:pt x="2649587" y="976185"/>
                    <a:pt x="2641517" y="984255"/>
                    <a:pt x="2631562" y="984255"/>
                  </a:cubicBezTo>
                  <a:cubicBezTo>
                    <a:pt x="2621608" y="984255"/>
                    <a:pt x="2613538" y="976185"/>
                    <a:pt x="2613538" y="966231"/>
                  </a:cubicBezTo>
                  <a:cubicBezTo>
                    <a:pt x="2613538" y="956276"/>
                    <a:pt x="2621608" y="948206"/>
                    <a:pt x="2631562" y="948206"/>
                  </a:cubicBezTo>
                  <a:close/>
                  <a:moveTo>
                    <a:pt x="1838489" y="948206"/>
                  </a:moveTo>
                  <a:cubicBezTo>
                    <a:pt x="1848444" y="948206"/>
                    <a:pt x="1856514" y="956276"/>
                    <a:pt x="1856514" y="966231"/>
                  </a:cubicBezTo>
                  <a:cubicBezTo>
                    <a:pt x="1856514" y="976185"/>
                    <a:pt x="1848444" y="984255"/>
                    <a:pt x="1838489" y="984255"/>
                  </a:cubicBezTo>
                  <a:cubicBezTo>
                    <a:pt x="1828535" y="984255"/>
                    <a:pt x="1820465" y="976185"/>
                    <a:pt x="1820465" y="966231"/>
                  </a:cubicBezTo>
                  <a:cubicBezTo>
                    <a:pt x="1820465" y="956276"/>
                    <a:pt x="1828535" y="948206"/>
                    <a:pt x="1838489" y="948206"/>
                  </a:cubicBezTo>
                  <a:close/>
                  <a:moveTo>
                    <a:pt x="3430644" y="942198"/>
                  </a:moveTo>
                  <a:cubicBezTo>
                    <a:pt x="3440599" y="942198"/>
                    <a:pt x="3448669" y="950267"/>
                    <a:pt x="3448669" y="960222"/>
                  </a:cubicBezTo>
                  <a:cubicBezTo>
                    <a:pt x="3448669" y="970177"/>
                    <a:pt x="3440599" y="978247"/>
                    <a:pt x="3430644" y="978247"/>
                  </a:cubicBezTo>
                  <a:cubicBezTo>
                    <a:pt x="3420689" y="978247"/>
                    <a:pt x="3412620" y="970177"/>
                    <a:pt x="3412620" y="960222"/>
                  </a:cubicBezTo>
                  <a:cubicBezTo>
                    <a:pt x="3412620" y="950267"/>
                    <a:pt x="3420689" y="942198"/>
                    <a:pt x="3430644" y="942198"/>
                  </a:cubicBezTo>
                  <a:close/>
                  <a:moveTo>
                    <a:pt x="2529424" y="942198"/>
                  </a:moveTo>
                  <a:cubicBezTo>
                    <a:pt x="2539379" y="942198"/>
                    <a:pt x="2547449" y="950267"/>
                    <a:pt x="2547449" y="960222"/>
                  </a:cubicBezTo>
                  <a:cubicBezTo>
                    <a:pt x="2547449" y="970177"/>
                    <a:pt x="2539379" y="978247"/>
                    <a:pt x="2529424" y="978247"/>
                  </a:cubicBezTo>
                  <a:cubicBezTo>
                    <a:pt x="2519469" y="978247"/>
                    <a:pt x="2511400" y="970177"/>
                    <a:pt x="2511400" y="960222"/>
                  </a:cubicBezTo>
                  <a:cubicBezTo>
                    <a:pt x="2511400" y="950267"/>
                    <a:pt x="2519469" y="942198"/>
                    <a:pt x="2529424" y="942198"/>
                  </a:cubicBezTo>
                  <a:close/>
                  <a:moveTo>
                    <a:pt x="889203" y="942198"/>
                  </a:moveTo>
                  <a:cubicBezTo>
                    <a:pt x="899158" y="942198"/>
                    <a:pt x="907228" y="950267"/>
                    <a:pt x="907228" y="960222"/>
                  </a:cubicBezTo>
                  <a:cubicBezTo>
                    <a:pt x="907228" y="970177"/>
                    <a:pt x="899158" y="978247"/>
                    <a:pt x="889203" y="978247"/>
                  </a:cubicBezTo>
                  <a:cubicBezTo>
                    <a:pt x="879249" y="978247"/>
                    <a:pt x="871179" y="970177"/>
                    <a:pt x="871179" y="960222"/>
                  </a:cubicBezTo>
                  <a:cubicBezTo>
                    <a:pt x="871179" y="950267"/>
                    <a:pt x="879249" y="942198"/>
                    <a:pt x="889203" y="942198"/>
                  </a:cubicBezTo>
                  <a:close/>
                  <a:moveTo>
                    <a:pt x="3935328" y="936190"/>
                  </a:moveTo>
                  <a:cubicBezTo>
                    <a:pt x="3945283" y="936190"/>
                    <a:pt x="3953353" y="944260"/>
                    <a:pt x="3953353" y="954214"/>
                  </a:cubicBezTo>
                  <a:cubicBezTo>
                    <a:pt x="3953353" y="964169"/>
                    <a:pt x="3945283" y="972239"/>
                    <a:pt x="3935328" y="972239"/>
                  </a:cubicBezTo>
                  <a:cubicBezTo>
                    <a:pt x="3925373" y="972239"/>
                    <a:pt x="3917304" y="964169"/>
                    <a:pt x="3917304" y="954214"/>
                  </a:cubicBezTo>
                  <a:cubicBezTo>
                    <a:pt x="3917304" y="944260"/>
                    <a:pt x="3925373" y="936190"/>
                    <a:pt x="3935328" y="936190"/>
                  </a:cubicBezTo>
                  <a:close/>
                  <a:moveTo>
                    <a:pt x="1303765" y="936190"/>
                  </a:moveTo>
                  <a:cubicBezTo>
                    <a:pt x="1313720" y="936190"/>
                    <a:pt x="1321790" y="944260"/>
                    <a:pt x="1321790" y="954214"/>
                  </a:cubicBezTo>
                  <a:cubicBezTo>
                    <a:pt x="1321790" y="964169"/>
                    <a:pt x="1313720" y="972239"/>
                    <a:pt x="1303765" y="972239"/>
                  </a:cubicBezTo>
                  <a:cubicBezTo>
                    <a:pt x="1293811" y="972239"/>
                    <a:pt x="1285741" y="964169"/>
                    <a:pt x="1285741" y="954214"/>
                  </a:cubicBezTo>
                  <a:cubicBezTo>
                    <a:pt x="1285741" y="944260"/>
                    <a:pt x="1293811" y="936190"/>
                    <a:pt x="1303765" y="936190"/>
                  </a:cubicBezTo>
                  <a:close/>
                  <a:moveTo>
                    <a:pt x="600813" y="924173"/>
                  </a:moveTo>
                  <a:cubicBezTo>
                    <a:pt x="610768" y="924173"/>
                    <a:pt x="618838" y="932243"/>
                    <a:pt x="618838" y="942197"/>
                  </a:cubicBezTo>
                  <a:cubicBezTo>
                    <a:pt x="618838" y="952152"/>
                    <a:pt x="610768" y="960222"/>
                    <a:pt x="600813" y="960222"/>
                  </a:cubicBezTo>
                  <a:cubicBezTo>
                    <a:pt x="590859" y="960222"/>
                    <a:pt x="582789" y="952152"/>
                    <a:pt x="582789" y="942197"/>
                  </a:cubicBezTo>
                  <a:cubicBezTo>
                    <a:pt x="582789" y="932243"/>
                    <a:pt x="590859" y="924173"/>
                    <a:pt x="600813" y="924173"/>
                  </a:cubicBezTo>
                  <a:close/>
                  <a:moveTo>
                    <a:pt x="3088181" y="918165"/>
                  </a:moveTo>
                  <a:cubicBezTo>
                    <a:pt x="3098136" y="918165"/>
                    <a:pt x="3106206" y="926235"/>
                    <a:pt x="3106206" y="936190"/>
                  </a:cubicBezTo>
                  <a:cubicBezTo>
                    <a:pt x="3106206" y="946144"/>
                    <a:pt x="3098136" y="954214"/>
                    <a:pt x="3088181" y="954214"/>
                  </a:cubicBezTo>
                  <a:cubicBezTo>
                    <a:pt x="3078227" y="954214"/>
                    <a:pt x="3070157" y="946144"/>
                    <a:pt x="3070157" y="936190"/>
                  </a:cubicBezTo>
                  <a:cubicBezTo>
                    <a:pt x="3070157" y="926235"/>
                    <a:pt x="3078227" y="918165"/>
                    <a:pt x="3088181" y="918165"/>
                  </a:cubicBezTo>
                  <a:close/>
                  <a:moveTo>
                    <a:pt x="2883904" y="918165"/>
                  </a:moveTo>
                  <a:cubicBezTo>
                    <a:pt x="2893859" y="918165"/>
                    <a:pt x="2901929" y="926235"/>
                    <a:pt x="2901929" y="936190"/>
                  </a:cubicBezTo>
                  <a:cubicBezTo>
                    <a:pt x="2901929" y="946144"/>
                    <a:pt x="2893859" y="954214"/>
                    <a:pt x="2883904" y="954214"/>
                  </a:cubicBezTo>
                  <a:cubicBezTo>
                    <a:pt x="2873949" y="954214"/>
                    <a:pt x="2865880" y="946144"/>
                    <a:pt x="2865880" y="936190"/>
                  </a:cubicBezTo>
                  <a:cubicBezTo>
                    <a:pt x="2865880" y="926235"/>
                    <a:pt x="2873949" y="918165"/>
                    <a:pt x="2883904" y="918165"/>
                  </a:cubicBezTo>
                  <a:close/>
                  <a:moveTo>
                    <a:pt x="2379221" y="918165"/>
                  </a:moveTo>
                  <a:cubicBezTo>
                    <a:pt x="2389176" y="918165"/>
                    <a:pt x="2397246" y="926235"/>
                    <a:pt x="2397246" y="936190"/>
                  </a:cubicBezTo>
                  <a:cubicBezTo>
                    <a:pt x="2397246" y="946144"/>
                    <a:pt x="2389176" y="954214"/>
                    <a:pt x="2379221" y="954214"/>
                  </a:cubicBezTo>
                  <a:cubicBezTo>
                    <a:pt x="2369267" y="954214"/>
                    <a:pt x="2361197" y="946144"/>
                    <a:pt x="2361197" y="936190"/>
                  </a:cubicBezTo>
                  <a:cubicBezTo>
                    <a:pt x="2361197" y="926235"/>
                    <a:pt x="2369267" y="918165"/>
                    <a:pt x="2379221" y="918165"/>
                  </a:cubicBezTo>
                  <a:close/>
                  <a:moveTo>
                    <a:pt x="2120871" y="918165"/>
                  </a:moveTo>
                  <a:cubicBezTo>
                    <a:pt x="2130826" y="918165"/>
                    <a:pt x="2138896" y="926235"/>
                    <a:pt x="2138896" y="936190"/>
                  </a:cubicBezTo>
                  <a:cubicBezTo>
                    <a:pt x="2138896" y="946144"/>
                    <a:pt x="2130826" y="954214"/>
                    <a:pt x="2120871" y="954214"/>
                  </a:cubicBezTo>
                  <a:cubicBezTo>
                    <a:pt x="2110917" y="954214"/>
                    <a:pt x="2102847" y="946144"/>
                    <a:pt x="2102847" y="936190"/>
                  </a:cubicBezTo>
                  <a:cubicBezTo>
                    <a:pt x="2102847" y="926235"/>
                    <a:pt x="2110917" y="918165"/>
                    <a:pt x="2120871" y="918165"/>
                  </a:cubicBezTo>
                  <a:close/>
                  <a:moveTo>
                    <a:pt x="3328506" y="906149"/>
                  </a:moveTo>
                  <a:cubicBezTo>
                    <a:pt x="3338461" y="906149"/>
                    <a:pt x="3346531" y="914219"/>
                    <a:pt x="3346531" y="924173"/>
                  </a:cubicBezTo>
                  <a:cubicBezTo>
                    <a:pt x="3346531" y="934128"/>
                    <a:pt x="3338461" y="942198"/>
                    <a:pt x="3328506" y="942198"/>
                  </a:cubicBezTo>
                  <a:cubicBezTo>
                    <a:pt x="3318552" y="942198"/>
                    <a:pt x="3310482" y="934128"/>
                    <a:pt x="3310482" y="924173"/>
                  </a:cubicBezTo>
                  <a:cubicBezTo>
                    <a:pt x="3310482" y="914219"/>
                    <a:pt x="3318552" y="906149"/>
                    <a:pt x="3328506" y="906149"/>
                  </a:cubicBezTo>
                  <a:close/>
                  <a:moveTo>
                    <a:pt x="1508041" y="900141"/>
                  </a:moveTo>
                  <a:cubicBezTo>
                    <a:pt x="1517996" y="900141"/>
                    <a:pt x="1526066" y="908211"/>
                    <a:pt x="1526066" y="918165"/>
                  </a:cubicBezTo>
                  <a:cubicBezTo>
                    <a:pt x="1526066" y="928120"/>
                    <a:pt x="1517996" y="936190"/>
                    <a:pt x="1508041" y="936190"/>
                  </a:cubicBezTo>
                  <a:cubicBezTo>
                    <a:pt x="1498087" y="936190"/>
                    <a:pt x="1490017" y="928120"/>
                    <a:pt x="1490017" y="918165"/>
                  </a:cubicBezTo>
                  <a:cubicBezTo>
                    <a:pt x="1490017" y="908211"/>
                    <a:pt x="1498087" y="900141"/>
                    <a:pt x="1508041" y="900141"/>
                  </a:cubicBezTo>
                  <a:close/>
                  <a:moveTo>
                    <a:pt x="2739709" y="894133"/>
                  </a:moveTo>
                  <a:cubicBezTo>
                    <a:pt x="2749664" y="894133"/>
                    <a:pt x="2757734" y="902203"/>
                    <a:pt x="2757734" y="912157"/>
                  </a:cubicBezTo>
                  <a:cubicBezTo>
                    <a:pt x="2757734" y="922112"/>
                    <a:pt x="2749664" y="930182"/>
                    <a:pt x="2739709" y="930182"/>
                  </a:cubicBezTo>
                  <a:cubicBezTo>
                    <a:pt x="2729754" y="930182"/>
                    <a:pt x="2721685" y="922112"/>
                    <a:pt x="2721685" y="912157"/>
                  </a:cubicBezTo>
                  <a:cubicBezTo>
                    <a:pt x="2721685" y="902203"/>
                    <a:pt x="2729754" y="894133"/>
                    <a:pt x="2739709" y="894133"/>
                  </a:cubicBezTo>
                  <a:close/>
                  <a:moveTo>
                    <a:pt x="360487" y="894133"/>
                  </a:moveTo>
                  <a:cubicBezTo>
                    <a:pt x="370442" y="894133"/>
                    <a:pt x="378512" y="902203"/>
                    <a:pt x="378512" y="912157"/>
                  </a:cubicBezTo>
                  <a:cubicBezTo>
                    <a:pt x="378512" y="922112"/>
                    <a:pt x="370442" y="930182"/>
                    <a:pt x="360487" y="930182"/>
                  </a:cubicBezTo>
                  <a:cubicBezTo>
                    <a:pt x="350533" y="930182"/>
                    <a:pt x="342463" y="922112"/>
                    <a:pt x="342463" y="912157"/>
                  </a:cubicBezTo>
                  <a:cubicBezTo>
                    <a:pt x="342463" y="902203"/>
                    <a:pt x="350533" y="894133"/>
                    <a:pt x="360487" y="894133"/>
                  </a:cubicBezTo>
                  <a:close/>
                  <a:moveTo>
                    <a:pt x="1093480" y="888125"/>
                  </a:moveTo>
                  <a:cubicBezTo>
                    <a:pt x="1103435" y="888125"/>
                    <a:pt x="1111505" y="896195"/>
                    <a:pt x="1111505" y="906150"/>
                  </a:cubicBezTo>
                  <a:cubicBezTo>
                    <a:pt x="1111505" y="916104"/>
                    <a:pt x="1103435" y="924174"/>
                    <a:pt x="1093480" y="924174"/>
                  </a:cubicBezTo>
                  <a:cubicBezTo>
                    <a:pt x="1083526" y="924174"/>
                    <a:pt x="1075456" y="916104"/>
                    <a:pt x="1075456" y="906150"/>
                  </a:cubicBezTo>
                  <a:cubicBezTo>
                    <a:pt x="1075456" y="896195"/>
                    <a:pt x="1083526" y="888125"/>
                    <a:pt x="1093480" y="888125"/>
                  </a:cubicBezTo>
                  <a:close/>
                  <a:moveTo>
                    <a:pt x="3707019" y="882116"/>
                  </a:moveTo>
                  <a:cubicBezTo>
                    <a:pt x="3716974" y="882116"/>
                    <a:pt x="3725044" y="890185"/>
                    <a:pt x="3725044" y="900140"/>
                  </a:cubicBezTo>
                  <a:cubicBezTo>
                    <a:pt x="3725044" y="910095"/>
                    <a:pt x="3716974" y="918165"/>
                    <a:pt x="3707019" y="918165"/>
                  </a:cubicBezTo>
                  <a:cubicBezTo>
                    <a:pt x="3697064" y="918165"/>
                    <a:pt x="3688994" y="910095"/>
                    <a:pt x="3688994" y="900140"/>
                  </a:cubicBezTo>
                  <a:cubicBezTo>
                    <a:pt x="3688994" y="890185"/>
                    <a:pt x="3697064" y="882116"/>
                    <a:pt x="3707019" y="882116"/>
                  </a:cubicBezTo>
                  <a:close/>
                  <a:moveTo>
                    <a:pt x="1742358" y="882116"/>
                  </a:moveTo>
                  <a:cubicBezTo>
                    <a:pt x="1752313" y="882116"/>
                    <a:pt x="1760383" y="890185"/>
                    <a:pt x="1760383" y="900140"/>
                  </a:cubicBezTo>
                  <a:cubicBezTo>
                    <a:pt x="1760383" y="910095"/>
                    <a:pt x="1752313" y="918165"/>
                    <a:pt x="1742358" y="918165"/>
                  </a:cubicBezTo>
                  <a:cubicBezTo>
                    <a:pt x="1732404" y="918165"/>
                    <a:pt x="1724334" y="910095"/>
                    <a:pt x="1724334" y="900140"/>
                  </a:cubicBezTo>
                  <a:cubicBezTo>
                    <a:pt x="1724334" y="890185"/>
                    <a:pt x="1732404" y="882116"/>
                    <a:pt x="1742358" y="882116"/>
                  </a:cubicBezTo>
                  <a:close/>
                  <a:moveTo>
                    <a:pt x="757024" y="876108"/>
                  </a:moveTo>
                  <a:cubicBezTo>
                    <a:pt x="766979" y="876108"/>
                    <a:pt x="775049" y="884178"/>
                    <a:pt x="775049" y="894132"/>
                  </a:cubicBezTo>
                  <a:cubicBezTo>
                    <a:pt x="775049" y="904087"/>
                    <a:pt x="766979" y="912157"/>
                    <a:pt x="757024" y="912157"/>
                  </a:cubicBezTo>
                  <a:cubicBezTo>
                    <a:pt x="747070" y="912157"/>
                    <a:pt x="739000" y="904087"/>
                    <a:pt x="739000" y="894132"/>
                  </a:cubicBezTo>
                  <a:cubicBezTo>
                    <a:pt x="739000" y="884178"/>
                    <a:pt x="747070" y="876108"/>
                    <a:pt x="757024" y="876108"/>
                  </a:cubicBezTo>
                  <a:close/>
                  <a:moveTo>
                    <a:pt x="6104265" y="870100"/>
                  </a:moveTo>
                  <a:cubicBezTo>
                    <a:pt x="6114220" y="870100"/>
                    <a:pt x="6122290" y="878170"/>
                    <a:pt x="6122290" y="888124"/>
                  </a:cubicBezTo>
                  <a:cubicBezTo>
                    <a:pt x="6122290" y="898079"/>
                    <a:pt x="6114220" y="906149"/>
                    <a:pt x="6104265" y="906149"/>
                  </a:cubicBezTo>
                  <a:cubicBezTo>
                    <a:pt x="6094310" y="906149"/>
                    <a:pt x="6086241" y="898079"/>
                    <a:pt x="6086241" y="888124"/>
                  </a:cubicBezTo>
                  <a:cubicBezTo>
                    <a:pt x="6086241" y="878170"/>
                    <a:pt x="6094310" y="870100"/>
                    <a:pt x="6104265" y="870100"/>
                  </a:cubicBezTo>
                  <a:close/>
                  <a:moveTo>
                    <a:pt x="474642" y="870100"/>
                  </a:moveTo>
                  <a:cubicBezTo>
                    <a:pt x="484597" y="870100"/>
                    <a:pt x="492667" y="878170"/>
                    <a:pt x="492667" y="888124"/>
                  </a:cubicBezTo>
                  <a:cubicBezTo>
                    <a:pt x="492667" y="898079"/>
                    <a:pt x="484597" y="906149"/>
                    <a:pt x="474642" y="906149"/>
                  </a:cubicBezTo>
                  <a:cubicBezTo>
                    <a:pt x="464688" y="906149"/>
                    <a:pt x="456618" y="898079"/>
                    <a:pt x="456618" y="888124"/>
                  </a:cubicBezTo>
                  <a:cubicBezTo>
                    <a:pt x="456618" y="878170"/>
                    <a:pt x="464688" y="870100"/>
                    <a:pt x="474642" y="870100"/>
                  </a:cubicBezTo>
                  <a:close/>
                  <a:moveTo>
                    <a:pt x="3568832" y="864092"/>
                  </a:moveTo>
                  <a:cubicBezTo>
                    <a:pt x="3578787" y="864092"/>
                    <a:pt x="3586857" y="872162"/>
                    <a:pt x="3586857" y="882116"/>
                  </a:cubicBezTo>
                  <a:cubicBezTo>
                    <a:pt x="3586857" y="892071"/>
                    <a:pt x="3578787" y="900141"/>
                    <a:pt x="3568832" y="900141"/>
                  </a:cubicBezTo>
                  <a:cubicBezTo>
                    <a:pt x="3558878" y="900141"/>
                    <a:pt x="3550808" y="892071"/>
                    <a:pt x="3550808" y="882116"/>
                  </a:cubicBezTo>
                  <a:cubicBezTo>
                    <a:pt x="3550808" y="872162"/>
                    <a:pt x="3558878" y="864092"/>
                    <a:pt x="3568832" y="864092"/>
                  </a:cubicBezTo>
                  <a:close/>
                  <a:moveTo>
                    <a:pt x="2980034" y="864092"/>
                  </a:moveTo>
                  <a:cubicBezTo>
                    <a:pt x="2989989" y="864092"/>
                    <a:pt x="2998059" y="872162"/>
                    <a:pt x="2998059" y="882116"/>
                  </a:cubicBezTo>
                  <a:cubicBezTo>
                    <a:pt x="2998059" y="892071"/>
                    <a:pt x="2989989" y="900141"/>
                    <a:pt x="2980034" y="900141"/>
                  </a:cubicBezTo>
                  <a:cubicBezTo>
                    <a:pt x="2970079" y="900141"/>
                    <a:pt x="2962010" y="892071"/>
                    <a:pt x="2962010" y="882116"/>
                  </a:cubicBezTo>
                  <a:cubicBezTo>
                    <a:pt x="2962010" y="872162"/>
                    <a:pt x="2970079" y="864092"/>
                    <a:pt x="2980034" y="864092"/>
                  </a:cubicBezTo>
                  <a:close/>
                  <a:moveTo>
                    <a:pt x="2012725" y="864092"/>
                  </a:moveTo>
                  <a:cubicBezTo>
                    <a:pt x="2022680" y="864092"/>
                    <a:pt x="2030750" y="872162"/>
                    <a:pt x="2030750" y="882116"/>
                  </a:cubicBezTo>
                  <a:cubicBezTo>
                    <a:pt x="2030750" y="892071"/>
                    <a:pt x="2022680" y="900141"/>
                    <a:pt x="2012725" y="900141"/>
                  </a:cubicBezTo>
                  <a:cubicBezTo>
                    <a:pt x="2002771" y="900141"/>
                    <a:pt x="1994701" y="892071"/>
                    <a:pt x="1994701" y="882116"/>
                  </a:cubicBezTo>
                  <a:cubicBezTo>
                    <a:pt x="1994701" y="872162"/>
                    <a:pt x="2002771" y="864092"/>
                    <a:pt x="2012725" y="864092"/>
                  </a:cubicBezTo>
                  <a:close/>
                  <a:moveTo>
                    <a:pt x="3857222" y="858084"/>
                  </a:moveTo>
                  <a:cubicBezTo>
                    <a:pt x="3867177" y="858084"/>
                    <a:pt x="3875247" y="866154"/>
                    <a:pt x="3875247" y="876109"/>
                  </a:cubicBezTo>
                  <a:cubicBezTo>
                    <a:pt x="3875247" y="886063"/>
                    <a:pt x="3867177" y="894133"/>
                    <a:pt x="3857222" y="894133"/>
                  </a:cubicBezTo>
                  <a:cubicBezTo>
                    <a:pt x="3847267" y="894133"/>
                    <a:pt x="3839197" y="886063"/>
                    <a:pt x="3839197" y="876109"/>
                  </a:cubicBezTo>
                  <a:cubicBezTo>
                    <a:pt x="3839197" y="866154"/>
                    <a:pt x="3847267" y="858084"/>
                    <a:pt x="3857222" y="858084"/>
                  </a:cubicBezTo>
                  <a:close/>
                  <a:moveTo>
                    <a:pt x="1387878" y="858084"/>
                  </a:moveTo>
                  <a:cubicBezTo>
                    <a:pt x="1397833" y="858084"/>
                    <a:pt x="1405903" y="866154"/>
                    <a:pt x="1405903" y="876109"/>
                  </a:cubicBezTo>
                  <a:cubicBezTo>
                    <a:pt x="1405903" y="886063"/>
                    <a:pt x="1397833" y="894133"/>
                    <a:pt x="1387878" y="894133"/>
                  </a:cubicBezTo>
                  <a:cubicBezTo>
                    <a:pt x="1377924" y="894133"/>
                    <a:pt x="1369854" y="886063"/>
                    <a:pt x="1369854" y="876109"/>
                  </a:cubicBezTo>
                  <a:cubicBezTo>
                    <a:pt x="1369854" y="866154"/>
                    <a:pt x="1377924" y="858084"/>
                    <a:pt x="1387878" y="858084"/>
                  </a:cubicBezTo>
                  <a:close/>
                  <a:moveTo>
                    <a:pt x="973317" y="852076"/>
                  </a:moveTo>
                  <a:cubicBezTo>
                    <a:pt x="983272" y="852076"/>
                    <a:pt x="991342" y="860145"/>
                    <a:pt x="991342" y="870100"/>
                  </a:cubicBezTo>
                  <a:cubicBezTo>
                    <a:pt x="991342" y="880055"/>
                    <a:pt x="983272" y="888125"/>
                    <a:pt x="973317" y="888125"/>
                  </a:cubicBezTo>
                  <a:cubicBezTo>
                    <a:pt x="963363" y="888125"/>
                    <a:pt x="955293" y="880055"/>
                    <a:pt x="955293" y="870100"/>
                  </a:cubicBezTo>
                  <a:cubicBezTo>
                    <a:pt x="955293" y="860145"/>
                    <a:pt x="963363" y="852076"/>
                    <a:pt x="973317" y="852076"/>
                  </a:cubicBezTo>
                  <a:close/>
                  <a:moveTo>
                    <a:pt x="228308" y="852076"/>
                  </a:moveTo>
                  <a:cubicBezTo>
                    <a:pt x="238263" y="852076"/>
                    <a:pt x="246333" y="860145"/>
                    <a:pt x="246333" y="870100"/>
                  </a:cubicBezTo>
                  <a:cubicBezTo>
                    <a:pt x="246333" y="880055"/>
                    <a:pt x="238263" y="888125"/>
                    <a:pt x="228308" y="888125"/>
                  </a:cubicBezTo>
                  <a:cubicBezTo>
                    <a:pt x="218354" y="888125"/>
                    <a:pt x="210284" y="880055"/>
                    <a:pt x="210284" y="870100"/>
                  </a:cubicBezTo>
                  <a:cubicBezTo>
                    <a:pt x="210284" y="860145"/>
                    <a:pt x="218354" y="852076"/>
                    <a:pt x="228308" y="852076"/>
                  </a:cubicBezTo>
                  <a:close/>
                  <a:moveTo>
                    <a:pt x="3196327" y="846068"/>
                  </a:moveTo>
                  <a:cubicBezTo>
                    <a:pt x="3206282" y="846068"/>
                    <a:pt x="3214352" y="854138"/>
                    <a:pt x="3214352" y="864092"/>
                  </a:cubicBezTo>
                  <a:cubicBezTo>
                    <a:pt x="3214352" y="874047"/>
                    <a:pt x="3206282" y="882117"/>
                    <a:pt x="3196327" y="882117"/>
                  </a:cubicBezTo>
                  <a:cubicBezTo>
                    <a:pt x="3186372" y="882117"/>
                    <a:pt x="3178302" y="874047"/>
                    <a:pt x="3178302" y="864092"/>
                  </a:cubicBezTo>
                  <a:cubicBezTo>
                    <a:pt x="3178302" y="854138"/>
                    <a:pt x="3186372" y="846068"/>
                    <a:pt x="3196327" y="846068"/>
                  </a:cubicBezTo>
                  <a:close/>
                  <a:moveTo>
                    <a:pt x="6218419" y="840059"/>
                  </a:moveTo>
                  <a:cubicBezTo>
                    <a:pt x="6228374" y="840059"/>
                    <a:pt x="6236444" y="848129"/>
                    <a:pt x="6236444" y="858083"/>
                  </a:cubicBezTo>
                  <a:cubicBezTo>
                    <a:pt x="6236444" y="868038"/>
                    <a:pt x="6228374" y="876108"/>
                    <a:pt x="6218419" y="876108"/>
                  </a:cubicBezTo>
                  <a:cubicBezTo>
                    <a:pt x="6208464" y="876108"/>
                    <a:pt x="6200395" y="868038"/>
                    <a:pt x="6200395" y="858083"/>
                  </a:cubicBezTo>
                  <a:cubicBezTo>
                    <a:pt x="6200395" y="848129"/>
                    <a:pt x="6208464" y="840059"/>
                    <a:pt x="6218419" y="840059"/>
                  </a:cubicBezTo>
                  <a:close/>
                  <a:moveTo>
                    <a:pt x="5978094" y="834051"/>
                  </a:moveTo>
                  <a:cubicBezTo>
                    <a:pt x="5988049" y="834051"/>
                    <a:pt x="5996119" y="842121"/>
                    <a:pt x="5996119" y="852075"/>
                  </a:cubicBezTo>
                  <a:cubicBezTo>
                    <a:pt x="5996119" y="862030"/>
                    <a:pt x="5988049" y="870100"/>
                    <a:pt x="5978094" y="870100"/>
                  </a:cubicBezTo>
                  <a:cubicBezTo>
                    <a:pt x="5968139" y="870100"/>
                    <a:pt x="5960070" y="862030"/>
                    <a:pt x="5960070" y="852075"/>
                  </a:cubicBezTo>
                  <a:cubicBezTo>
                    <a:pt x="5960070" y="842121"/>
                    <a:pt x="5968139" y="834051"/>
                    <a:pt x="5978094" y="834051"/>
                  </a:cubicBezTo>
                  <a:close/>
                  <a:moveTo>
                    <a:pt x="2198977" y="834051"/>
                  </a:moveTo>
                  <a:cubicBezTo>
                    <a:pt x="2208932" y="834051"/>
                    <a:pt x="2217002" y="842121"/>
                    <a:pt x="2217002" y="852075"/>
                  </a:cubicBezTo>
                  <a:cubicBezTo>
                    <a:pt x="2217002" y="862030"/>
                    <a:pt x="2208932" y="870100"/>
                    <a:pt x="2198977" y="870100"/>
                  </a:cubicBezTo>
                  <a:cubicBezTo>
                    <a:pt x="2189023" y="870100"/>
                    <a:pt x="2180953" y="862030"/>
                    <a:pt x="2180953" y="852075"/>
                  </a:cubicBezTo>
                  <a:cubicBezTo>
                    <a:pt x="2180953" y="842121"/>
                    <a:pt x="2189023" y="834051"/>
                    <a:pt x="2198977" y="834051"/>
                  </a:cubicBezTo>
                  <a:close/>
                  <a:moveTo>
                    <a:pt x="1622196" y="834051"/>
                  </a:moveTo>
                  <a:cubicBezTo>
                    <a:pt x="1632151" y="834051"/>
                    <a:pt x="1640221" y="842121"/>
                    <a:pt x="1640221" y="852075"/>
                  </a:cubicBezTo>
                  <a:cubicBezTo>
                    <a:pt x="1640221" y="862030"/>
                    <a:pt x="1632151" y="870100"/>
                    <a:pt x="1622196" y="870100"/>
                  </a:cubicBezTo>
                  <a:cubicBezTo>
                    <a:pt x="1612242" y="870100"/>
                    <a:pt x="1604172" y="862030"/>
                    <a:pt x="1604172" y="852075"/>
                  </a:cubicBezTo>
                  <a:cubicBezTo>
                    <a:pt x="1604172" y="842121"/>
                    <a:pt x="1612242" y="834051"/>
                    <a:pt x="1622196" y="834051"/>
                  </a:cubicBezTo>
                  <a:close/>
                  <a:moveTo>
                    <a:pt x="1201626" y="834051"/>
                  </a:moveTo>
                  <a:cubicBezTo>
                    <a:pt x="1211581" y="834051"/>
                    <a:pt x="1219651" y="842121"/>
                    <a:pt x="1219651" y="852075"/>
                  </a:cubicBezTo>
                  <a:cubicBezTo>
                    <a:pt x="1219651" y="862030"/>
                    <a:pt x="1211581" y="870100"/>
                    <a:pt x="1201626" y="870100"/>
                  </a:cubicBezTo>
                  <a:cubicBezTo>
                    <a:pt x="1191672" y="870100"/>
                    <a:pt x="1183602" y="862030"/>
                    <a:pt x="1183602" y="852075"/>
                  </a:cubicBezTo>
                  <a:cubicBezTo>
                    <a:pt x="1183602" y="842121"/>
                    <a:pt x="1191672" y="834051"/>
                    <a:pt x="1201626" y="834051"/>
                  </a:cubicBezTo>
                  <a:close/>
                  <a:moveTo>
                    <a:pt x="2469343" y="828043"/>
                  </a:moveTo>
                  <a:cubicBezTo>
                    <a:pt x="2479298" y="828043"/>
                    <a:pt x="2487368" y="836113"/>
                    <a:pt x="2487368" y="846068"/>
                  </a:cubicBezTo>
                  <a:cubicBezTo>
                    <a:pt x="2487368" y="856022"/>
                    <a:pt x="2479298" y="864092"/>
                    <a:pt x="2469343" y="864092"/>
                  </a:cubicBezTo>
                  <a:cubicBezTo>
                    <a:pt x="2459388" y="864092"/>
                    <a:pt x="2451319" y="856022"/>
                    <a:pt x="2451319" y="846068"/>
                  </a:cubicBezTo>
                  <a:cubicBezTo>
                    <a:pt x="2451319" y="836113"/>
                    <a:pt x="2459388" y="828043"/>
                    <a:pt x="2469343" y="828043"/>
                  </a:cubicBezTo>
                  <a:close/>
                  <a:moveTo>
                    <a:pt x="3448669" y="822035"/>
                  </a:moveTo>
                  <a:cubicBezTo>
                    <a:pt x="3458624" y="822035"/>
                    <a:pt x="3466694" y="830104"/>
                    <a:pt x="3466694" y="840059"/>
                  </a:cubicBezTo>
                  <a:cubicBezTo>
                    <a:pt x="3466694" y="850014"/>
                    <a:pt x="3458624" y="858084"/>
                    <a:pt x="3448669" y="858084"/>
                  </a:cubicBezTo>
                  <a:cubicBezTo>
                    <a:pt x="3438715" y="858084"/>
                    <a:pt x="3430645" y="850014"/>
                    <a:pt x="3430645" y="840059"/>
                  </a:cubicBezTo>
                  <a:cubicBezTo>
                    <a:pt x="3430645" y="830104"/>
                    <a:pt x="3438715" y="822035"/>
                    <a:pt x="3448669" y="822035"/>
                  </a:cubicBezTo>
                  <a:close/>
                  <a:moveTo>
                    <a:pt x="1874537" y="822035"/>
                  </a:moveTo>
                  <a:cubicBezTo>
                    <a:pt x="1884492" y="822035"/>
                    <a:pt x="1892562" y="830104"/>
                    <a:pt x="1892562" y="840059"/>
                  </a:cubicBezTo>
                  <a:cubicBezTo>
                    <a:pt x="1892562" y="850014"/>
                    <a:pt x="1884492" y="858084"/>
                    <a:pt x="1874537" y="858084"/>
                  </a:cubicBezTo>
                  <a:cubicBezTo>
                    <a:pt x="1864583" y="858084"/>
                    <a:pt x="1856513" y="850014"/>
                    <a:pt x="1856513" y="840059"/>
                  </a:cubicBezTo>
                  <a:cubicBezTo>
                    <a:pt x="1856513" y="830104"/>
                    <a:pt x="1864583" y="822035"/>
                    <a:pt x="1874537" y="822035"/>
                  </a:cubicBezTo>
                  <a:close/>
                  <a:moveTo>
                    <a:pt x="2823823" y="816027"/>
                  </a:moveTo>
                  <a:cubicBezTo>
                    <a:pt x="2833778" y="816027"/>
                    <a:pt x="2841848" y="824097"/>
                    <a:pt x="2841848" y="834051"/>
                  </a:cubicBezTo>
                  <a:cubicBezTo>
                    <a:pt x="2841848" y="844006"/>
                    <a:pt x="2833778" y="852076"/>
                    <a:pt x="2823823" y="852076"/>
                  </a:cubicBezTo>
                  <a:cubicBezTo>
                    <a:pt x="2813868" y="852076"/>
                    <a:pt x="2805799" y="844006"/>
                    <a:pt x="2805799" y="834051"/>
                  </a:cubicBezTo>
                  <a:cubicBezTo>
                    <a:pt x="2805799" y="824097"/>
                    <a:pt x="2813868" y="816027"/>
                    <a:pt x="2823823" y="816027"/>
                  </a:cubicBezTo>
                  <a:close/>
                  <a:moveTo>
                    <a:pt x="2595514" y="816027"/>
                  </a:moveTo>
                  <a:cubicBezTo>
                    <a:pt x="2605469" y="816027"/>
                    <a:pt x="2613539" y="824097"/>
                    <a:pt x="2613539" y="834051"/>
                  </a:cubicBezTo>
                  <a:cubicBezTo>
                    <a:pt x="2613539" y="844006"/>
                    <a:pt x="2605469" y="852076"/>
                    <a:pt x="2595514" y="852076"/>
                  </a:cubicBezTo>
                  <a:cubicBezTo>
                    <a:pt x="2585559" y="852076"/>
                    <a:pt x="2577489" y="844006"/>
                    <a:pt x="2577489" y="834051"/>
                  </a:cubicBezTo>
                  <a:cubicBezTo>
                    <a:pt x="2577489" y="824097"/>
                    <a:pt x="2585559" y="816027"/>
                    <a:pt x="2595514" y="816027"/>
                  </a:cubicBezTo>
                  <a:close/>
                  <a:moveTo>
                    <a:pt x="2307124" y="816027"/>
                  </a:moveTo>
                  <a:cubicBezTo>
                    <a:pt x="2317078" y="816027"/>
                    <a:pt x="2325148" y="824097"/>
                    <a:pt x="2325148" y="834051"/>
                  </a:cubicBezTo>
                  <a:cubicBezTo>
                    <a:pt x="2325148" y="844006"/>
                    <a:pt x="2317078" y="852076"/>
                    <a:pt x="2307124" y="852076"/>
                  </a:cubicBezTo>
                  <a:cubicBezTo>
                    <a:pt x="2297169" y="852076"/>
                    <a:pt x="2289099" y="844006"/>
                    <a:pt x="2289099" y="834051"/>
                  </a:cubicBezTo>
                  <a:cubicBezTo>
                    <a:pt x="2289099" y="824097"/>
                    <a:pt x="2297169" y="816027"/>
                    <a:pt x="2307124" y="816027"/>
                  </a:cubicBezTo>
                  <a:close/>
                  <a:moveTo>
                    <a:pt x="606821" y="816027"/>
                  </a:moveTo>
                  <a:cubicBezTo>
                    <a:pt x="616776" y="816027"/>
                    <a:pt x="624846" y="824097"/>
                    <a:pt x="624846" y="834051"/>
                  </a:cubicBezTo>
                  <a:cubicBezTo>
                    <a:pt x="624846" y="844006"/>
                    <a:pt x="616776" y="852076"/>
                    <a:pt x="606821" y="852076"/>
                  </a:cubicBezTo>
                  <a:cubicBezTo>
                    <a:pt x="596867" y="852076"/>
                    <a:pt x="588797" y="844006"/>
                    <a:pt x="588797" y="834051"/>
                  </a:cubicBezTo>
                  <a:cubicBezTo>
                    <a:pt x="588797" y="824097"/>
                    <a:pt x="596867" y="816027"/>
                    <a:pt x="606821" y="816027"/>
                  </a:cubicBezTo>
                  <a:close/>
                  <a:moveTo>
                    <a:pt x="3292457" y="791994"/>
                  </a:moveTo>
                  <a:cubicBezTo>
                    <a:pt x="3302412" y="791994"/>
                    <a:pt x="3310482" y="800063"/>
                    <a:pt x="3310482" y="810018"/>
                  </a:cubicBezTo>
                  <a:cubicBezTo>
                    <a:pt x="3310482" y="819973"/>
                    <a:pt x="3302412" y="828043"/>
                    <a:pt x="3292457" y="828043"/>
                  </a:cubicBezTo>
                  <a:cubicBezTo>
                    <a:pt x="3282503" y="828043"/>
                    <a:pt x="3274433" y="819973"/>
                    <a:pt x="3274433" y="810018"/>
                  </a:cubicBezTo>
                  <a:cubicBezTo>
                    <a:pt x="3274433" y="800063"/>
                    <a:pt x="3282503" y="791994"/>
                    <a:pt x="3292457" y="791994"/>
                  </a:cubicBezTo>
                  <a:close/>
                  <a:moveTo>
                    <a:pt x="859163" y="791994"/>
                  </a:moveTo>
                  <a:cubicBezTo>
                    <a:pt x="869118" y="791994"/>
                    <a:pt x="877188" y="800063"/>
                    <a:pt x="877188" y="810018"/>
                  </a:cubicBezTo>
                  <a:cubicBezTo>
                    <a:pt x="877188" y="819973"/>
                    <a:pt x="869118" y="828043"/>
                    <a:pt x="859163" y="828043"/>
                  </a:cubicBezTo>
                  <a:cubicBezTo>
                    <a:pt x="849209" y="828043"/>
                    <a:pt x="841139" y="819973"/>
                    <a:pt x="841139" y="810018"/>
                  </a:cubicBezTo>
                  <a:cubicBezTo>
                    <a:pt x="841139" y="800063"/>
                    <a:pt x="849209" y="791994"/>
                    <a:pt x="859163" y="791994"/>
                  </a:cubicBezTo>
                  <a:close/>
                  <a:moveTo>
                    <a:pt x="1297756" y="785986"/>
                  </a:moveTo>
                  <a:cubicBezTo>
                    <a:pt x="1307711" y="785986"/>
                    <a:pt x="1315781" y="794056"/>
                    <a:pt x="1315781" y="804010"/>
                  </a:cubicBezTo>
                  <a:cubicBezTo>
                    <a:pt x="1315781" y="813965"/>
                    <a:pt x="1307711" y="822035"/>
                    <a:pt x="1297756" y="822035"/>
                  </a:cubicBezTo>
                  <a:cubicBezTo>
                    <a:pt x="1287802" y="822035"/>
                    <a:pt x="1279732" y="813965"/>
                    <a:pt x="1279732" y="804010"/>
                  </a:cubicBezTo>
                  <a:cubicBezTo>
                    <a:pt x="1279732" y="794056"/>
                    <a:pt x="1287802" y="785986"/>
                    <a:pt x="1297756" y="785986"/>
                  </a:cubicBezTo>
                  <a:close/>
                  <a:moveTo>
                    <a:pt x="324438" y="785986"/>
                  </a:moveTo>
                  <a:cubicBezTo>
                    <a:pt x="334393" y="785986"/>
                    <a:pt x="342463" y="794056"/>
                    <a:pt x="342463" y="804010"/>
                  </a:cubicBezTo>
                  <a:cubicBezTo>
                    <a:pt x="342463" y="813965"/>
                    <a:pt x="334393" y="822035"/>
                    <a:pt x="324438" y="822035"/>
                  </a:cubicBezTo>
                  <a:cubicBezTo>
                    <a:pt x="314484" y="822035"/>
                    <a:pt x="306414" y="813965"/>
                    <a:pt x="306414" y="804010"/>
                  </a:cubicBezTo>
                  <a:cubicBezTo>
                    <a:pt x="306414" y="794056"/>
                    <a:pt x="314484" y="785986"/>
                    <a:pt x="324438" y="785986"/>
                  </a:cubicBezTo>
                  <a:close/>
                  <a:moveTo>
                    <a:pt x="3755084" y="779978"/>
                  </a:moveTo>
                  <a:cubicBezTo>
                    <a:pt x="3765039" y="779978"/>
                    <a:pt x="3773109" y="788048"/>
                    <a:pt x="3773109" y="798002"/>
                  </a:cubicBezTo>
                  <a:cubicBezTo>
                    <a:pt x="3773109" y="807957"/>
                    <a:pt x="3765039" y="816027"/>
                    <a:pt x="3755084" y="816027"/>
                  </a:cubicBezTo>
                  <a:cubicBezTo>
                    <a:pt x="3745129" y="816027"/>
                    <a:pt x="3737060" y="807957"/>
                    <a:pt x="3737060" y="798002"/>
                  </a:cubicBezTo>
                  <a:cubicBezTo>
                    <a:pt x="3737060" y="788048"/>
                    <a:pt x="3745129" y="779978"/>
                    <a:pt x="3755084" y="779978"/>
                  </a:cubicBezTo>
                  <a:close/>
                  <a:moveTo>
                    <a:pt x="1496026" y="779978"/>
                  </a:moveTo>
                  <a:cubicBezTo>
                    <a:pt x="1505980" y="779978"/>
                    <a:pt x="1514050" y="788048"/>
                    <a:pt x="1514050" y="798002"/>
                  </a:cubicBezTo>
                  <a:cubicBezTo>
                    <a:pt x="1514050" y="807957"/>
                    <a:pt x="1505980" y="816027"/>
                    <a:pt x="1496026" y="816027"/>
                  </a:cubicBezTo>
                  <a:cubicBezTo>
                    <a:pt x="1486071" y="816027"/>
                    <a:pt x="1478001" y="807957"/>
                    <a:pt x="1478001" y="798002"/>
                  </a:cubicBezTo>
                  <a:cubicBezTo>
                    <a:pt x="1478001" y="788048"/>
                    <a:pt x="1486071" y="779978"/>
                    <a:pt x="1496026" y="779978"/>
                  </a:cubicBezTo>
                  <a:close/>
                  <a:moveTo>
                    <a:pt x="3622905" y="767962"/>
                  </a:moveTo>
                  <a:cubicBezTo>
                    <a:pt x="3632860" y="767962"/>
                    <a:pt x="3640930" y="776032"/>
                    <a:pt x="3640930" y="785987"/>
                  </a:cubicBezTo>
                  <a:cubicBezTo>
                    <a:pt x="3640930" y="795941"/>
                    <a:pt x="3632860" y="804011"/>
                    <a:pt x="3622905" y="804011"/>
                  </a:cubicBezTo>
                  <a:cubicBezTo>
                    <a:pt x="3612951" y="804011"/>
                    <a:pt x="3604881" y="795941"/>
                    <a:pt x="3604881" y="785987"/>
                  </a:cubicBezTo>
                  <a:cubicBezTo>
                    <a:pt x="3604881" y="776032"/>
                    <a:pt x="3612951" y="767962"/>
                    <a:pt x="3622905" y="767962"/>
                  </a:cubicBezTo>
                  <a:close/>
                  <a:moveTo>
                    <a:pt x="3112213" y="767962"/>
                  </a:moveTo>
                  <a:cubicBezTo>
                    <a:pt x="3122168" y="767962"/>
                    <a:pt x="3130238" y="776032"/>
                    <a:pt x="3130238" y="785987"/>
                  </a:cubicBezTo>
                  <a:cubicBezTo>
                    <a:pt x="3130238" y="795941"/>
                    <a:pt x="3122168" y="804011"/>
                    <a:pt x="3112213" y="804011"/>
                  </a:cubicBezTo>
                  <a:cubicBezTo>
                    <a:pt x="3102259" y="804011"/>
                    <a:pt x="3094189" y="795941"/>
                    <a:pt x="3094189" y="785987"/>
                  </a:cubicBezTo>
                  <a:cubicBezTo>
                    <a:pt x="3094189" y="776032"/>
                    <a:pt x="3102259" y="767962"/>
                    <a:pt x="3112213" y="767962"/>
                  </a:cubicBezTo>
                  <a:close/>
                  <a:moveTo>
                    <a:pt x="714968" y="767962"/>
                  </a:moveTo>
                  <a:cubicBezTo>
                    <a:pt x="724922" y="767962"/>
                    <a:pt x="732992" y="776032"/>
                    <a:pt x="732992" y="785987"/>
                  </a:cubicBezTo>
                  <a:cubicBezTo>
                    <a:pt x="732992" y="795941"/>
                    <a:pt x="724922" y="804011"/>
                    <a:pt x="714968" y="804011"/>
                  </a:cubicBezTo>
                  <a:cubicBezTo>
                    <a:pt x="705013" y="804011"/>
                    <a:pt x="696943" y="795941"/>
                    <a:pt x="696943" y="785987"/>
                  </a:cubicBezTo>
                  <a:cubicBezTo>
                    <a:pt x="696943" y="776032"/>
                    <a:pt x="705013" y="767962"/>
                    <a:pt x="714968" y="767962"/>
                  </a:cubicBezTo>
                  <a:close/>
                  <a:moveTo>
                    <a:pt x="2986042" y="761954"/>
                  </a:moveTo>
                  <a:cubicBezTo>
                    <a:pt x="2995997" y="761954"/>
                    <a:pt x="3004067" y="770023"/>
                    <a:pt x="3004067" y="779978"/>
                  </a:cubicBezTo>
                  <a:cubicBezTo>
                    <a:pt x="3004067" y="789933"/>
                    <a:pt x="2995997" y="798003"/>
                    <a:pt x="2986042" y="798003"/>
                  </a:cubicBezTo>
                  <a:cubicBezTo>
                    <a:pt x="2976087" y="798003"/>
                    <a:pt x="2968017" y="789933"/>
                    <a:pt x="2968017" y="779978"/>
                  </a:cubicBezTo>
                  <a:cubicBezTo>
                    <a:pt x="2968017" y="770023"/>
                    <a:pt x="2976087" y="761954"/>
                    <a:pt x="2986042" y="761954"/>
                  </a:cubicBezTo>
                  <a:close/>
                  <a:moveTo>
                    <a:pt x="1736351" y="761954"/>
                  </a:moveTo>
                  <a:cubicBezTo>
                    <a:pt x="1746305" y="761954"/>
                    <a:pt x="1754375" y="770023"/>
                    <a:pt x="1754375" y="779978"/>
                  </a:cubicBezTo>
                  <a:cubicBezTo>
                    <a:pt x="1754375" y="789933"/>
                    <a:pt x="1746305" y="798003"/>
                    <a:pt x="1736351" y="798003"/>
                  </a:cubicBezTo>
                  <a:cubicBezTo>
                    <a:pt x="1726396" y="798003"/>
                    <a:pt x="1718326" y="789933"/>
                    <a:pt x="1718326" y="779978"/>
                  </a:cubicBezTo>
                  <a:cubicBezTo>
                    <a:pt x="1718326" y="770023"/>
                    <a:pt x="1726396" y="761954"/>
                    <a:pt x="1736351" y="761954"/>
                  </a:cubicBezTo>
                  <a:close/>
                  <a:moveTo>
                    <a:pt x="5863939" y="755946"/>
                  </a:moveTo>
                  <a:cubicBezTo>
                    <a:pt x="5873894" y="755946"/>
                    <a:pt x="5881964" y="764016"/>
                    <a:pt x="5881964" y="773970"/>
                  </a:cubicBezTo>
                  <a:cubicBezTo>
                    <a:pt x="5881964" y="783925"/>
                    <a:pt x="5873894" y="791995"/>
                    <a:pt x="5863939" y="791995"/>
                  </a:cubicBezTo>
                  <a:cubicBezTo>
                    <a:pt x="5853984" y="791995"/>
                    <a:pt x="5845915" y="783925"/>
                    <a:pt x="5845915" y="773970"/>
                  </a:cubicBezTo>
                  <a:cubicBezTo>
                    <a:pt x="5845915" y="764016"/>
                    <a:pt x="5853984" y="755946"/>
                    <a:pt x="5863939" y="755946"/>
                  </a:cubicBezTo>
                  <a:close/>
                  <a:moveTo>
                    <a:pt x="2685636" y="755946"/>
                  </a:moveTo>
                  <a:cubicBezTo>
                    <a:pt x="2695591" y="755946"/>
                    <a:pt x="2703661" y="764016"/>
                    <a:pt x="2703661" y="773970"/>
                  </a:cubicBezTo>
                  <a:cubicBezTo>
                    <a:pt x="2703661" y="783925"/>
                    <a:pt x="2695591" y="791995"/>
                    <a:pt x="2685636" y="791995"/>
                  </a:cubicBezTo>
                  <a:cubicBezTo>
                    <a:pt x="2675681" y="791995"/>
                    <a:pt x="2667611" y="783925"/>
                    <a:pt x="2667611" y="773970"/>
                  </a:cubicBezTo>
                  <a:cubicBezTo>
                    <a:pt x="2667611" y="764016"/>
                    <a:pt x="2675681" y="755946"/>
                    <a:pt x="2685636" y="755946"/>
                  </a:cubicBezTo>
                  <a:close/>
                  <a:moveTo>
                    <a:pt x="1069447" y="755946"/>
                  </a:moveTo>
                  <a:cubicBezTo>
                    <a:pt x="1079402" y="755946"/>
                    <a:pt x="1087472" y="764016"/>
                    <a:pt x="1087472" y="773970"/>
                  </a:cubicBezTo>
                  <a:cubicBezTo>
                    <a:pt x="1087472" y="783925"/>
                    <a:pt x="1079402" y="791995"/>
                    <a:pt x="1069447" y="791995"/>
                  </a:cubicBezTo>
                  <a:cubicBezTo>
                    <a:pt x="1059493" y="791995"/>
                    <a:pt x="1051423" y="783925"/>
                    <a:pt x="1051423" y="773970"/>
                  </a:cubicBezTo>
                  <a:cubicBezTo>
                    <a:pt x="1051423" y="764016"/>
                    <a:pt x="1059493" y="755946"/>
                    <a:pt x="1069447" y="755946"/>
                  </a:cubicBezTo>
                  <a:close/>
                  <a:moveTo>
                    <a:pt x="3935328" y="749937"/>
                  </a:moveTo>
                  <a:cubicBezTo>
                    <a:pt x="3945283" y="749937"/>
                    <a:pt x="3953353" y="758007"/>
                    <a:pt x="3953353" y="767961"/>
                  </a:cubicBezTo>
                  <a:cubicBezTo>
                    <a:pt x="3953353" y="777916"/>
                    <a:pt x="3945283" y="785986"/>
                    <a:pt x="3935328" y="785986"/>
                  </a:cubicBezTo>
                  <a:cubicBezTo>
                    <a:pt x="3925373" y="785986"/>
                    <a:pt x="3917304" y="777916"/>
                    <a:pt x="3917304" y="767961"/>
                  </a:cubicBezTo>
                  <a:cubicBezTo>
                    <a:pt x="3917304" y="758007"/>
                    <a:pt x="3925373" y="749937"/>
                    <a:pt x="3935328" y="749937"/>
                  </a:cubicBezTo>
                  <a:close/>
                  <a:moveTo>
                    <a:pt x="2114863" y="749937"/>
                  </a:moveTo>
                  <a:cubicBezTo>
                    <a:pt x="2124818" y="749937"/>
                    <a:pt x="2132888" y="758007"/>
                    <a:pt x="2132888" y="767961"/>
                  </a:cubicBezTo>
                  <a:cubicBezTo>
                    <a:pt x="2132888" y="777916"/>
                    <a:pt x="2124818" y="785986"/>
                    <a:pt x="2114863" y="785986"/>
                  </a:cubicBezTo>
                  <a:cubicBezTo>
                    <a:pt x="2104909" y="785986"/>
                    <a:pt x="2096839" y="777916"/>
                    <a:pt x="2096839" y="767961"/>
                  </a:cubicBezTo>
                  <a:cubicBezTo>
                    <a:pt x="2096839" y="758007"/>
                    <a:pt x="2104909" y="749937"/>
                    <a:pt x="2114863" y="749937"/>
                  </a:cubicBezTo>
                  <a:close/>
                  <a:moveTo>
                    <a:pt x="2006717" y="749937"/>
                  </a:moveTo>
                  <a:cubicBezTo>
                    <a:pt x="2016671" y="749937"/>
                    <a:pt x="2024741" y="758007"/>
                    <a:pt x="2024741" y="767961"/>
                  </a:cubicBezTo>
                  <a:cubicBezTo>
                    <a:pt x="2024741" y="777916"/>
                    <a:pt x="2016671" y="785986"/>
                    <a:pt x="2006717" y="785986"/>
                  </a:cubicBezTo>
                  <a:cubicBezTo>
                    <a:pt x="1996762" y="785986"/>
                    <a:pt x="1988692" y="777916"/>
                    <a:pt x="1988692" y="767961"/>
                  </a:cubicBezTo>
                  <a:cubicBezTo>
                    <a:pt x="1988692" y="758007"/>
                    <a:pt x="1996762" y="749937"/>
                    <a:pt x="2006717" y="749937"/>
                  </a:cubicBezTo>
                  <a:close/>
                  <a:moveTo>
                    <a:pt x="6116281" y="737921"/>
                  </a:moveTo>
                  <a:cubicBezTo>
                    <a:pt x="6126236" y="737921"/>
                    <a:pt x="6134306" y="745991"/>
                    <a:pt x="6134306" y="755946"/>
                  </a:cubicBezTo>
                  <a:cubicBezTo>
                    <a:pt x="6134306" y="765900"/>
                    <a:pt x="6126236" y="773970"/>
                    <a:pt x="6116281" y="773970"/>
                  </a:cubicBezTo>
                  <a:cubicBezTo>
                    <a:pt x="6106327" y="773970"/>
                    <a:pt x="6098257" y="765900"/>
                    <a:pt x="6098257" y="755946"/>
                  </a:cubicBezTo>
                  <a:cubicBezTo>
                    <a:pt x="6098257" y="745991"/>
                    <a:pt x="6106327" y="737921"/>
                    <a:pt x="6116281" y="737921"/>
                  </a:cubicBezTo>
                  <a:close/>
                  <a:moveTo>
                    <a:pt x="2397246" y="737921"/>
                  </a:moveTo>
                  <a:cubicBezTo>
                    <a:pt x="2407200" y="737921"/>
                    <a:pt x="2415270" y="745991"/>
                    <a:pt x="2415270" y="755946"/>
                  </a:cubicBezTo>
                  <a:cubicBezTo>
                    <a:pt x="2415270" y="765900"/>
                    <a:pt x="2407200" y="773970"/>
                    <a:pt x="2397246" y="773970"/>
                  </a:cubicBezTo>
                  <a:cubicBezTo>
                    <a:pt x="2387291" y="773970"/>
                    <a:pt x="2379221" y="765900"/>
                    <a:pt x="2379221" y="755946"/>
                  </a:cubicBezTo>
                  <a:cubicBezTo>
                    <a:pt x="2379221" y="745991"/>
                    <a:pt x="2387291" y="737921"/>
                    <a:pt x="2397246" y="737921"/>
                  </a:cubicBezTo>
                  <a:close/>
                  <a:moveTo>
                    <a:pt x="522707" y="731913"/>
                  </a:moveTo>
                  <a:cubicBezTo>
                    <a:pt x="532662" y="731913"/>
                    <a:pt x="540732" y="739982"/>
                    <a:pt x="540732" y="749937"/>
                  </a:cubicBezTo>
                  <a:cubicBezTo>
                    <a:pt x="540732" y="759892"/>
                    <a:pt x="532662" y="767962"/>
                    <a:pt x="522707" y="767962"/>
                  </a:cubicBezTo>
                  <a:cubicBezTo>
                    <a:pt x="512753" y="767962"/>
                    <a:pt x="504683" y="759892"/>
                    <a:pt x="504683" y="749937"/>
                  </a:cubicBezTo>
                  <a:cubicBezTo>
                    <a:pt x="504683" y="739982"/>
                    <a:pt x="512753" y="731913"/>
                    <a:pt x="522707" y="731913"/>
                  </a:cubicBezTo>
                  <a:close/>
                  <a:moveTo>
                    <a:pt x="414561" y="731913"/>
                  </a:moveTo>
                  <a:cubicBezTo>
                    <a:pt x="424516" y="731913"/>
                    <a:pt x="432586" y="739982"/>
                    <a:pt x="432586" y="749937"/>
                  </a:cubicBezTo>
                  <a:cubicBezTo>
                    <a:pt x="432586" y="759892"/>
                    <a:pt x="424516" y="767962"/>
                    <a:pt x="414561" y="767962"/>
                  </a:cubicBezTo>
                  <a:cubicBezTo>
                    <a:pt x="404607" y="767962"/>
                    <a:pt x="396537" y="759892"/>
                    <a:pt x="396537" y="749937"/>
                  </a:cubicBezTo>
                  <a:cubicBezTo>
                    <a:pt x="396537" y="739982"/>
                    <a:pt x="404607" y="731913"/>
                    <a:pt x="414561" y="731913"/>
                  </a:cubicBezTo>
                  <a:close/>
                  <a:moveTo>
                    <a:pt x="6236444" y="725905"/>
                  </a:moveTo>
                  <a:cubicBezTo>
                    <a:pt x="6246399" y="725905"/>
                    <a:pt x="6254469" y="733975"/>
                    <a:pt x="6254469" y="743929"/>
                  </a:cubicBezTo>
                  <a:cubicBezTo>
                    <a:pt x="6254469" y="753884"/>
                    <a:pt x="6246399" y="761954"/>
                    <a:pt x="6236444" y="761954"/>
                  </a:cubicBezTo>
                  <a:cubicBezTo>
                    <a:pt x="6226490" y="761954"/>
                    <a:pt x="6218420" y="753884"/>
                    <a:pt x="6218420" y="743929"/>
                  </a:cubicBezTo>
                  <a:cubicBezTo>
                    <a:pt x="6218420" y="733975"/>
                    <a:pt x="6226490" y="725905"/>
                    <a:pt x="6236444" y="725905"/>
                  </a:cubicBezTo>
                  <a:close/>
                  <a:moveTo>
                    <a:pt x="961301" y="725905"/>
                  </a:moveTo>
                  <a:cubicBezTo>
                    <a:pt x="971256" y="725905"/>
                    <a:pt x="979326" y="733975"/>
                    <a:pt x="979326" y="743929"/>
                  </a:cubicBezTo>
                  <a:cubicBezTo>
                    <a:pt x="979326" y="753884"/>
                    <a:pt x="971256" y="761954"/>
                    <a:pt x="961301" y="761954"/>
                  </a:cubicBezTo>
                  <a:cubicBezTo>
                    <a:pt x="951347" y="761954"/>
                    <a:pt x="943277" y="753884"/>
                    <a:pt x="943277" y="743929"/>
                  </a:cubicBezTo>
                  <a:cubicBezTo>
                    <a:pt x="943277" y="733975"/>
                    <a:pt x="951347" y="725905"/>
                    <a:pt x="961301" y="725905"/>
                  </a:cubicBezTo>
                  <a:close/>
                  <a:moveTo>
                    <a:pt x="3400604" y="719897"/>
                  </a:moveTo>
                  <a:cubicBezTo>
                    <a:pt x="3410559" y="719897"/>
                    <a:pt x="3418629" y="727967"/>
                    <a:pt x="3418629" y="737921"/>
                  </a:cubicBezTo>
                  <a:cubicBezTo>
                    <a:pt x="3418629" y="747876"/>
                    <a:pt x="3410559" y="755946"/>
                    <a:pt x="3400604" y="755946"/>
                  </a:cubicBezTo>
                  <a:cubicBezTo>
                    <a:pt x="3390649" y="755946"/>
                    <a:pt x="3382580" y="747876"/>
                    <a:pt x="3382580" y="737921"/>
                  </a:cubicBezTo>
                  <a:cubicBezTo>
                    <a:pt x="3382580" y="727967"/>
                    <a:pt x="3390649" y="719897"/>
                    <a:pt x="3400604" y="719897"/>
                  </a:cubicBezTo>
                  <a:close/>
                  <a:moveTo>
                    <a:pt x="6002126" y="713889"/>
                  </a:moveTo>
                  <a:cubicBezTo>
                    <a:pt x="6012081" y="713889"/>
                    <a:pt x="6020151" y="721959"/>
                    <a:pt x="6020151" y="731913"/>
                  </a:cubicBezTo>
                  <a:cubicBezTo>
                    <a:pt x="6020151" y="741868"/>
                    <a:pt x="6012081" y="749938"/>
                    <a:pt x="6002126" y="749938"/>
                  </a:cubicBezTo>
                  <a:cubicBezTo>
                    <a:pt x="5992172" y="749938"/>
                    <a:pt x="5984102" y="741868"/>
                    <a:pt x="5984102" y="731913"/>
                  </a:cubicBezTo>
                  <a:cubicBezTo>
                    <a:pt x="5984102" y="721959"/>
                    <a:pt x="5992172" y="713889"/>
                    <a:pt x="6002126" y="713889"/>
                  </a:cubicBezTo>
                  <a:close/>
                  <a:moveTo>
                    <a:pt x="1610179" y="713889"/>
                  </a:moveTo>
                  <a:cubicBezTo>
                    <a:pt x="1620134" y="713889"/>
                    <a:pt x="1628204" y="721959"/>
                    <a:pt x="1628204" y="731913"/>
                  </a:cubicBezTo>
                  <a:cubicBezTo>
                    <a:pt x="1628204" y="741868"/>
                    <a:pt x="1620134" y="749938"/>
                    <a:pt x="1610179" y="749938"/>
                  </a:cubicBezTo>
                  <a:cubicBezTo>
                    <a:pt x="1600225" y="749938"/>
                    <a:pt x="1592155" y="741868"/>
                    <a:pt x="1592155" y="731913"/>
                  </a:cubicBezTo>
                  <a:cubicBezTo>
                    <a:pt x="1592155" y="721959"/>
                    <a:pt x="1600225" y="713889"/>
                    <a:pt x="1610179" y="713889"/>
                  </a:cubicBezTo>
                  <a:close/>
                  <a:moveTo>
                    <a:pt x="3520767" y="707881"/>
                  </a:moveTo>
                  <a:cubicBezTo>
                    <a:pt x="3530722" y="707881"/>
                    <a:pt x="3538792" y="715951"/>
                    <a:pt x="3538792" y="725906"/>
                  </a:cubicBezTo>
                  <a:cubicBezTo>
                    <a:pt x="3538792" y="735860"/>
                    <a:pt x="3530722" y="743930"/>
                    <a:pt x="3520767" y="743930"/>
                  </a:cubicBezTo>
                  <a:cubicBezTo>
                    <a:pt x="3510812" y="743930"/>
                    <a:pt x="3502743" y="735860"/>
                    <a:pt x="3502743" y="725906"/>
                  </a:cubicBezTo>
                  <a:cubicBezTo>
                    <a:pt x="3502743" y="715951"/>
                    <a:pt x="3510812" y="707881"/>
                    <a:pt x="3520767" y="707881"/>
                  </a:cubicBezTo>
                  <a:close/>
                  <a:moveTo>
                    <a:pt x="2895920" y="701872"/>
                  </a:moveTo>
                  <a:cubicBezTo>
                    <a:pt x="2905875" y="701872"/>
                    <a:pt x="2913945" y="709941"/>
                    <a:pt x="2913945" y="719896"/>
                  </a:cubicBezTo>
                  <a:cubicBezTo>
                    <a:pt x="2913945" y="729851"/>
                    <a:pt x="2905875" y="737921"/>
                    <a:pt x="2895920" y="737921"/>
                  </a:cubicBezTo>
                  <a:cubicBezTo>
                    <a:pt x="2885965" y="737921"/>
                    <a:pt x="2877895" y="729851"/>
                    <a:pt x="2877895" y="719896"/>
                  </a:cubicBezTo>
                  <a:cubicBezTo>
                    <a:pt x="2877895" y="709941"/>
                    <a:pt x="2885965" y="701872"/>
                    <a:pt x="2895920" y="701872"/>
                  </a:cubicBezTo>
                  <a:close/>
                  <a:moveTo>
                    <a:pt x="2547449" y="701872"/>
                  </a:moveTo>
                  <a:cubicBezTo>
                    <a:pt x="2557404" y="701872"/>
                    <a:pt x="2565474" y="709941"/>
                    <a:pt x="2565474" y="719896"/>
                  </a:cubicBezTo>
                  <a:cubicBezTo>
                    <a:pt x="2565474" y="729851"/>
                    <a:pt x="2557404" y="737921"/>
                    <a:pt x="2547449" y="737921"/>
                  </a:cubicBezTo>
                  <a:cubicBezTo>
                    <a:pt x="2537495" y="737921"/>
                    <a:pt x="2529425" y="729851"/>
                    <a:pt x="2529425" y="719896"/>
                  </a:cubicBezTo>
                  <a:cubicBezTo>
                    <a:pt x="2529425" y="709941"/>
                    <a:pt x="2537495" y="701872"/>
                    <a:pt x="2547449" y="701872"/>
                  </a:cubicBezTo>
                  <a:close/>
                  <a:moveTo>
                    <a:pt x="2241034" y="701872"/>
                  </a:moveTo>
                  <a:cubicBezTo>
                    <a:pt x="2250989" y="701872"/>
                    <a:pt x="2259059" y="709941"/>
                    <a:pt x="2259059" y="719896"/>
                  </a:cubicBezTo>
                  <a:cubicBezTo>
                    <a:pt x="2259059" y="729851"/>
                    <a:pt x="2250989" y="737921"/>
                    <a:pt x="2241034" y="737921"/>
                  </a:cubicBezTo>
                  <a:cubicBezTo>
                    <a:pt x="2231080" y="737921"/>
                    <a:pt x="2223010" y="729851"/>
                    <a:pt x="2223010" y="719896"/>
                  </a:cubicBezTo>
                  <a:cubicBezTo>
                    <a:pt x="2223010" y="709941"/>
                    <a:pt x="2231080" y="701872"/>
                    <a:pt x="2241034" y="701872"/>
                  </a:cubicBezTo>
                  <a:close/>
                  <a:moveTo>
                    <a:pt x="1411911" y="701872"/>
                  </a:moveTo>
                  <a:cubicBezTo>
                    <a:pt x="1421866" y="701872"/>
                    <a:pt x="1429936" y="709941"/>
                    <a:pt x="1429936" y="719896"/>
                  </a:cubicBezTo>
                  <a:cubicBezTo>
                    <a:pt x="1429936" y="729851"/>
                    <a:pt x="1421866" y="737921"/>
                    <a:pt x="1411911" y="737921"/>
                  </a:cubicBezTo>
                  <a:cubicBezTo>
                    <a:pt x="1401957" y="737921"/>
                    <a:pt x="1393887" y="729851"/>
                    <a:pt x="1393887" y="719896"/>
                  </a:cubicBezTo>
                  <a:cubicBezTo>
                    <a:pt x="1393887" y="709941"/>
                    <a:pt x="1401957" y="701872"/>
                    <a:pt x="1411911" y="701872"/>
                  </a:cubicBezTo>
                  <a:close/>
                  <a:moveTo>
                    <a:pt x="1165578" y="701872"/>
                  </a:moveTo>
                  <a:cubicBezTo>
                    <a:pt x="1175532" y="701872"/>
                    <a:pt x="1183602" y="709941"/>
                    <a:pt x="1183602" y="719896"/>
                  </a:cubicBezTo>
                  <a:cubicBezTo>
                    <a:pt x="1183602" y="729851"/>
                    <a:pt x="1175532" y="737921"/>
                    <a:pt x="1165578" y="737921"/>
                  </a:cubicBezTo>
                  <a:cubicBezTo>
                    <a:pt x="1155623" y="737921"/>
                    <a:pt x="1147553" y="729851"/>
                    <a:pt x="1147553" y="719896"/>
                  </a:cubicBezTo>
                  <a:cubicBezTo>
                    <a:pt x="1147553" y="709941"/>
                    <a:pt x="1155623" y="701872"/>
                    <a:pt x="1165578" y="701872"/>
                  </a:cubicBezTo>
                  <a:close/>
                  <a:moveTo>
                    <a:pt x="168227" y="701872"/>
                  </a:moveTo>
                  <a:cubicBezTo>
                    <a:pt x="178182" y="701872"/>
                    <a:pt x="186252" y="709941"/>
                    <a:pt x="186252" y="719896"/>
                  </a:cubicBezTo>
                  <a:cubicBezTo>
                    <a:pt x="186252" y="729851"/>
                    <a:pt x="178182" y="737921"/>
                    <a:pt x="168227" y="737921"/>
                  </a:cubicBezTo>
                  <a:cubicBezTo>
                    <a:pt x="158273" y="737921"/>
                    <a:pt x="150203" y="729851"/>
                    <a:pt x="150203" y="719896"/>
                  </a:cubicBezTo>
                  <a:cubicBezTo>
                    <a:pt x="150203" y="709941"/>
                    <a:pt x="158273" y="701872"/>
                    <a:pt x="168227" y="701872"/>
                  </a:cubicBezTo>
                  <a:close/>
                  <a:moveTo>
                    <a:pt x="1910586" y="695864"/>
                  </a:moveTo>
                  <a:cubicBezTo>
                    <a:pt x="1920541" y="695864"/>
                    <a:pt x="1928611" y="703934"/>
                    <a:pt x="1928611" y="713888"/>
                  </a:cubicBezTo>
                  <a:cubicBezTo>
                    <a:pt x="1928611" y="723843"/>
                    <a:pt x="1920541" y="731913"/>
                    <a:pt x="1910586" y="731913"/>
                  </a:cubicBezTo>
                  <a:cubicBezTo>
                    <a:pt x="1900632" y="731913"/>
                    <a:pt x="1892562" y="723843"/>
                    <a:pt x="1892562" y="713888"/>
                  </a:cubicBezTo>
                  <a:cubicBezTo>
                    <a:pt x="1892562" y="703934"/>
                    <a:pt x="1900632" y="695864"/>
                    <a:pt x="1910586" y="695864"/>
                  </a:cubicBezTo>
                  <a:close/>
                  <a:moveTo>
                    <a:pt x="3833190" y="689856"/>
                  </a:moveTo>
                  <a:cubicBezTo>
                    <a:pt x="3843145" y="689856"/>
                    <a:pt x="3851215" y="697926"/>
                    <a:pt x="3851215" y="707880"/>
                  </a:cubicBezTo>
                  <a:cubicBezTo>
                    <a:pt x="3851215" y="717835"/>
                    <a:pt x="3843145" y="725905"/>
                    <a:pt x="3833190" y="725905"/>
                  </a:cubicBezTo>
                  <a:cubicBezTo>
                    <a:pt x="3823236" y="725905"/>
                    <a:pt x="3815166" y="717835"/>
                    <a:pt x="3815166" y="707880"/>
                  </a:cubicBezTo>
                  <a:cubicBezTo>
                    <a:pt x="3815166" y="697926"/>
                    <a:pt x="3823236" y="689856"/>
                    <a:pt x="3833190" y="689856"/>
                  </a:cubicBezTo>
                  <a:close/>
                  <a:moveTo>
                    <a:pt x="2787774" y="689856"/>
                  </a:moveTo>
                  <a:cubicBezTo>
                    <a:pt x="2797729" y="689856"/>
                    <a:pt x="2805799" y="697926"/>
                    <a:pt x="2805799" y="707880"/>
                  </a:cubicBezTo>
                  <a:cubicBezTo>
                    <a:pt x="2805799" y="717835"/>
                    <a:pt x="2797729" y="725905"/>
                    <a:pt x="2787774" y="725905"/>
                  </a:cubicBezTo>
                  <a:cubicBezTo>
                    <a:pt x="2777820" y="725905"/>
                    <a:pt x="2769750" y="717835"/>
                    <a:pt x="2769750" y="707880"/>
                  </a:cubicBezTo>
                  <a:cubicBezTo>
                    <a:pt x="2769750" y="697926"/>
                    <a:pt x="2777820" y="689856"/>
                    <a:pt x="2787774" y="689856"/>
                  </a:cubicBezTo>
                  <a:close/>
                  <a:moveTo>
                    <a:pt x="5737768" y="677840"/>
                  </a:moveTo>
                  <a:cubicBezTo>
                    <a:pt x="5747723" y="677840"/>
                    <a:pt x="5755793" y="685910"/>
                    <a:pt x="5755793" y="695865"/>
                  </a:cubicBezTo>
                  <a:cubicBezTo>
                    <a:pt x="5755793" y="705819"/>
                    <a:pt x="5747723" y="713889"/>
                    <a:pt x="5737768" y="713889"/>
                  </a:cubicBezTo>
                  <a:cubicBezTo>
                    <a:pt x="5727813" y="713889"/>
                    <a:pt x="5719744" y="705819"/>
                    <a:pt x="5719744" y="695865"/>
                  </a:cubicBezTo>
                  <a:cubicBezTo>
                    <a:pt x="5719744" y="685910"/>
                    <a:pt x="5727813" y="677840"/>
                    <a:pt x="5737768" y="677840"/>
                  </a:cubicBezTo>
                  <a:close/>
                  <a:moveTo>
                    <a:pt x="781057" y="677840"/>
                  </a:moveTo>
                  <a:cubicBezTo>
                    <a:pt x="791012" y="677840"/>
                    <a:pt x="799082" y="685910"/>
                    <a:pt x="799082" y="695865"/>
                  </a:cubicBezTo>
                  <a:cubicBezTo>
                    <a:pt x="799082" y="705819"/>
                    <a:pt x="791012" y="713889"/>
                    <a:pt x="781057" y="713889"/>
                  </a:cubicBezTo>
                  <a:cubicBezTo>
                    <a:pt x="771103" y="713889"/>
                    <a:pt x="763033" y="705819"/>
                    <a:pt x="763033" y="695865"/>
                  </a:cubicBezTo>
                  <a:cubicBezTo>
                    <a:pt x="763033" y="685910"/>
                    <a:pt x="771103" y="677840"/>
                    <a:pt x="781057" y="677840"/>
                  </a:cubicBezTo>
                  <a:close/>
                  <a:moveTo>
                    <a:pt x="276373" y="677840"/>
                  </a:moveTo>
                  <a:cubicBezTo>
                    <a:pt x="286328" y="677840"/>
                    <a:pt x="294398" y="685910"/>
                    <a:pt x="294398" y="695865"/>
                  </a:cubicBezTo>
                  <a:cubicBezTo>
                    <a:pt x="294398" y="705819"/>
                    <a:pt x="286328" y="713889"/>
                    <a:pt x="276373" y="713889"/>
                  </a:cubicBezTo>
                  <a:cubicBezTo>
                    <a:pt x="266419" y="713889"/>
                    <a:pt x="258349" y="705819"/>
                    <a:pt x="258349" y="695865"/>
                  </a:cubicBezTo>
                  <a:cubicBezTo>
                    <a:pt x="258349" y="685910"/>
                    <a:pt x="266419" y="677840"/>
                    <a:pt x="276373" y="677840"/>
                  </a:cubicBezTo>
                  <a:close/>
                  <a:moveTo>
                    <a:pt x="1784415" y="671832"/>
                  </a:moveTo>
                  <a:cubicBezTo>
                    <a:pt x="1794370" y="671832"/>
                    <a:pt x="1802440" y="679901"/>
                    <a:pt x="1802440" y="689856"/>
                  </a:cubicBezTo>
                  <a:cubicBezTo>
                    <a:pt x="1802440" y="699811"/>
                    <a:pt x="1794370" y="707881"/>
                    <a:pt x="1784415" y="707881"/>
                  </a:cubicBezTo>
                  <a:cubicBezTo>
                    <a:pt x="1774461" y="707881"/>
                    <a:pt x="1766391" y="699811"/>
                    <a:pt x="1766391" y="689856"/>
                  </a:cubicBezTo>
                  <a:cubicBezTo>
                    <a:pt x="1766391" y="679901"/>
                    <a:pt x="1774461" y="671832"/>
                    <a:pt x="1784415" y="671832"/>
                  </a:cubicBezTo>
                  <a:close/>
                  <a:moveTo>
                    <a:pt x="3713027" y="665824"/>
                  </a:moveTo>
                  <a:cubicBezTo>
                    <a:pt x="3722982" y="665824"/>
                    <a:pt x="3731052" y="673894"/>
                    <a:pt x="3731052" y="683848"/>
                  </a:cubicBezTo>
                  <a:cubicBezTo>
                    <a:pt x="3731052" y="693803"/>
                    <a:pt x="3722982" y="701873"/>
                    <a:pt x="3713027" y="701873"/>
                  </a:cubicBezTo>
                  <a:cubicBezTo>
                    <a:pt x="3703073" y="701873"/>
                    <a:pt x="3695003" y="693803"/>
                    <a:pt x="3695003" y="683848"/>
                  </a:cubicBezTo>
                  <a:cubicBezTo>
                    <a:pt x="3695003" y="673894"/>
                    <a:pt x="3703073" y="665824"/>
                    <a:pt x="3713027" y="665824"/>
                  </a:cubicBezTo>
                  <a:close/>
                  <a:moveTo>
                    <a:pt x="3274433" y="665824"/>
                  </a:moveTo>
                  <a:cubicBezTo>
                    <a:pt x="3284388" y="665824"/>
                    <a:pt x="3292458" y="673894"/>
                    <a:pt x="3292458" y="683848"/>
                  </a:cubicBezTo>
                  <a:cubicBezTo>
                    <a:pt x="3292458" y="693803"/>
                    <a:pt x="3284388" y="701873"/>
                    <a:pt x="3274433" y="701873"/>
                  </a:cubicBezTo>
                  <a:cubicBezTo>
                    <a:pt x="3264478" y="701873"/>
                    <a:pt x="3256409" y="693803"/>
                    <a:pt x="3256409" y="683848"/>
                  </a:cubicBezTo>
                  <a:cubicBezTo>
                    <a:pt x="3256409" y="673894"/>
                    <a:pt x="3264478" y="665824"/>
                    <a:pt x="3274433" y="665824"/>
                  </a:cubicBezTo>
                  <a:close/>
                  <a:moveTo>
                    <a:pt x="1291748" y="665824"/>
                  </a:moveTo>
                  <a:cubicBezTo>
                    <a:pt x="1301703" y="665824"/>
                    <a:pt x="1309773" y="673894"/>
                    <a:pt x="1309773" y="683848"/>
                  </a:cubicBezTo>
                  <a:cubicBezTo>
                    <a:pt x="1309773" y="693803"/>
                    <a:pt x="1301703" y="701873"/>
                    <a:pt x="1291748" y="701873"/>
                  </a:cubicBezTo>
                  <a:cubicBezTo>
                    <a:pt x="1281794" y="701873"/>
                    <a:pt x="1273724" y="693803"/>
                    <a:pt x="1273724" y="683848"/>
                  </a:cubicBezTo>
                  <a:cubicBezTo>
                    <a:pt x="1273724" y="673894"/>
                    <a:pt x="1281794" y="665824"/>
                    <a:pt x="1291748" y="665824"/>
                  </a:cubicBezTo>
                  <a:close/>
                  <a:moveTo>
                    <a:pt x="636862" y="665824"/>
                  </a:moveTo>
                  <a:cubicBezTo>
                    <a:pt x="646817" y="665824"/>
                    <a:pt x="654887" y="673894"/>
                    <a:pt x="654887" y="683848"/>
                  </a:cubicBezTo>
                  <a:cubicBezTo>
                    <a:pt x="654887" y="693803"/>
                    <a:pt x="646817" y="701873"/>
                    <a:pt x="636862" y="701873"/>
                  </a:cubicBezTo>
                  <a:cubicBezTo>
                    <a:pt x="626908" y="701873"/>
                    <a:pt x="618838" y="693803"/>
                    <a:pt x="618838" y="683848"/>
                  </a:cubicBezTo>
                  <a:cubicBezTo>
                    <a:pt x="618838" y="673894"/>
                    <a:pt x="626908" y="665824"/>
                    <a:pt x="636862" y="665824"/>
                  </a:cubicBezTo>
                  <a:close/>
                  <a:moveTo>
                    <a:pt x="3172295" y="659815"/>
                  </a:moveTo>
                  <a:cubicBezTo>
                    <a:pt x="3182250" y="659815"/>
                    <a:pt x="3190320" y="667885"/>
                    <a:pt x="3190320" y="677839"/>
                  </a:cubicBezTo>
                  <a:cubicBezTo>
                    <a:pt x="3190320" y="687794"/>
                    <a:pt x="3182250" y="695864"/>
                    <a:pt x="3172295" y="695864"/>
                  </a:cubicBezTo>
                  <a:cubicBezTo>
                    <a:pt x="3162341" y="695864"/>
                    <a:pt x="3154271" y="687794"/>
                    <a:pt x="3154271" y="677839"/>
                  </a:cubicBezTo>
                  <a:cubicBezTo>
                    <a:pt x="3154271" y="667885"/>
                    <a:pt x="3162341" y="659815"/>
                    <a:pt x="3172295" y="659815"/>
                  </a:cubicBezTo>
                  <a:close/>
                  <a:moveTo>
                    <a:pt x="6314550" y="647799"/>
                  </a:moveTo>
                  <a:cubicBezTo>
                    <a:pt x="6324504" y="647799"/>
                    <a:pt x="6332574" y="655869"/>
                    <a:pt x="6332574" y="665824"/>
                  </a:cubicBezTo>
                  <a:cubicBezTo>
                    <a:pt x="6332574" y="675778"/>
                    <a:pt x="6324505" y="683848"/>
                    <a:pt x="6314550" y="683848"/>
                  </a:cubicBezTo>
                  <a:cubicBezTo>
                    <a:pt x="6304595" y="683848"/>
                    <a:pt x="6296525" y="675778"/>
                    <a:pt x="6296525" y="665824"/>
                  </a:cubicBezTo>
                  <a:cubicBezTo>
                    <a:pt x="6296525" y="655869"/>
                    <a:pt x="6304594" y="647799"/>
                    <a:pt x="6314550" y="647799"/>
                  </a:cubicBezTo>
                  <a:close/>
                  <a:moveTo>
                    <a:pt x="3040116" y="647799"/>
                  </a:moveTo>
                  <a:cubicBezTo>
                    <a:pt x="3050071" y="647799"/>
                    <a:pt x="3058141" y="655869"/>
                    <a:pt x="3058141" y="665824"/>
                  </a:cubicBezTo>
                  <a:cubicBezTo>
                    <a:pt x="3058141" y="675778"/>
                    <a:pt x="3050071" y="683848"/>
                    <a:pt x="3040116" y="683848"/>
                  </a:cubicBezTo>
                  <a:cubicBezTo>
                    <a:pt x="3030161" y="683848"/>
                    <a:pt x="3022092" y="675778"/>
                    <a:pt x="3022092" y="665824"/>
                  </a:cubicBezTo>
                  <a:cubicBezTo>
                    <a:pt x="3022092" y="655869"/>
                    <a:pt x="3030161" y="647799"/>
                    <a:pt x="3040116" y="647799"/>
                  </a:cubicBezTo>
                  <a:close/>
                  <a:moveTo>
                    <a:pt x="4025450" y="641791"/>
                  </a:moveTo>
                  <a:cubicBezTo>
                    <a:pt x="4035405" y="641791"/>
                    <a:pt x="4043475" y="649860"/>
                    <a:pt x="4043475" y="659815"/>
                  </a:cubicBezTo>
                  <a:cubicBezTo>
                    <a:pt x="4043475" y="669770"/>
                    <a:pt x="4035405" y="677840"/>
                    <a:pt x="4025450" y="677840"/>
                  </a:cubicBezTo>
                  <a:cubicBezTo>
                    <a:pt x="4015495" y="677840"/>
                    <a:pt x="4007426" y="669770"/>
                    <a:pt x="4007426" y="659815"/>
                  </a:cubicBezTo>
                  <a:cubicBezTo>
                    <a:pt x="4007426" y="649860"/>
                    <a:pt x="4015495" y="641791"/>
                    <a:pt x="4025450" y="641791"/>
                  </a:cubicBezTo>
                  <a:close/>
                  <a:moveTo>
                    <a:pt x="5948053" y="629775"/>
                  </a:moveTo>
                  <a:cubicBezTo>
                    <a:pt x="5958008" y="629775"/>
                    <a:pt x="5966078" y="637845"/>
                    <a:pt x="5966078" y="647799"/>
                  </a:cubicBezTo>
                  <a:cubicBezTo>
                    <a:pt x="5966078" y="657754"/>
                    <a:pt x="5958008" y="665824"/>
                    <a:pt x="5948053" y="665824"/>
                  </a:cubicBezTo>
                  <a:cubicBezTo>
                    <a:pt x="5938098" y="665824"/>
                    <a:pt x="5930029" y="657754"/>
                    <a:pt x="5930029" y="647799"/>
                  </a:cubicBezTo>
                  <a:cubicBezTo>
                    <a:pt x="5930029" y="637845"/>
                    <a:pt x="5938098" y="629775"/>
                    <a:pt x="5948053" y="629775"/>
                  </a:cubicBezTo>
                  <a:close/>
                  <a:moveTo>
                    <a:pt x="2673619" y="629775"/>
                  </a:moveTo>
                  <a:cubicBezTo>
                    <a:pt x="2683574" y="629775"/>
                    <a:pt x="2691644" y="637845"/>
                    <a:pt x="2691644" y="647799"/>
                  </a:cubicBezTo>
                  <a:cubicBezTo>
                    <a:pt x="2691644" y="657754"/>
                    <a:pt x="2683574" y="665824"/>
                    <a:pt x="2673619" y="665824"/>
                  </a:cubicBezTo>
                  <a:cubicBezTo>
                    <a:pt x="2663664" y="665824"/>
                    <a:pt x="2655595" y="657754"/>
                    <a:pt x="2655595" y="647799"/>
                  </a:cubicBezTo>
                  <a:cubicBezTo>
                    <a:pt x="2655595" y="637845"/>
                    <a:pt x="2663664" y="629775"/>
                    <a:pt x="2673619" y="629775"/>
                  </a:cubicBezTo>
                  <a:close/>
                  <a:moveTo>
                    <a:pt x="2331156" y="629775"/>
                  </a:moveTo>
                  <a:cubicBezTo>
                    <a:pt x="2341111" y="629775"/>
                    <a:pt x="2349181" y="637845"/>
                    <a:pt x="2349181" y="647799"/>
                  </a:cubicBezTo>
                  <a:cubicBezTo>
                    <a:pt x="2349181" y="657754"/>
                    <a:pt x="2341111" y="665824"/>
                    <a:pt x="2331156" y="665824"/>
                  </a:cubicBezTo>
                  <a:cubicBezTo>
                    <a:pt x="2321202" y="665824"/>
                    <a:pt x="2313132" y="657754"/>
                    <a:pt x="2313132" y="647799"/>
                  </a:cubicBezTo>
                  <a:cubicBezTo>
                    <a:pt x="2313132" y="637845"/>
                    <a:pt x="2321202" y="629775"/>
                    <a:pt x="2331156" y="629775"/>
                  </a:cubicBezTo>
                  <a:close/>
                  <a:moveTo>
                    <a:pt x="1514049" y="629775"/>
                  </a:moveTo>
                  <a:cubicBezTo>
                    <a:pt x="1524004" y="629775"/>
                    <a:pt x="1532074" y="637845"/>
                    <a:pt x="1532074" y="647799"/>
                  </a:cubicBezTo>
                  <a:cubicBezTo>
                    <a:pt x="1532074" y="657754"/>
                    <a:pt x="1524004" y="665824"/>
                    <a:pt x="1514049" y="665824"/>
                  </a:cubicBezTo>
                  <a:cubicBezTo>
                    <a:pt x="1504095" y="665824"/>
                    <a:pt x="1496025" y="657754"/>
                    <a:pt x="1496025" y="647799"/>
                  </a:cubicBezTo>
                  <a:cubicBezTo>
                    <a:pt x="1496025" y="637845"/>
                    <a:pt x="1504095" y="629775"/>
                    <a:pt x="1514049" y="629775"/>
                  </a:cubicBezTo>
                  <a:close/>
                  <a:moveTo>
                    <a:pt x="901219" y="629775"/>
                  </a:moveTo>
                  <a:cubicBezTo>
                    <a:pt x="911174" y="629775"/>
                    <a:pt x="919244" y="637845"/>
                    <a:pt x="919244" y="647799"/>
                  </a:cubicBezTo>
                  <a:cubicBezTo>
                    <a:pt x="919244" y="657754"/>
                    <a:pt x="911174" y="665824"/>
                    <a:pt x="901219" y="665824"/>
                  </a:cubicBezTo>
                  <a:cubicBezTo>
                    <a:pt x="891265" y="665824"/>
                    <a:pt x="883195" y="657754"/>
                    <a:pt x="883195" y="647799"/>
                  </a:cubicBezTo>
                  <a:cubicBezTo>
                    <a:pt x="883195" y="637845"/>
                    <a:pt x="891265" y="629775"/>
                    <a:pt x="901219" y="629775"/>
                  </a:cubicBezTo>
                  <a:close/>
                  <a:moveTo>
                    <a:pt x="5827891" y="617758"/>
                  </a:moveTo>
                  <a:cubicBezTo>
                    <a:pt x="5837846" y="617758"/>
                    <a:pt x="5845916" y="625828"/>
                    <a:pt x="5845916" y="635783"/>
                  </a:cubicBezTo>
                  <a:cubicBezTo>
                    <a:pt x="5845916" y="645737"/>
                    <a:pt x="5837846" y="653807"/>
                    <a:pt x="5827891" y="653807"/>
                  </a:cubicBezTo>
                  <a:cubicBezTo>
                    <a:pt x="5817936" y="653807"/>
                    <a:pt x="5809867" y="645737"/>
                    <a:pt x="5809867" y="635783"/>
                  </a:cubicBezTo>
                  <a:cubicBezTo>
                    <a:pt x="5809867" y="625828"/>
                    <a:pt x="5817936" y="617758"/>
                    <a:pt x="5827891" y="617758"/>
                  </a:cubicBezTo>
                  <a:close/>
                  <a:moveTo>
                    <a:pt x="2469343" y="617758"/>
                  </a:moveTo>
                  <a:cubicBezTo>
                    <a:pt x="2479298" y="617758"/>
                    <a:pt x="2487368" y="625828"/>
                    <a:pt x="2487368" y="635783"/>
                  </a:cubicBezTo>
                  <a:cubicBezTo>
                    <a:pt x="2487368" y="645737"/>
                    <a:pt x="2479298" y="653807"/>
                    <a:pt x="2469343" y="653807"/>
                  </a:cubicBezTo>
                  <a:cubicBezTo>
                    <a:pt x="2459388" y="653807"/>
                    <a:pt x="2451319" y="645737"/>
                    <a:pt x="2451319" y="635783"/>
                  </a:cubicBezTo>
                  <a:cubicBezTo>
                    <a:pt x="2451319" y="625828"/>
                    <a:pt x="2459388" y="617758"/>
                    <a:pt x="2469343" y="617758"/>
                  </a:cubicBezTo>
                  <a:close/>
                  <a:moveTo>
                    <a:pt x="6110273" y="611750"/>
                  </a:moveTo>
                  <a:cubicBezTo>
                    <a:pt x="6120228" y="611750"/>
                    <a:pt x="6128298" y="619819"/>
                    <a:pt x="6128298" y="629774"/>
                  </a:cubicBezTo>
                  <a:cubicBezTo>
                    <a:pt x="6128298" y="639729"/>
                    <a:pt x="6120228" y="647799"/>
                    <a:pt x="6110273" y="647799"/>
                  </a:cubicBezTo>
                  <a:cubicBezTo>
                    <a:pt x="6100318" y="647799"/>
                    <a:pt x="6092248" y="639729"/>
                    <a:pt x="6092248" y="629774"/>
                  </a:cubicBezTo>
                  <a:cubicBezTo>
                    <a:pt x="6092248" y="619819"/>
                    <a:pt x="6100318" y="611750"/>
                    <a:pt x="6110273" y="611750"/>
                  </a:cubicBezTo>
                  <a:close/>
                  <a:moveTo>
                    <a:pt x="3598872" y="611750"/>
                  </a:moveTo>
                  <a:cubicBezTo>
                    <a:pt x="3608827" y="611750"/>
                    <a:pt x="3616897" y="619819"/>
                    <a:pt x="3616897" y="629774"/>
                  </a:cubicBezTo>
                  <a:cubicBezTo>
                    <a:pt x="3616897" y="639729"/>
                    <a:pt x="3608827" y="647799"/>
                    <a:pt x="3598872" y="647799"/>
                  </a:cubicBezTo>
                  <a:cubicBezTo>
                    <a:pt x="3588918" y="647799"/>
                    <a:pt x="3580848" y="639729"/>
                    <a:pt x="3580848" y="629774"/>
                  </a:cubicBezTo>
                  <a:cubicBezTo>
                    <a:pt x="3580848" y="619819"/>
                    <a:pt x="3588918" y="611750"/>
                    <a:pt x="3598872" y="611750"/>
                  </a:cubicBezTo>
                  <a:close/>
                  <a:moveTo>
                    <a:pt x="2150912" y="611750"/>
                  </a:moveTo>
                  <a:cubicBezTo>
                    <a:pt x="2160867" y="611750"/>
                    <a:pt x="2168937" y="619819"/>
                    <a:pt x="2168937" y="629774"/>
                  </a:cubicBezTo>
                  <a:cubicBezTo>
                    <a:pt x="2168937" y="639729"/>
                    <a:pt x="2160867" y="647799"/>
                    <a:pt x="2150912" y="647799"/>
                  </a:cubicBezTo>
                  <a:cubicBezTo>
                    <a:pt x="2140958" y="647799"/>
                    <a:pt x="2132888" y="639729"/>
                    <a:pt x="2132888" y="629774"/>
                  </a:cubicBezTo>
                  <a:cubicBezTo>
                    <a:pt x="2132888" y="619819"/>
                    <a:pt x="2140958" y="611750"/>
                    <a:pt x="2150912" y="611750"/>
                  </a:cubicBezTo>
                  <a:close/>
                  <a:moveTo>
                    <a:pt x="2036758" y="605742"/>
                  </a:moveTo>
                  <a:cubicBezTo>
                    <a:pt x="2046712" y="605742"/>
                    <a:pt x="2054782" y="613812"/>
                    <a:pt x="2054782" y="623766"/>
                  </a:cubicBezTo>
                  <a:cubicBezTo>
                    <a:pt x="2054782" y="633721"/>
                    <a:pt x="2046712" y="641791"/>
                    <a:pt x="2036758" y="641791"/>
                  </a:cubicBezTo>
                  <a:cubicBezTo>
                    <a:pt x="2026803" y="641791"/>
                    <a:pt x="2018733" y="633721"/>
                    <a:pt x="2018733" y="623766"/>
                  </a:cubicBezTo>
                  <a:cubicBezTo>
                    <a:pt x="2018733" y="613812"/>
                    <a:pt x="2026803" y="605742"/>
                    <a:pt x="2036758" y="605742"/>
                  </a:cubicBezTo>
                  <a:close/>
                  <a:moveTo>
                    <a:pt x="1652236" y="605742"/>
                  </a:moveTo>
                  <a:cubicBezTo>
                    <a:pt x="1662191" y="605742"/>
                    <a:pt x="1670261" y="613812"/>
                    <a:pt x="1670261" y="623766"/>
                  </a:cubicBezTo>
                  <a:cubicBezTo>
                    <a:pt x="1670261" y="633721"/>
                    <a:pt x="1662191" y="641791"/>
                    <a:pt x="1652236" y="641791"/>
                  </a:cubicBezTo>
                  <a:cubicBezTo>
                    <a:pt x="1642282" y="641791"/>
                    <a:pt x="1634212" y="633721"/>
                    <a:pt x="1634212" y="623766"/>
                  </a:cubicBezTo>
                  <a:cubicBezTo>
                    <a:pt x="1634212" y="613812"/>
                    <a:pt x="1642282" y="605742"/>
                    <a:pt x="1652236" y="605742"/>
                  </a:cubicBezTo>
                  <a:close/>
                  <a:moveTo>
                    <a:pt x="1027390" y="605742"/>
                  </a:moveTo>
                  <a:cubicBezTo>
                    <a:pt x="1037345" y="605742"/>
                    <a:pt x="1045415" y="613812"/>
                    <a:pt x="1045415" y="623766"/>
                  </a:cubicBezTo>
                  <a:cubicBezTo>
                    <a:pt x="1045415" y="633721"/>
                    <a:pt x="1037345" y="641791"/>
                    <a:pt x="1027390" y="641791"/>
                  </a:cubicBezTo>
                  <a:cubicBezTo>
                    <a:pt x="1017436" y="641791"/>
                    <a:pt x="1009366" y="633721"/>
                    <a:pt x="1009366" y="623766"/>
                  </a:cubicBezTo>
                  <a:cubicBezTo>
                    <a:pt x="1009366" y="613812"/>
                    <a:pt x="1017436" y="605742"/>
                    <a:pt x="1027390" y="605742"/>
                  </a:cubicBezTo>
                  <a:close/>
                  <a:moveTo>
                    <a:pt x="504684" y="605742"/>
                  </a:moveTo>
                  <a:cubicBezTo>
                    <a:pt x="514638" y="605742"/>
                    <a:pt x="522708" y="613812"/>
                    <a:pt x="522708" y="623766"/>
                  </a:cubicBezTo>
                  <a:cubicBezTo>
                    <a:pt x="522708" y="633721"/>
                    <a:pt x="514638" y="641791"/>
                    <a:pt x="504684" y="641791"/>
                  </a:cubicBezTo>
                  <a:cubicBezTo>
                    <a:pt x="494729" y="641791"/>
                    <a:pt x="486659" y="633721"/>
                    <a:pt x="486659" y="623766"/>
                  </a:cubicBezTo>
                  <a:cubicBezTo>
                    <a:pt x="486659" y="613812"/>
                    <a:pt x="494729" y="605742"/>
                    <a:pt x="504684" y="605742"/>
                  </a:cubicBezTo>
                  <a:close/>
                  <a:moveTo>
                    <a:pt x="378512" y="605742"/>
                  </a:moveTo>
                  <a:cubicBezTo>
                    <a:pt x="388467" y="605742"/>
                    <a:pt x="396537" y="613812"/>
                    <a:pt x="396537" y="623766"/>
                  </a:cubicBezTo>
                  <a:cubicBezTo>
                    <a:pt x="396537" y="633721"/>
                    <a:pt x="388467" y="641791"/>
                    <a:pt x="378512" y="641791"/>
                  </a:cubicBezTo>
                  <a:cubicBezTo>
                    <a:pt x="368558" y="641791"/>
                    <a:pt x="360488" y="633721"/>
                    <a:pt x="360488" y="623766"/>
                  </a:cubicBezTo>
                  <a:cubicBezTo>
                    <a:pt x="360488" y="613812"/>
                    <a:pt x="368558" y="605742"/>
                    <a:pt x="378512" y="605742"/>
                  </a:cubicBezTo>
                  <a:close/>
                  <a:moveTo>
                    <a:pt x="3358547" y="599734"/>
                  </a:moveTo>
                  <a:cubicBezTo>
                    <a:pt x="3368502" y="599734"/>
                    <a:pt x="3376572" y="607804"/>
                    <a:pt x="3376572" y="617758"/>
                  </a:cubicBezTo>
                  <a:cubicBezTo>
                    <a:pt x="3376572" y="627713"/>
                    <a:pt x="3368502" y="635783"/>
                    <a:pt x="3358547" y="635783"/>
                  </a:cubicBezTo>
                  <a:cubicBezTo>
                    <a:pt x="3348593" y="635783"/>
                    <a:pt x="3340523" y="627713"/>
                    <a:pt x="3340523" y="617758"/>
                  </a:cubicBezTo>
                  <a:cubicBezTo>
                    <a:pt x="3340523" y="607804"/>
                    <a:pt x="3348593" y="599734"/>
                    <a:pt x="3358547" y="599734"/>
                  </a:cubicBezTo>
                  <a:close/>
                  <a:moveTo>
                    <a:pt x="3887263" y="593726"/>
                  </a:moveTo>
                  <a:cubicBezTo>
                    <a:pt x="3897218" y="593726"/>
                    <a:pt x="3905288" y="601796"/>
                    <a:pt x="3905288" y="611750"/>
                  </a:cubicBezTo>
                  <a:cubicBezTo>
                    <a:pt x="3905288" y="621705"/>
                    <a:pt x="3897218" y="629775"/>
                    <a:pt x="3887263" y="629775"/>
                  </a:cubicBezTo>
                  <a:cubicBezTo>
                    <a:pt x="3877308" y="629775"/>
                    <a:pt x="3869238" y="621705"/>
                    <a:pt x="3869238" y="611750"/>
                  </a:cubicBezTo>
                  <a:cubicBezTo>
                    <a:pt x="3869238" y="601796"/>
                    <a:pt x="3877308" y="593726"/>
                    <a:pt x="3887263" y="593726"/>
                  </a:cubicBezTo>
                  <a:close/>
                  <a:moveTo>
                    <a:pt x="5623614" y="587718"/>
                  </a:moveTo>
                  <a:cubicBezTo>
                    <a:pt x="5633569" y="587718"/>
                    <a:pt x="5641639" y="595788"/>
                    <a:pt x="5641639" y="605743"/>
                  </a:cubicBezTo>
                  <a:cubicBezTo>
                    <a:pt x="5641639" y="615697"/>
                    <a:pt x="5633569" y="623767"/>
                    <a:pt x="5623614" y="623767"/>
                  </a:cubicBezTo>
                  <a:cubicBezTo>
                    <a:pt x="5613659" y="623767"/>
                    <a:pt x="5605590" y="615697"/>
                    <a:pt x="5605590" y="605743"/>
                  </a:cubicBezTo>
                  <a:cubicBezTo>
                    <a:pt x="5605590" y="595788"/>
                    <a:pt x="5613659" y="587718"/>
                    <a:pt x="5623614" y="587718"/>
                  </a:cubicBezTo>
                  <a:close/>
                  <a:moveTo>
                    <a:pt x="4157629" y="587718"/>
                  </a:moveTo>
                  <a:cubicBezTo>
                    <a:pt x="4167584" y="587718"/>
                    <a:pt x="4175654" y="595788"/>
                    <a:pt x="4175654" y="605743"/>
                  </a:cubicBezTo>
                  <a:cubicBezTo>
                    <a:pt x="4175654" y="615697"/>
                    <a:pt x="4167584" y="623767"/>
                    <a:pt x="4157629" y="623767"/>
                  </a:cubicBezTo>
                  <a:cubicBezTo>
                    <a:pt x="4147674" y="623767"/>
                    <a:pt x="4139604" y="615697"/>
                    <a:pt x="4139604" y="605743"/>
                  </a:cubicBezTo>
                  <a:cubicBezTo>
                    <a:pt x="4139604" y="595788"/>
                    <a:pt x="4147674" y="587718"/>
                    <a:pt x="4157629" y="587718"/>
                  </a:cubicBezTo>
                  <a:close/>
                  <a:moveTo>
                    <a:pt x="1886555" y="587718"/>
                  </a:moveTo>
                  <a:cubicBezTo>
                    <a:pt x="1896509" y="587718"/>
                    <a:pt x="1904579" y="595788"/>
                    <a:pt x="1904579" y="605743"/>
                  </a:cubicBezTo>
                  <a:cubicBezTo>
                    <a:pt x="1904579" y="615697"/>
                    <a:pt x="1896509" y="623767"/>
                    <a:pt x="1886555" y="623767"/>
                  </a:cubicBezTo>
                  <a:cubicBezTo>
                    <a:pt x="1876600" y="623767"/>
                    <a:pt x="1868530" y="615697"/>
                    <a:pt x="1868530" y="605743"/>
                  </a:cubicBezTo>
                  <a:cubicBezTo>
                    <a:pt x="1868530" y="595788"/>
                    <a:pt x="1876600" y="587718"/>
                    <a:pt x="1886555" y="587718"/>
                  </a:cubicBezTo>
                  <a:close/>
                  <a:moveTo>
                    <a:pt x="1147553" y="587718"/>
                  </a:moveTo>
                  <a:cubicBezTo>
                    <a:pt x="1157508" y="587718"/>
                    <a:pt x="1165578" y="595788"/>
                    <a:pt x="1165578" y="605743"/>
                  </a:cubicBezTo>
                  <a:cubicBezTo>
                    <a:pt x="1165578" y="615697"/>
                    <a:pt x="1157508" y="623767"/>
                    <a:pt x="1147553" y="623767"/>
                  </a:cubicBezTo>
                  <a:cubicBezTo>
                    <a:pt x="1137599" y="623767"/>
                    <a:pt x="1129529" y="615697"/>
                    <a:pt x="1129529" y="605743"/>
                  </a:cubicBezTo>
                  <a:cubicBezTo>
                    <a:pt x="1129529" y="595788"/>
                    <a:pt x="1137599" y="587718"/>
                    <a:pt x="1147553" y="587718"/>
                  </a:cubicBezTo>
                  <a:close/>
                  <a:moveTo>
                    <a:pt x="6212411" y="581710"/>
                  </a:moveTo>
                  <a:cubicBezTo>
                    <a:pt x="6222366" y="581710"/>
                    <a:pt x="6230436" y="589779"/>
                    <a:pt x="6230436" y="599734"/>
                  </a:cubicBezTo>
                  <a:cubicBezTo>
                    <a:pt x="6230436" y="609689"/>
                    <a:pt x="6222366" y="617759"/>
                    <a:pt x="6212411" y="617759"/>
                  </a:cubicBezTo>
                  <a:cubicBezTo>
                    <a:pt x="6202457" y="617759"/>
                    <a:pt x="6194387" y="609689"/>
                    <a:pt x="6194387" y="599734"/>
                  </a:cubicBezTo>
                  <a:cubicBezTo>
                    <a:pt x="6194387" y="589779"/>
                    <a:pt x="6202457" y="581710"/>
                    <a:pt x="6212411" y="581710"/>
                  </a:cubicBezTo>
                  <a:close/>
                  <a:moveTo>
                    <a:pt x="3478710" y="581710"/>
                  </a:moveTo>
                  <a:cubicBezTo>
                    <a:pt x="3488665" y="581710"/>
                    <a:pt x="3496735" y="589779"/>
                    <a:pt x="3496735" y="599734"/>
                  </a:cubicBezTo>
                  <a:cubicBezTo>
                    <a:pt x="3496735" y="609689"/>
                    <a:pt x="3488665" y="617759"/>
                    <a:pt x="3478710" y="617759"/>
                  </a:cubicBezTo>
                  <a:cubicBezTo>
                    <a:pt x="3468756" y="617759"/>
                    <a:pt x="3460686" y="609689"/>
                    <a:pt x="3460686" y="599734"/>
                  </a:cubicBezTo>
                  <a:cubicBezTo>
                    <a:pt x="3460686" y="589779"/>
                    <a:pt x="3468756" y="581710"/>
                    <a:pt x="3478710" y="581710"/>
                  </a:cubicBezTo>
                  <a:close/>
                  <a:moveTo>
                    <a:pt x="2883904" y="581710"/>
                  </a:moveTo>
                  <a:cubicBezTo>
                    <a:pt x="2893859" y="581710"/>
                    <a:pt x="2901929" y="589779"/>
                    <a:pt x="2901929" y="599734"/>
                  </a:cubicBezTo>
                  <a:cubicBezTo>
                    <a:pt x="2901929" y="609689"/>
                    <a:pt x="2893859" y="617759"/>
                    <a:pt x="2883904" y="617759"/>
                  </a:cubicBezTo>
                  <a:cubicBezTo>
                    <a:pt x="2873949" y="617759"/>
                    <a:pt x="2865880" y="609689"/>
                    <a:pt x="2865880" y="599734"/>
                  </a:cubicBezTo>
                  <a:cubicBezTo>
                    <a:pt x="2865880" y="589779"/>
                    <a:pt x="2873949" y="581710"/>
                    <a:pt x="2883904" y="581710"/>
                  </a:cubicBezTo>
                  <a:close/>
                  <a:moveTo>
                    <a:pt x="4488076" y="575702"/>
                  </a:moveTo>
                  <a:cubicBezTo>
                    <a:pt x="4498031" y="575702"/>
                    <a:pt x="4506101" y="583772"/>
                    <a:pt x="4506101" y="593726"/>
                  </a:cubicBezTo>
                  <a:cubicBezTo>
                    <a:pt x="4506101" y="603681"/>
                    <a:pt x="4498031" y="611751"/>
                    <a:pt x="4488076" y="611751"/>
                  </a:cubicBezTo>
                  <a:cubicBezTo>
                    <a:pt x="4478121" y="611751"/>
                    <a:pt x="4470051" y="603681"/>
                    <a:pt x="4470051" y="593726"/>
                  </a:cubicBezTo>
                  <a:cubicBezTo>
                    <a:pt x="4470051" y="583772"/>
                    <a:pt x="4478121" y="575702"/>
                    <a:pt x="4488076" y="575702"/>
                  </a:cubicBezTo>
                  <a:close/>
                  <a:moveTo>
                    <a:pt x="4313840" y="575702"/>
                  </a:moveTo>
                  <a:cubicBezTo>
                    <a:pt x="4323795" y="575702"/>
                    <a:pt x="4331865" y="583772"/>
                    <a:pt x="4331865" y="593726"/>
                  </a:cubicBezTo>
                  <a:cubicBezTo>
                    <a:pt x="4331865" y="603681"/>
                    <a:pt x="4323795" y="611751"/>
                    <a:pt x="4313840" y="611751"/>
                  </a:cubicBezTo>
                  <a:cubicBezTo>
                    <a:pt x="4303886" y="611751"/>
                    <a:pt x="4295816" y="603681"/>
                    <a:pt x="4295816" y="593726"/>
                  </a:cubicBezTo>
                  <a:cubicBezTo>
                    <a:pt x="4295816" y="583772"/>
                    <a:pt x="4303886" y="575702"/>
                    <a:pt x="4313840" y="575702"/>
                  </a:cubicBezTo>
                  <a:close/>
                  <a:moveTo>
                    <a:pt x="1381870" y="569693"/>
                  </a:moveTo>
                  <a:cubicBezTo>
                    <a:pt x="1391825" y="569693"/>
                    <a:pt x="1399895" y="577763"/>
                    <a:pt x="1399895" y="587717"/>
                  </a:cubicBezTo>
                  <a:cubicBezTo>
                    <a:pt x="1399895" y="597672"/>
                    <a:pt x="1391825" y="605742"/>
                    <a:pt x="1381870" y="605742"/>
                  </a:cubicBezTo>
                  <a:cubicBezTo>
                    <a:pt x="1371916" y="605742"/>
                    <a:pt x="1363846" y="597672"/>
                    <a:pt x="1363846" y="587717"/>
                  </a:cubicBezTo>
                  <a:cubicBezTo>
                    <a:pt x="1363846" y="577763"/>
                    <a:pt x="1371916" y="569693"/>
                    <a:pt x="1381870" y="569693"/>
                  </a:cubicBezTo>
                  <a:close/>
                  <a:moveTo>
                    <a:pt x="126170" y="563685"/>
                  </a:moveTo>
                  <a:cubicBezTo>
                    <a:pt x="136125" y="563685"/>
                    <a:pt x="144195" y="571755"/>
                    <a:pt x="144195" y="581709"/>
                  </a:cubicBezTo>
                  <a:cubicBezTo>
                    <a:pt x="144195" y="591664"/>
                    <a:pt x="136125" y="599734"/>
                    <a:pt x="126170" y="599734"/>
                  </a:cubicBezTo>
                  <a:cubicBezTo>
                    <a:pt x="116216" y="599734"/>
                    <a:pt x="108146" y="591664"/>
                    <a:pt x="108146" y="581709"/>
                  </a:cubicBezTo>
                  <a:cubicBezTo>
                    <a:pt x="108146" y="571755"/>
                    <a:pt x="116216" y="563685"/>
                    <a:pt x="126170" y="563685"/>
                  </a:cubicBezTo>
                  <a:close/>
                  <a:moveTo>
                    <a:pt x="2583497" y="557677"/>
                  </a:moveTo>
                  <a:cubicBezTo>
                    <a:pt x="2593452" y="557677"/>
                    <a:pt x="2601522" y="565747"/>
                    <a:pt x="2601522" y="575702"/>
                  </a:cubicBezTo>
                  <a:cubicBezTo>
                    <a:pt x="2601522" y="585656"/>
                    <a:pt x="2593452" y="593726"/>
                    <a:pt x="2583497" y="593726"/>
                  </a:cubicBezTo>
                  <a:cubicBezTo>
                    <a:pt x="2573542" y="593726"/>
                    <a:pt x="2565473" y="585656"/>
                    <a:pt x="2565473" y="575702"/>
                  </a:cubicBezTo>
                  <a:cubicBezTo>
                    <a:pt x="2565473" y="565747"/>
                    <a:pt x="2573542" y="557677"/>
                    <a:pt x="2583497" y="557677"/>
                  </a:cubicBezTo>
                  <a:close/>
                  <a:moveTo>
                    <a:pt x="246333" y="557677"/>
                  </a:moveTo>
                  <a:cubicBezTo>
                    <a:pt x="256288" y="557677"/>
                    <a:pt x="264358" y="565747"/>
                    <a:pt x="264358" y="575702"/>
                  </a:cubicBezTo>
                  <a:cubicBezTo>
                    <a:pt x="264358" y="585656"/>
                    <a:pt x="256288" y="593726"/>
                    <a:pt x="246333" y="593726"/>
                  </a:cubicBezTo>
                  <a:cubicBezTo>
                    <a:pt x="236379" y="593726"/>
                    <a:pt x="228309" y="585656"/>
                    <a:pt x="228309" y="575702"/>
                  </a:cubicBezTo>
                  <a:cubicBezTo>
                    <a:pt x="228309" y="565747"/>
                    <a:pt x="236379" y="557677"/>
                    <a:pt x="246333" y="557677"/>
                  </a:cubicBezTo>
                  <a:close/>
                  <a:moveTo>
                    <a:pt x="1736351" y="551669"/>
                  </a:moveTo>
                  <a:cubicBezTo>
                    <a:pt x="1746305" y="551669"/>
                    <a:pt x="1754375" y="559738"/>
                    <a:pt x="1754375" y="569693"/>
                  </a:cubicBezTo>
                  <a:cubicBezTo>
                    <a:pt x="1754375" y="579648"/>
                    <a:pt x="1746305" y="587718"/>
                    <a:pt x="1736351" y="587718"/>
                  </a:cubicBezTo>
                  <a:cubicBezTo>
                    <a:pt x="1726396" y="587718"/>
                    <a:pt x="1718326" y="579648"/>
                    <a:pt x="1718326" y="569693"/>
                  </a:cubicBezTo>
                  <a:cubicBezTo>
                    <a:pt x="1718326" y="559738"/>
                    <a:pt x="1726396" y="551669"/>
                    <a:pt x="1736351" y="551669"/>
                  </a:cubicBezTo>
                  <a:close/>
                  <a:moveTo>
                    <a:pt x="3731051" y="545661"/>
                  </a:moveTo>
                  <a:cubicBezTo>
                    <a:pt x="3741006" y="545661"/>
                    <a:pt x="3749076" y="553731"/>
                    <a:pt x="3749076" y="563685"/>
                  </a:cubicBezTo>
                  <a:cubicBezTo>
                    <a:pt x="3749076" y="573640"/>
                    <a:pt x="3741006" y="581710"/>
                    <a:pt x="3731051" y="581710"/>
                  </a:cubicBezTo>
                  <a:cubicBezTo>
                    <a:pt x="3721096" y="581710"/>
                    <a:pt x="3713027" y="573640"/>
                    <a:pt x="3713027" y="563685"/>
                  </a:cubicBezTo>
                  <a:cubicBezTo>
                    <a:pt x="3713027" y="553731"/>
                    <a:pt x="3721096" y="545661"/>
                    <a:pt x="3731051" y="545661"/>
                  </a:cubicBezTo>
                  <a:close/>
                  <a:moveTo>
                    <a:pt x="2763741" y="545661"/>
                  </a:moveTo>
                  <a:cubicBezTo>
                    <a:pt x="2773696" y="545661"/>
                    <a:pt x="2781766" y="553731"/>
                    <a:pt x="2781766" y="563685"/>
                  </a:cubicBezTo>
                  <a:cubicBezTo>
                    <a:pt x="2781766" y="573640"/>
                    <a:pt x="2773696" y="581710"/>
                    <a:pt x="2763741" y="581710"/>
                  </a:cubicBezTo>
                  <a:cubicBezTo>
                    <a:pt x="2753786" y="581710"/>
                    <a:pt x="2745717" y="573640"/>
                    <a:pt x="2745717" y="563685"/>
                  </a:cubicBezTo>
                  <a:cubicBezTo>
                    <a:pt x="2745717" y="553731"/>
                    <a:pt x="2753786" y="545661"/>
                    <a:pt x="2763741" y="545661"/>
                  </a:cubicBezTo>
                  <a:close/>
                  <a:moveTo>
                    <a:pt x="726984" y="545661"/>
                  </a:moveTo>
                  <a:cubicBezTo>
                    <a:pt x="736939" y="545661"/>
                    <a:pt x="745009" y="553731"/>
                    <a:pt x="745009" y="563685"/>
                  </a:cubicBezTo>
                  <a:cubicBezTo>
                    <a:pt x="745009" y="573640"/>
                    <a:pt x="736939" y="581710"/>
                    <a:pt x="726984" y="581710"/>
                  </a:cubicBezTo>
                  <a:cubicBezTo>
                    <a:pt x="717030" y="581710"/>
                    <a:pt x="708960" y="573640"/>
                    <a:pt x="708960" y="563685"/>
                  </a:cubicBezTo>
                  <a:cubicBezTo>
                    <a:pt x="708960" y="553731"/>
                    <a:pt x="717030" y="545661"/>
                    <a:pt x="726984" y="545661"/>
                  </a:cubicBezTo>
                  <a:close/>
                  <a:moveTo>
                    <a:pt x="3136246" y="539653"/>
                  </a:moveTo>
                  <a:cubicBezTo>
                    <a:pt x="3146201" y="539653"/>
                    <a:pt x="3154271" y="547723"/>
                    <a:pt x="3154271" y="557677"/>
                  </a:cubicBezTo>
                  <a:cubicBezTo>
                    <a:pt x="3154271" y="567632"/>
                    <a:pt x="3146201" y="575702"/>
                    <a:pt x="3136246" y="575702"/>
                  </a:cubicBezTo>
                  <a:cubicBezTo>
                    <a:pt x="3126291" y="575702"/>
                    <a:pt x="3118221" y="567632"/>
                    <a:pt x="3118221" y="557677"/>
                  </a:cubicBezTo>
                  <a:cubicBezTo>
                    <a:pt x="3118221" y="547723"/>
                    <a:pt x="3126291" y="539653"/>
                    <a:pt x="3136246" y="539653"/>
                  </a:cubicBezTo>
                  <a:close/>
                  <a:moveTo>
                    <a:pt x="3004067" y="539653"/>
                  </a:moveTo>
                  <a:cubicBezTo>
                    <a:pt x="3014022" y="539653"/>
                    <a:pt x="3022092" y="547723"/>
                    <a:pt x="3022092" y="557677"/>
                  </a:cubicBezTo>
                  <a:cubicBezTo>
                    <a:pt x="3022092" y="567632"/>
                    <a:pt x="3014022" y="575702"/>
                    <a:pt x="3004067" y="575702"/>
                  </a:cubicBezTo>
                  <a:cubicBezTo>
                    <a:pt x="2994112" y="575702"/>
                    <a:pt x="2986043" y="567632"/>
                    <a:pt x="2986043" y="557677"/>
                  </a:cubicBezTo>
                  <a:cubicBezTo>
                    <a:pt x="2986043" y="547723"/>
                    <a:pt x="2994112" y="539653"/>
                    <a:pt x="3004067" y="539653"/>
                  </a:cubicBezTo>
                  <a:close/>
                  <a:moveTo>
                    <a:pt x="835130" y="539653"/>
                  </a:moveTo>
                  <a:cubicBezTo>
                    <a:pt x="841767" y="539653"/>
                    <a:pt x="847146" y="545033"/>
                    <a:pt x="847146" y="551669"/>
                  </a:cubicBezTo>
                  <a:cubicBezTo>
                    <a:pt x="847146" y="558306"/>
                    <a:pt x="841767" y="563685"/>
                    <a:pt x="835130" y="563685"/>
                  </a:cubicBezTo>
                  <a:cubicBezTo>
                    <a:pt x="828494" y="563685"/>
                    <a:pt x="823114" y="558305"/>
                    <a:pt x="823114" y="551669"/>
                  </a:cubicBezTo>
                  <a:cubicBezTo>
                    <a:pt x="823114" y="545033"/>
                    <a:pt x="828494" y="539653"/>
                    <a:pt x="835130" y="539653"/>
                  </a:cubicBezTo>
                  <a:close/>
                  <a:moveTo>
                    <a:pt x="612829" y="539653"/>
                  </a:moveTo>
                  <a:cubicBezTo>
                    <a:pt x="622784" y="539653"/>
                    <a:pt x="630854" y="547723"/>
                    <a:pt x="630854" y="557677"/>
                  </a:cubicBezTo>
                  <a:cubicBezTo>
                    <a:pt x="630854" y="567632"/>
                    <a:pt x="622784" y="575702"/>
                    <a:pt x="612829" y="575702"/>
                  </a:cubicBezTo>
                  <a:cubicBezTo>
                    <a:pt x="602875" y="575702"/>
                    <a:pt x="594805" y="567632"/>
                    <a:pt x="594805" y="557677"/>
                  </a:cubicBezTo>
                  <a:cubicBezTo>
                    <a:pt x="594805" y="547723"/>
                    <a:pt x="602875" y="539653"/>
                    <a:pt x="612829" y="539653"/>
                  </a:cubicBezTo>
                  <a:close/>
                  <a:moveTo>
                    <a:pt x="6014143" y="533645"/>
                  </a:moveTo>
                  <a:cubicBezTo>
                    <a:pt x="6024098" y="533645"/>
                    <a:pt x="6032168" y="541715"/>
                    <a:pt x="6032168" y="551669"/>
                  </a:cubicBezTo>
                  <a:cubicBezTo>
                    <a:pt x="6032168" y="561624"/>
                    <a:pt x="6024098" y="569694"/>
                    <a:pt x="6014143" y="569694"/>
                  </a:cubicBezTo>
                  <a:cubicBezTo>
                    <a:pt x="6004188" y="569694"/>
                    <a:pt x="5996119" y="561624"/>
                    <a:pt x="5996119" y="551669"/>
                  </a:cubicBezTo>
                  <a:cubicBezTo>
                    <a:pt x="5996119" y="541715"/>
                    <a:pt x="6004188" y="533645"/>
                    <a:pt x="6014143" y="533645"/>
                  </a:cubicBezTo>
                  <a:close/>
                  <a:moveTo>
                    <a:pt x="5725752" y="533645"/>
                  </a:moveTo>
                  <a:cubicBezTo>
                    <a:pt x="5735707" y="533645"/>
                    <a:pt x="5743777" y="541715"/>
                    <a:pt x="5743777" y="551669"/>
                  </a:cubicBezTo>
                  <a:cubicBezTo>
                    <a:pt x="5743777" y="561624"/>
                    <a:pt x="5735707" y="569694"/>
                    <a:pt x="5725752" y="569694"/>
                  </a:cubicBezTo>
                  <a:cubicBezTo>
                    <a:pt x="5715798" y="569694"/>
                    <a:pt x="5707728" y="561624"/>
                    <a:pt x="5707728" y="551669"/>
                  </a:cubicBezTo>
                  <a:cubicBezTo>
                    <a:pt x="5707728" y="541715"/>
                    <a:pt x="5715798" y="533645"/>
                    <a:pt x="5725752" y="533645"/>
                  </a:cubicBezTo>
                  <a:close/>
                  <a:moveTo>
                    <a:pt x="4013434" y="533645"/>
                  </a:moveTo>
                  <a:cubicBezTo>
                    <a:pt x="4023389" y="533645"/>
                    <a:pt x="4031459" y="541715"/>
                    <a:pt x="4031459" y="551669"/>
                  </a:cubicBezTo>
                  <a:cubicBezTo>
                    <a:pt x="4031459" y="561624"/>
                    <a:pt x="4023389" y="569694"/>
                    <a:pt x="4013434" y="569694"/>
                  </a:cubicBezTo>
                  <a:cubicBezTo>
                    <a:pt x="4003480" y="569694"/>
                    <a:pt x="3995410" y="561624"/>
                    <a:pt x="3995410" y="551669"/>
                  </a:cubicBezTo>
                  <a:cubicBezTo>
                    <a:pt x="3995410" y="541715"/>
                    <a:pt x="4003480" y="533645"/>
                    <a:pt x="4013434" y="533645"/>
                  </a:cubicBezTo>
                  <a:close/>
                  <a:moveTo>
                    <a:pt x="2223009" y="533645"/>
                  </a:moveTo>
                  <a:cubicBezTo>
                    <a:pt x="2232964" y="533645"/>
                    <a:pt x="2241034" y="541715"/>
                    <a:pt x="2241034" y="551669"/>
                  </a:cubicBezTo>
                  <a:cubicBezTo>
                    <a:pt x="2241034" y="561624"/>
                    <a:pt x="2232964" y="569694"/>
                    <a:pt x="2223009" y="569694"/>
                  </a:cubicBezTo>
                  <a:cubicBezTo>
                    <a:pt x="2213055" y="569694"/>
                    <a:pt x="2204985" y="561624"/>
                    <a:pt x="2204985" y="551669"/>
                  </a:cubicBezTo>
                  <a:cubicBezTo>
                    <a:pt x="2204985" y="541715"/>
                    <a:pt x="2213055" y="533645"/>
                    <a:pt x="2223009" y="533645"/>
                  </a:cubicBezTo>
                  <a:close/>
                  <a:moveTo>
                    <a:pt x="1249691" y="533645"/>
                  </a:moveTo>
                  <a:cubicBezTo>
                    <a:pt x="1259646" y="533645"/>
                    <a:pt x="1267716" y="541715"/>
                    <a:pt x="1267716" y="551669"/>
                  </a:cubicBezTo>
                  <a:cubicBezTo>
                    <a:pt x="1267716" y="561624"/>
                    <a:pt x="1259646" y="569694"/>
                    <a:pt x="1249691" y="569694"/>
                  </a:cubicBezTo>
                  <a:cubicBezTo>
                    <a:pt x="1239737" y="569694"/>
                    <a:pt x="1231667" y="561624"/>
                    <a:pt x="1231667" y="551669"/>
                  </a:cubicBezTo>
                  <a:cubicBezTo>
                    <a:pt x="1231667" y="541715"/>
                    <a:pt x="1239737" y="533645"/>
                    <a:pt x="1249691" y="533645"/>
                  </a:cubicBezTo>
                  <a:close/>
                  <a:moveTo>
                    <a:pt x="2409261" y="527636"/>
                  </a:moveTo>
                  <a:cubicBezTo>
                    <a:pt x="2419216" y="527636"/>
                    <a:pt x="2427286" y="535706"/>
                    <a:pt x="2427286" y="545661"/>
                  </a:cubicBezTo>
                  <a:cubicBezTo>
                    <a:pt x="2427286" y="555615"/>
                    <a:pt x="2419216" y="563685"/>
                    <a:pt x="2409261" y="563685"/>
                  </a:cubicBezTo>
                  <a:cubicBezTo>
                    <a:pt x="2399307" y="563685"/>
                    <a:pt x="2391237" y="555615"/>
                    <a:pt x="2391237" y="545661"/>
                  </a:cubicBezTo>
                  <a:cubicBezTo>
                    <a:pt x="2391237" y="535706"/>
                    <a:pt x="2399307" y="527636"/>
                    <a:pt x="2409261" y="527636"/>
                  </a:cubicBezTo>
                  <a:close/>
                  <a:moveTo>
                    <a:pt x="5527484" y="521628"/>
                  </a:moveTo>
                  <a:cubicBezTo>
                    <a:pt x="5537439" y="521628"/>
                    <a:pt x="5545509" y="529697"/>
                    <a:pt x="5545509" y="539652"/>
                  </a:cubicBezTo>
                  <a:cubicBezTo>
                    <a:pt x="5545509" y="549607"/>
                    <a:pt x="5537439" y="557677"/>
                    <a:pt x="5527484" y="557677"/>
                  </a:cubicBezTo>
                  <a:cubicBezTo>
                    <a:pt x="5517529" y="557677"/>
                    <a:pt x="5509460" y="549607"/>
                    <a:pt x="5509460" y="539652"/>
                  </a:cubicBezTo>
                  <a:cubicBezTo>
                    <a:pt x="5509460" y="529697"/>
                    <a:pt x="5517529" y="521628"/>
                    <a:pt x="5527484" y="521628"/>
                  </a:cubicBezTo>
                  <a:close/>
                  <a:moveTo>
                    <a:pt x="4830540" y="521628"/>
                  </a:moveTo>
                  <a:cubicBezTo>
                    <a:pt x="4840495" y="521628"/>
                    <a:pt x="4848565" y="529697"/>
                    <a:pt x="4848565" y="539652"/>
                  </a:cubicBezTo>
                  <a:cubicBezTo>
                    <a:pt x="4848565" y="549607"/>
                    <a:pt x="4840495" y="557677"/>
                    <a:pt x="4830540" y="557677"/>
                  </a:cubicBezTo>
                  <a:cubicBezTo>
                    <a:pt x="4820586" y="557677"/>
                    <a:pt x="4812516" y="549607"/>
                    <a:pt x="4812516" y="539652"/>
                  </a:cubicBezTo>
                  <a:cubicBezTo>
                    <a:pt x="4812516" y="529697"/>
                    <a:pt x="4820586" y="521628"/>
                    <a:pt x="4830540" y="521628"/>
                  </a:cubicBezTo>
                  <a:close/>
                  <a:moveTo>
                    <a:pt x="1514049" y="521628"/>
                  </a:moveTo>
                  <a:cubicBezTo>
                    <a:pt x="1524004" y="521628"/>
                    <a:pt x="1532074" y="529697"/>
                    <a:pt x="1532074" y="539652"/>
                  </a:cubicBezTo>
                  <a:cubicBezTo>
                    <a:pt x="1532074" y="549607"/>
                    <a:pt x="1524004" y="557677"/>
                    <a:pt x="1514049" y="557677"/>
                  </a:cubicBezTo>
                  <a:cubicBezTo>
                    <a:pt x="1504095" y="557677"/>
                    <a:pt x="1496025" y="549607"/>
                    <a:pt x="1496025" y="539652"/>
                  </a:cubicBezTo>
                  <a:cubicBezTo>
                    <a:pt x="1496025" y="529697"/>
                    <a:pt x="1504095" y="521628"/>
                    <a:pt x="1514049" y="521628"/>
                  </a:cubicBezTo>
                  <a:close/>
                  <a:moveTo>
                    <a:pt x="6332574" y="515620"/>
                  </a:moveTo>
                  <a:cubicBezTo>
                    <a:pt x="6342528" y="515620"/>
                    <a:pt x="6350598" y="523690"/>
                    <a:pt x="6350598" y="533644"/>
                  </a:cubicBezTo>
                  <a:cubicBezTo>
                    <a:pt x="6350598" y="543599"/>
                    <a:pt x="6342529" y="551669"/>
                    <a:pt x="6332574" y="551669"/>
                  </a:cubicBezTo>
                  <a:cubicBezTo>
                    <a:pt x="6322620" y="551669"/>
                    <a:pt x="6314549" y="543599"/>
                    <a:pt x="6314549" y="533644"/>
                  </a:cubicBezTo>
                  <a:cubicBezTo>
                    <a:pt x="6314549" y="523690"/>
                    <a:pt x="6322619" y="515620"/>
                    <a:pt x="6332574" y="515620"/>
                  </a:cubicBezTo>
                  <a:close/>
                  <a:moveTo>
                    <a:pt x="5893980" y="509612"/>
                  </a:moveTo>
                  <a:cubicBezTo>
                    <a:pt x="5903935" y="509612"/>
                    <a:pt x="5912005" y="517682"/>
                    <a:pt x="5912005" y="527636"/>
                  </a:cubicBezTo>
                  <a:cubicBezTo>
                    <a:pt x="5912005" y="537591"/>
                    <a:pt x="5903935" y="545661"/>
                    <a:pt x="5893980" y="545661"/>
                  </a:cubicBezTo>
                  <a:cubicBezTo>
                    <a:pt x="5884025" y="545661"/>
                    <a:pt x="5875956" y="537591"/>
                    <a:pt x="5875956" y="527636"/>
                  </a:cubicBezTo>
                  <a:cubicBezTo>
                    <a:pt x="5875956" y="517682"/>
                    <a:pt x="5884025" y="509612"/>
                    <a:pt x="5893980" y="509612"/>
                  </a:cubicBezTo>
                  <a:close/>
                  <a:moveTo>
                    <a:pt x="3244392" y="509612"/>
                  </a:moveTo>
                  <a:cubicBezTo>
                    <a:pt x="3254347" y="509612"/>
                    <a:pt x="3262417" y="517682"/>
                    <a:pt x="3262417" y="527636"/>
                  </a:cubicBezTo>
                  <a:cubicBezTo>
                    <a:pt x="3262417" y="537591"/>
                    <a:pt x="3254347" y="545661"/>
                    <a:pt x="3244392" y="545661"/>
                  </a:cubicBezTo>
                  <a:cubicBezTo>
                    <a:pt x="3234437" y="545661"/>
                    <a:pt x="3226368" y="537591"/>
                    <a:pt x="3226368" y="527636"/>
                  </a:cubicBezTo>
                  <a:cubicBezTo>
                    <a:pt x="3226368" y="517682"/>
                    <a:pt x="3234437" y="509612"/>
                    <a:pt x="3244392" y="509612"/>
                  </a:cubicBezTo>
                  <a:close/>
                  <a:moveTo>
                    <a:pt x="1982684" y="509612"/>
                  </a:moveTo>
                  <a:cubicBezTo>
                    <a:pt x="1992639" y="509612"/>
                    <a:pt x="2000709" y="517682"/>
                    <a:pt x="2000709" y="527636"/>
                  </a:cubicBezTo>
                  <a:cubicBezTo>
                    <a:pt x="2000709" y="537591"/>
                    <a:pt x="1992639" y="545661"/>
                    <a:pt x="1982684" y="545661"/>
                  </a:cubicBezTo>
                  <a:cubicBezTo>
                    <a:pt x="1972730" y="545661"/>
                    <a:pt x="1964660" y="537591"/>
                    <a:pt x="1964660" y="527636"/>
                  </a:cubicBezTo>
                  <a:cubicBezTo>
                    <a:pt x="1964660" y="517682"/>
                    <a:pt x="1972730" y="509612"/>
                    <a:pt x="1982684" y="509612"/>
                  </a:cubicBezTo>
                  <a:close/>
                  <a:moveTo>
                    <a:pt x="5040825" y="503604"/>
                  </a:moveTo>
                  <a:cubicBezTo>
                    <a:pt x="5050780" y="503604"/>
                    <a:pt x="5058850" y="511674"/>
                    <a:pt x="5058850" y="521628"/>
                  </a:cubicBezTo>
                  <a:cubicBezTo>
                    <a:pt x="5058850" y="531583"/>
                    <a:pt x="5050780" y="539653"/>
                    <a:pt x="5040825" y="539653"/>
                  </a:cubicBezTo>
                  <a:cubicBezTo>
                    <a:pt x="5030871" y="539653"/>
                    <a:pt x="5022801" y="531583"/>
                    <a:pt x="5022801" y="521628"/>
                  </a:cubicBezTo>
                  <a:cubicBezTo>
                    <a:pt x="5022801" y="511674"/>
                    <a:pt x="5030871" y="503604"/>
                    <a:pt x="5040825" y="503604"/>
                  </a:cubicBezTo>
                  <a:close/>
                  <a:moveTo>
                    <a:pt x="4926670" y="503604"/>
                  </a:moveTo>
                  <a:cubicBezTo>
                    <a:pt x="4936625" y="503604"/>
                    <a:pt x="4944695" y="511674"/>
                    <a:pt x="4944695" y="521628"/>
                  </a:cubicBezTo>
                  <a:cubicBezTo>
                    <a:pt x="4944695" y="531583"/>
                    <a:pt x="4936625" y="539653"/>
                    <a:pt x="4926670" y="539653"/>
                  </a:cubicBezTo>
                  <a:cubicBezTo>
                    <a:pt x="4916715" y="539653"/>
                    <a:pt x="4908646" y="531583"/>
                    <a:pt x="4908646" y="521628"/>
                  </a:cubicBezTo>
                  <a:cubicBezTo>
                    <a:pt x="4908646" y="511674"/>
                    <a:pt x="4916715" y="503604"/>
                    <a:pt x="4926670" y="503604"/>
                  </a:cubicBezTo>
                  <a:close/>
                  <a:moveTo>
                    <a:pt x="5419337" y="497596"/>
                  </a:moveTo>
                  <a:cubicBezTo>
                    <a:pt x="5429292" y="497596"/>
                    <a:pt x="5437362" y="505666"/>
                    <a:pt x="5437362" y="515621"/>
                  </a:cubicBezTo>
                  <a:cubicBezTo>
                    <a:pt x="5437362" y="525575"/>
                    <a:pt x="5429292" y="533645"/>
                    <a:pt x="5419337" y="533645"/>
                  </a:cubicBezTo>
                  <a:cubicBezTo>
                    <a:pt x="5409382" y="533645"/>
                    <a:pt x="5401312" y="525575"/>
                    <a:pt x="5401312" y="515621"/>
                  </a:cubicBezTo>
                  <a:cubicBezTo>
                    <a:pt x="5401312" y="505666"/>
                    <a:pt x="5409382" y="497596"/>
                    <a:pt x="5419337" y="497596"/>
                  </a:cubicBezTo>
                  <a:close/>
                  <a:moveTo>
                    <a:pt x="3610889" y="497596"/>
                  </a:moveTo>
                  <a:cubicBezTo>
                    <a:pt x="3620844" y="497596"/>
                    <a:pt x="3628914" y="505666"/>
                    <a:pt x="3628914" y="515621"/>
                  </a:cubicBezTo>
                  <a:cubicBezTo>
                    <a:pt x="3628914" y="525575"/>
                    <a:pt x="3620844" y="533645"/>
                    <a:pt x="3610889" y="533645"/>
                  </a:cubicBezTo>
                  <a:cubicBezTo>
                    <a:pt x="3600934" y="533645"/>
                    <a:pt x="3592865" y="525575"/>
                    <a:pt x="3592865" y="515621"/>
                  </a:cubicBezTo>
                  <a:cubicBezTo>
                    <a:pt x="3592865" y="505666"/>
                    <a:pt x="3600934" y="497596"/>
                    <a:pt x="3610889" y="497596"/>
                  </a:cubicBezTo>
                  <a:close/>
                  <a:moveTo>
                    <a:pt x="967309" y="497596"/>
                  </a:moveTo>
                  <a:cubicBezTo>
                    <a:pt x="977264" y="497596"/>
                    <a:pt x="985334" y="505666"/>
                    <a:pt x="985334" y="515621"/>
                  </a:cubicBezTo>
                  <a:cubicBezTo>
                    <a:pt x="985334" y="525575"/>
                    <a:pt x="977264" y="533645"/>
                    <a:pt x="967309" y="533645"/>
                  </a:cubicBezTo>
                  <a:cubicBezTo>
                    <a:pt x="957355" y="533645"/>
                    <a:pt x="949285" y="525575"/>
                    <a:pt x="949285" y="515621"/>
                  </a:cubicBezTo>
                  <a:cubicBezTo>
                    <a:pt x="949285" y="505666"/>
                    <a:pt x="957355" y="497596"/>
                    <a:pt x="967309" y="497596"/>
                  </a:cubicBezTo>
                  <a:close/>
                  <a:moveTo>
                    <a:pt x="450609" y="497596"/>
                  </a:moveTo>
                  <a:cubicBezTo>
                    <a:pt x="460564" y="497596"/>
                    <a:pt x="468634" y="505666"/>
                    <a:pt x="468634" y="515621"/>
                  </a:cubicBezTo>
                  <a:cubicBezTo>
                    <a:pt x="468634" y="525575"/>
                    <a:pt x="460564" y="533645"/>
                    <a:pt x="450609" y="533645"/>
                  </a:cubicBezTo>
                  <a:cubicBezTo>
                    <a:pt x="440655" y="533645"/>
                    <a:pt x="432585" y="525575"/>
                    <a:pt x="432585" y="515621"/>
                  </a:cubicBezTo>
                  <a:cubicBezTo>
                    <a:pt x="432585" y="505666"/>
                    <a:pt x="440655" y="497596"/>
                    <a:pt x="450609" y="497596"/>
                  </a:cubicBezTo>
                  <a:close/>
                  <a:moveTo>
                    <a:pt x="4632272" y="485580"/>
                  </a:moveTo>
                  <a:cubicBezTo>
                    <a:pt x="4642227" y="485580"/>
                    <a:pt x="4650297" y="493650"/>
                    <a:pt x="4650297" y="503604"/>
                  </a:cubicBezTo>
                  <a:cubicBezTo>
                    <a:pt x="4650297" y="513559"/>
                    <a:pt x="4642227" y="521629"/>
                    <a:pt x="4632272" y="521629"/>
                  </a:cubicBezTo>
                  <a:cubicBezTo>
                    <a:pt x="4622317" y="521629"/>
                    <a:pt x="4614248" y="513559"/>
                    <a:pt x="4614248" y="503604"/>
                  </a:cubicBezTo>
                  <a:cubicBezTo>
                    <a:pt x="4614248" y="493650"/>
                    <a:pt x="4622317" y="485580"/>
                    <a:pt x="4632272" y="485580"/>
                  </a:cubicBezTo>
                  <a:close/>
                  <a:moveTo>
                    <a:pt x="4379930" y="485580"/>
                  </a:moveTo>
                  <a:cubicBezTo>
                    <a:pt x="4389885" y="485580"/>
                    <a:pt x="4397955" y="493650"/>
                    <a:pt x="4397955" y="503604"/>
                  </a:cubicBezTo>
                  <a:cubicBezTo>
                    <a:pt x="4397955" y="513559"/>
                    <a:pt x="4389885" y="521629"/>
                    <a:pt x="4379930" y="521629"/>
                  </a:cubicBezTo>
                  <a:cubicBezTo>
                    <a:pt x="4369976" y="521629"/>
                    <a:pt x="4361906" y="513559"/>
                    <a:pt x="4361906" y="503604"/>
                  </a:cubicBezTo>
                  <a:cubicBezTo>
                    <a:pt x="4361906" y="493650"/>
                    <a:pt x="4369976" y="485580"/>
                    <a:pt x="4379930" y="485580"/>
                  </a:cubicBezTo>
                  <a:close/>
                  <a:moveTo>
                    <a:pt x="5160987" y="479571"/>
                  </a:moveTo>
                  <a:cubicBezTo>
                    <a:pt x="5170942" y="479571"/>
                    <a:pt x="5179012" y="487641"/>
                    <a:pt x="5179012" y="497595"/>
                  </a:cubicBezTo>
                  <a:cubicBezTo>
                    <a:pt x="5179012" y="507550"/>
                    <a:pt x="5170942" y="515620"/>
                    <a:pt x="5160987" y="515620"/>
                  </a:cubicBezTo>
                  <a:cubicBezTo>
                    <a:pt x="5151033" y="515620"/>
                    <a:pt x="5142963" y="507550"/>
                    <a:pt x="5142963" y="497595"/>
                  </a:cubicBezTo>
                  <a:cubicBezTo>
                    <a:pt x="5142963" y="487641"/>
                    <a:pt x="5151033" y="479571"/>
                    <a:pt x="5160987" y="479571"/>
                  </a:cubicBezTo>
                  <a:close/>
                  <a:moveTo>
                    <a:pt x="4241743" y="479571"/>
                  </a:moveTo>
                  <a:cubicBezTo>
                    <a:pt x="4251698" y="479571"/>
                    <a:pt x="4259768" y="487641"/>
                    <a:pt x="4259768" y="497595"/>
                  </a:cubicBezTo>
                  <a:cubicBezTo>
                    <a:pt x="4259768" y="507550"/>
                    <a:pt x="4251698" y="515620"/>
                    <a:pt x="4241743" y="515620"/>
                  </a:cubicBezTo>
                  <a:cubicBezTo>
                    <a:pt x="4231788" y="515620"/>
                    <a:pt x="4223719" y="507550"/>
                    <a:pt x="4223719" y="497595"/>
                  </a:cubicBezTo>
                  <a:cubicBezTo>
                    <a:pt x="4223719" y="487641"/>
                    <a:pt x="4231788" y="479571"/>
                    <a:pt x="4241743" y="479571"/>
                  </a:cubicBezTo>
                  <a:close/>
                  <a:moveTo>
                    <a:pt x="3821173" y="479571"/>
                  </a:moveTo>
                  <a:cubicBezTo>
                    <a:pt x="3831128" y="479571"/>
                    <a:pt x="3839198" y="487641"/>
                    <a:pt x="3839198" y="497595"/>
                  </a:cubicBezTo>
                  <a:cubicBezTo>
                    <a:pt x="3839198" y="507550"/>
                    <a:pt x="3831128" y="515620"/>
                    <a:pt x="3821173" y="515620"/>
                  </a:cubicBezTo>
                  <a:cubicBezTo>
                    <a:pt x="3811218" y="515620"/>
                    <a:pt x="3803149" y="507550"/>
                    <a:pt x="3803149" y="497595"/>
                  </a:cubicBezTo>
                  <a:cubicBezTo>
                    <a:pt x="3803149" y="487641"/>
                    <a:pt x="3811218" y="479571"/>
                    <a:pt x="3821173" y="479571"/>
                  </a:cubicBezTo>
                  <a:close/>
                  <a:moveTo>
                    <a:pt x="3364555" y="479571"/>
                  </a:moveTo>
                  <a:cubicBezTo>
                    <a:pt x="3374510" y="479571"/>
                    <a:pt x="3382580" y="487641"/>
                    <a:pt x="3382580" y="497595"/>
                  </a:cubicBezTo>
                  <a:cubicBezTo>
                    <a:pt x="3382580" y="507550"/>
                    <a:pt x="3374510" y="515620"/>
                    <a:pt x="3364555" y="515620"/>
                  </a:cubicBezTo>
                  <a:cubicBezTo>
                    <a:pt x="3354600" y="515620"/>
                    <a:pt x="3346531" y="507550"/>
                    <a:pt x="3346531" y="497595"/>
                  </a:cubicBezTo>
                  <a:cubicBezTo>
                    <a:pt x="3346531" y="487641"/>
                    <a:pt x="3354600" y="479571"/>
                    <a:pt x="3364555" y="479571"/>
                  </a:cubicBezTo>
                  <a:close/>
                  <a:moveTo>
                    <a:pt x="1093480" y="479571"/>
                  </a:moveTo>
                  <a:cubicBezTo>
                    <a:pt x="1103435" y="479571"/>
                    <a:pt x="1111505" y="487641"/>
                    <a:pt x="1111505" y="497595"/>
                  </a:cubicBezTo>
                  <a:cubicBezTo>
                    <a:pt x="1111505" y="507550"/>
                    <a:pt x="1103435" y="515620"/>
                    <a:pt x="1093480" y="515620"/>
                  </a:cubicBezTo>
                  <a:cubicBezTo>
                    <a:pt x="1083526" y="515620"/>
                    <a:pt x="1075456" y="507550"/>
                    <a:pt x="1075456" y="497595"/>
                  </a:cubicBezTo>
                  <a:cubicBezTo>
                    <a:pt x="1075456" y="487641"/>
                    <a:pt x="1083526" y="479571"/>
                    <a:pt x="1093480" y="479571"/>
                  </a:cubicBezTo>
                  <a:close/>
                  <a:moveTo>
                    <a:pt x="5299175" y="473563"/>
                  </a:moveTo>
                  <a:cubicBezTo>
                    <a:pt x="5309130" y="473563"/>
                    <a:pt x="5317200" y="481633"/>
                    <a:pt x="5317200" y="491587"/>
                  </a:cubicBezTo>
                  <a:cubicBezTo>
                    <a:pt x="5317200" y="501542"/>
                    <a:pt x="5309130" y="509612"/>
                    <a:pt x="5299175" y="509612"/>
                  </a:cubicBezTo>
                  <a:cubicBezTo>
                    <a:pt x="5289220" y="509612"/>
                    <a:pt x="5281150" y="501542"/>
                    <a:pt x="5281150" y="491587"/>
                  </a:cubicBezTo>
                  <a:cubicBezTo>
                    <a:pt x="5281150" y="481633"/>
                    <a:pt x="5289220" y="473563"/>
                    <a:pt x="5299175" y="473563"/>
                  </a:cubicBezTo>
                  <a:close/>
                  <a:moveTo>
                    <a:pt x="4506101" y="473563"/>
                  </a:moveTo>
                  <a:cubicBezTo>
                    <a:pt x="4516056" y="473563"/>
                    <a:pt x="4524126" y="481633"/>
                    <a:pt x="4524126" y="491587"/>
                  </a:cubicBezTo>
                  <a:cubicBezTo>
                    <a:pt x="4524126" y="501542"/>
                    <a:pt x="4516056" y="509612"/>
                    <a:pt x="4506101" y="509612"/>
                  </a:cubicBezTo>
                  <a:cubicBezTo>
                    <a:pt x="4496146" y="509612"/>
                    <a:pt x="4488077" y="501542"/>
                    <a:pt x="4488077" y="491587"/>
                  </a:cubicBezTo>
                  <a:cubicBezTo>
                    <a:pt x="4488077" y="481633"/>
                    <a:pt x="4496146" y="473563"/>
                    <a:pt x="4506101" y="473563"/>
                  </a:cubicBezTo>
                  <a:close/>
                  <a:moveTo>
                    <a:pt x="4115572" y="473563"/>
                  </a:moveTo>
                  <a:cubicBezTo>
                    <a:pt x="4125527" y="473563"/>
                    <a:pt x="4133597" y="481633"/>
                    <a:pt x="4133597" y="491587"/>
                  </a:cubicBezTo>
                  <a:cubicBezTo>
                    <a:pt x="4133597" y="501542"/>
                    <a:pt x="4125527" y="509612"/>
                    <a:pt x="4115572" y="509612"/>
                  </a:cubicBezTo>
                  <a:cubicBezTo>
                    <a:pt x="4105617" y="509612"/>
                    <a:pt x="4097548" y="501542"/>
                    <a:pt x="4097548" y="491587"/>
                  </a:cubicBezTo>
                  <a:cubicBezTo>
                    <a:pt x="4097548" y="481633"/>
                    <a:pt x="4105617" y="473563"/>
                    <a:pt x="4115572" y="473563"/>
                  </a:cubicBezTo>
                  <a:close/>
                  <a:moveTo>
                    <a:pt x="2295107" y="473563"/>
                  </a:moveTo>
                  <a:cubicBezTo>
                    <a:pt x="2305062" y="473563"/>
                    <a:pt x="2313132" y="481633"/>
                    <a:pt x="2313132" y="491587"/>
                  </a:cubicBezTo>
                  <a:cubicBezTo>
                    <a:pt x="2313132" y="501542"/>
                    <a:pt x="2305062" y="509612"/>
                    <a:pt x="2295107" y="509612"/>
                  </a:cubicBezTo>
                  <a:cubicBezTo>
                    <a:pt x="2285153" y="509612"/>
                    <a:pt x="2277083" y="501542"/>
                    <a:pt x="2277083" y="491587"/>
                  </a:cubicBezTo>
                  <a:cubicBezTo>
                    <a:pt x="2277083" y="481633"/>
                    <a:pt x="2285153" y="473563"/>
                    <a:pt x="2295107" y="473563"/>
                  </a:cubicBezTo>
                  <a:close/>
                  <a:moveTo>
                    <a:pt x="1838489" y="473563"/>
                  </a:moveTo>
                  <a:cubicBezTo>
                    <a:pt x="1848444" y="473563"/>
                    <a:pt x="1856514" y="481633"/>
                    <a:pt x="1856514" y="491587"/>
                  </a:cubicBezTo>
                  <a:cubicBezTo>
                    <a:pt x="1856514" y="501542"/>
                    <a:pt x="1848444" y="509612"/>
                    <a:pt x="1838489" y="509612"/>
                  </a:cubicBezTo>
                  <a:cubicBezTo>
                    <a:pt x="1828535" y="509612"/>
                    <a:pt x="1820465" y="501542"/>
                    <a:pt x="1820465" y="491587"/>
                  </a:cubicBezTo>
                  <a:cubicBezTo>
                    <a:pt x="1820465" y="481633"/>
                    <a:pt x="1828535" y="473563"/>
                    <a:pt x="1838489" y="473563"/>
                  </a:cubicBezTo>
                  <a:close/>
                  <a:moveTo>
                    <a:pt x="2889912" y="467555"/>
                  </a:moveTo>
                  <a:cubicBezTo>
                    <a:pt x="2899867" y="467555"/>
                    <a:pt x="2907937" y="475625"/>
                    <a:pt x="2907937" y="485580"/>
                  </a:cubicBezTo>
                  <a:cubicBezTo>
                    <a:pt x="2907937" y="495534"/>
                    <a:pt x="2899867" y="503604"/>
                    <a:pt x="2889912" y="503604"/>
                  </a:cubicBezTo>
                  <a:cubicBezTo>
                    <a:pt x="2879957" y="503604"/>
                    <a:pt x="2871888" y="495534"/>
                    <a:pt x="2871888" y="485580"/>
                  </a:cubicBezTo>
                  <a:cubicBezTo>
                    <a:pt x="2871888" y="475625"/>
                    <a:pt x="2879957" y="467555"/>
                    <a:pt x="2889912" y="467555"/>
                  </a:cubicBezTo>
                  <a:close/>
                  <a:moveTo>
                    <a:pt x="2108855" y="467555"/>
                  </a:moveTo>
                  <a:cubicBezTo>
                    <a:pt x="2118810" y="467555"/>
                    <a:pt x="2126880" y="475625"/>
                    <a:pt x="2126880" y="485580"/>
                  </a:cubicBezTo>
                  <a:cubicBezTo>
                    <a:pt x="2126880" y="495534"/>
                    <a:pt x="2118810" y="503604"/>
                    <a:pt x="2108855" y="503604"/>
                  </a:cubicBezTo>
                  <a:cubicBezTo>
                    <a:pt x="2098901" y="503604"/>
                    <a:pt x="2090831" y="495534"/>
                    <a:pt x="2090831" y="485580"/>
                  </a:cubicBezTo>
                  <a:cubicBezTo>
                    <a:pt x="2090831" y="475625"/>
                    <a:pt x="2098901" y="467555"/>
                    <a:pt x="2108855" y="467555"/>
                  </a:cubicBezTo>
                  <a:close/>
                  <a:moveTo>
                    <a:pt x="1616189" y="467555"/>
                  </a:moveTo>
                  <a:cubicBezTo>
                    <a:pt x="1626143" y="467555"/>
                    <a:pt x="1634213" y="475625"/>
                    <a:pt x="1634213" y="485580"/>
                  </a:cubicBezTo>
                  <a:cubicBezTo>
                    <a:pt x="1634213" y="495534"/>
                    <a:pt x="1626143" y="503604"/>
                    <a:pt x="1616189" y="503604"/>
                  </a:cubicBezTo>
                  <a:cubicBezTo>
                    <a:pt x="1606234" y="503604"/>
                    <a:pt x="1598164" y="495534"/>
                    <a:pt x="1598164" y="485580"/>
                  </a:cubicBezTo>
                  <a:cubicBezTo>
                    <a:pt x="1598164" y="475625"/>
                    <a:pt x="1606234" y="467555"/>
                    <a:pt x="1616189" y="467555"/>
                  </a:cubicBezTo>
                  <a:close/>
                  <a:moveTo>
                    <a:pt x="330447" y="467555"/>
                  </a:moveTo>
                  <a:cubicBezTo>
                    <a:pt x="340402" y="467555"/>
                    <a:pt x="348472" y="475625"/>
                    <a:pt x="348472" y="485580"/>
                  </a:cubicBezTo>
                  <a:cubicBezTo>
                    <a:pt x="348472" y="495534"/>
                    <a:pt x="340402" y="503604"/>
                    <a:pt x="330447" y="503604"/>
                  </a:cubicBezTo>
                  <a:cubicBezTo>
                    <a:pt x="320493" y="503604"/>
                    <a:pt x="312423" y="495534"/>
                    <a:pt x="312423" y="485580"/>
                  </a:cubicBezTo>
                  <a:cubicBezTo>
                    <a:pt x="312423" y="475625"/>
                    <a:pt x="320493" y="467555"/>
                    <a:pt x="330447" y="467555"/>
                  </a:cubicBezTo>
                  <a:close/>
                  <a:moveTo>
                    <a:pt x="3935328" y="461547"/>
                  </a:moveTo>
                  <a:cubicBezTo>
                    <a:pt x="3945283" y="461547"/>
                    <a:pt x="3953353" y="469616"/>
                    <a:pt x="3953353" y="479571"/>
                  </a:cubicBezTo>
                  <a:cubicBezTo>
                    <a:pt x="3953353" y="489526"/>
                    <a:pt x="3945283" y="497596"/>
                    <a:pt x="3935328" y="497596"/>
                  </a:cubicBezTo>
                  <a:cubicBezTo>
                    <a:pt x="3925373" y="497596"/>
                    <a:pt x="3917304" y="489526"/>
                    <a:pt x="3917304" y="479571"/>
                  </a:cubicBezTo>
                  <a:cubicBezTo>
                    <a:pt x="3917304" y="469616"/>
                    <a:pt x="3925373" y="461547"/>
                    <a:pt x="3935328" y="461547"/>
                  </a:cubicBezTo>
                  <a:close/>
                  <a:moveTo>
                    <a:pt x="6224427" y="455539"/>
                  </a:moveTo>
                  <a:cubicBezTo>
                    <a:pt x="6234382" y="455539"/>
                    <a:pt x="6242452" y="463609"/>
                    <a:pt x="6242452" y="473563"/>
                  </a:cubicBezTo>
                  <a:cubicBezTo>
                    <a:pt x="6242452" y="483518"/>
                    <a:pt x="6234382" y="491588"/>
                    <a:pt x="6224427" y="491588"/>
                  </a:cubicBezTo>
                  <a:cubicBezTo>
                    <a:pt x="6214472" y="491588"/>
                    <a:pt x="6206403" y="483518"/>
                    <a:pt x="6206403" y="473563"/>
                  </a:cubicBezTo>
                  <a:cubicBezTo>
                    <a:pt x="6206403" y="463609"/>
                    <a:pt x="6214472" y="455539"/>
                    <a:pt x="6224427" y="455539"/>
                  </a:cubicBezTo>
                  <a:close/>
                  <a:moveTo>
                    <a:pt x="6110273" y="455539"/>
                  </a:moveTo>
                  <a:cubicBezTo>
                    <a:pt x="6120228" y="455539"/>
                    <a:pt x="6128298" y="463609"/>
                    <a:pt x="6128298" y="473563"/>
                  </a:cubicBezTo>
                  <a:cubicBezTo>
                    <a:pt x="6128298" y="483518"/>
                    <a:pt x="6120228" y="491588"/>
                    <a:pt x="6110273" y="491588"/>
                  </a:cubicBezTo>
                  <a:cubicBezTo>
                    <a:pt x="6100318" y="491588"/>
                    <a:pt x="6092248" y="483518"/>
                    <a:pt x="6092248" y="473563"/>
                  </a:cubicBezTo>
                  <a:cubicBezTo>
                    <a:pt x="6092248" y="463609"/>
                    <a:pt x="6100318" y="455539"/>
                    <a:pt x="6110273" y="455539"/>
                  </a:cubicBezTo>
                  <a:close/>
                  <a:moveTo>
                    <a:pt x="3496734" y="455539"/>
                  </a:moveTo>
                  <a:cubicBezTo>
                    <a:pt x="3506689" y="455539"/>
                    <a:pt x="3514759" y="463609"/>
                    <a:pt x="3514759" y="473563"/>
                  </a:cubicBezTo>
                  <a:cubicBezTo>
                    <a:pt x="3514759" y="483518"/>
                    <a:pt x="3506689" y="491588"/>
                    <a:pt x="3496734" y="491588"/>
                  </a:cubicBezTo>
                  <a:cubicBezTo>
                    <a:pt x="3486779" y="491588"/>
                    <a:pt x="3478709" y="483518"/>
                    <a:pt x="3478709" y="473563"/>
                  </a:cubicBezTo>
                  <a:cubicBezTo>
                    <a:pt x="3478709" y="463609"/>
                    <a:pt x="3486779" y="455539"/>
                    <a:pt x="3496734" y="455539"/>
                  </a:cubicBezTo>
                  <a:close/>
                  <a:moveTo>
                    <a:pt x="1333805" y="455539"/>
                  </a:moveTo>
                  <a:cubicBezTo>
                    <a:pt x="1343760" y="455539"/>
                    <a:pt x="1351830" y="463609"/>
                    <a:pt x="1351830" y="473563"/>
                  </a:cubicBezTo>
                  <a:cubicBezTo>
                    <a:pt x="1351830" y="483518"/>
                    <a:pt x="1343760" y="491588"/>
                    <a:pt x="1333805" y="491588"/>
                  </a:cubicBezTo>
                  <a:cubicBezTo>
                    <a:pt x="1323851" y="491588"/>
                    <a:pt x="1315781" y="483518"/>
                    <a:pt x="1315781" y="473563"/>
                  </a:cubicBezTo>
                  <a:cubicBezTo>
                    <a:pt x="1315781" y="463609"/>
                    <a:pt x="1323851" y="455539"/>
                    <a:pt x="1333805" y="455539"/>
                  </a:cubicBezTo>
                  <a:close/>
                  <a:moveTo>
                    <a:pt x="2727693" y="449531"/>
                  </a:moveTo>
                  <a:cubicBezTo>
                    <a:pt x="2737648" y="449531"/>
                    <a:pt x="2745718" y="457601"/>
                    <a:pt x="2745718" y="467555"/>
                  </a:cubicBezTo>
                  <a:cubicBezTo>
                    <a:pt x="2745718" y="477510"/>
                    <a:pt x="2737648" y="485580"/>
                    <a:pt x="2727693" y="485580"/>
                  </a:cubicBezTo>
                  <a:cubicBezTo>
                    <a:pt x="2717739" y="485580"/>
                    <a:pt x="2709669" y="477510"/>
                    <a:pt x="2709669" y="467555"/>
                  </a:cubicBezTo>
                  <a:cubicBezTo>
                    <a:pt x="2709669" y="457601"/>
                    <a:pt x="2717739" y="449531"/>
                    <a:pt x="2727693" y="449531"/>
                  </a:cubicBezTo>
                  <a:close/>
                  <a:moveTo>
                    <a:pt x="2607530" y="449531"/>
                  </a:moveTo>
                  <a:cubicBezTo>
                    <a:pt x="2617485" y="449531"/>
                    <a:pt x="2625555" y="457601"/>
                    <a:pt x="2625555" y="467555"/>
                  </a:cubicBezTo>
                  <a:cubicBezTo>
                    <a:pt x="2625555" y="477510"/>
                    <a:pt x="2617485" y="485580"/>
                    <a:pt x="2607530" y="485580"/>
                  </a:cubicBezTo>
                  <a:cubicBezTo>
                    <a:pt x="2597576" y="485580"/>
                    <a:pt x="2589506" y="477510"/>
                    <a:pt x="2589506" y="467555"/>
                  </a:cubicBezTo>
                  <a:cubicBezTo>
                    <a:pt x="2589506" y="457601"/>
                    <a:pt x="2597576" y="449531"/>
                    <a:pt x="2607530" y="449531"/>
                  </a:cubicBezTo>
                  <a:close/>
                  <a:moveTo>
                    <a:pt x="5797850" y="443523"/>
                  </a:moveTo>
                  <a:cubicBezTo>
                    <a:pt x="5807805" y="443523"/>
                    <a:pt x="5815875" y="451593"/>
                    <a:pt x="5815875" y="461547"/>
                  </a:cubicBezTo>
                  <a:cubicBezTo>
                    <a:pt x="5815875" y="471502"/>
                    <a:pt x="5807805" y="479572"/>
                    <a:pt x="5797850" y="479572"/>
                  </a:cubicBezTo>
                  <a:cubicBezTo>
                    <a:pt x="5787895" y="479572"/>
                    <a:pt x="5779826" y="471502"/>
                    <a:pt x="5779826" y="461547"/>
                  </a:cubicBezTo>
                  <a:cubicBezTo>
                    <a:pt x="5779826" y="451593"/>
                    <a:pt x="5787895" y="443523"/>
                    <a:pt x="5797850" y="443523"/>
                  </a:cubicBezTo>
                  <a:close/>
                  <a:moveTo>
                    <a:pt x="5653655" y="443523"/>
                  </a:moveTo>
                  <a:cubicBezTo>
                    <a:pt x="5663610" y="443523"/>
                    <a:pt x="5671680" y="451593"/>
                    <a:pt x="5671680" y="461547"/>
                  </a:cubicBezTo>
                  <a:cubicBezTo>
                    <a:pt x="5671680" y="471502"/>
                    <a:pt x="5663610" y="479572"/>
                    <a:pt x="5653655" y="479572"/>
                  </a:cubicBezTo>
                  <a:cubicBezTo>
                    <a:pt x="5643700" y="479572"/>
                    <a:pt x="5635631" y="471502"/>
                    <a:pt x="5635631" y="461547"/>
                  </a:cubicBezTo>
                  <a:cubicBezTo>
                    <a:pt x="5635631" y="451593"/>
                    <a:pt x="5643700" y="443523"/>
                    <a:pt x="5653655" y="443523"/>
                  </a:cubicBezTo>
                  <a:close/>
                  <a:moveTo>
                    <a:pt x="96129" y="437514"/>
                  </a:moveTo>
                  <a:cubicBezTo>
                    <a:pt x="106084" y="437514"/>
                    <a:pt x="114154" y="445584"/>
                    <a:pt x="114154" y="455539"/>
                  </a:cubicBezTo>
                  <a:cubicBezTo>
                    <a:pt x="114154" y="465493"/>
                    <a:pt x="106084" y="473563"/>
                    <a:pt x="96129" y="473563"/>
                  </a:cubicBezTo>
                  <a:cubicBezTo>
                    <a:pt x="86175" y="473563"/>
                    <a:pt x="78105" y="465493"/>
                    <a:pt x="78105" y="455539"/>
                  </a:cubicBezTo>
                  <a:cubicBezTo>
                    <a:pt x="78105" y="445584"/>
                    <a:pt x="86175" y="437514"/>
                    <a:pt x="96129" y="437514"/>
                  </a:cubicBezTo>
                  <a:close/>
                  <a:moveTo>
                    <a:pt x="3058140" y="431506"/>
                  </a:moveTo>
                  <a:cubicBezTo>
                    <a:pt x="3068095" y="431506"/>
                    <a:pt x="3076165" y="439575"/>
                    <a:pt x="3076165" y="449530"/>
                  </a:cubicBezTo>
                  <a:cubicBezTo>
                    <a:pt x="3076165" y="459485"/>
                    <a:pt x="3068095" y="467555"/>
                    <a:pt x="3058140" y="467555"/>
                  </a:cubicBezTo>
                  <a:cubicBezTo>
                    <a:pt x="3048186" y="467555"/>
                    <a:pt x="3040116" y="459485"/>
                    <a:pt x="3040116" y="449530"/>
                  </a:cubicBezTo>
                  <a:cubicBezTo>
                    <a:pt x="3040116" y="439575"/>
                    <a:pt x="3048186" y="431506"/>
                    <a:pt x="3058140" y="431506"/>
                  </a:cubicBezTo>
                  <a:close/>
                  <a:moveTo>
                    <a:pt x="2493375" y="431506"/>
                  </a:moveTo>
                  <a:cubicBezTo>
                    <a:pt x="2503330" y="431506"/>
                    <a:pt x="2511400" y="439575"/>
                    <a:pt x="2511400" y="449530"/>
                  </a:cubicBezTo>
                  <a:cubicBezTo>
                    <a:pt x="2511400" y="459485"/>
                    <a:pt x="2503330" y="467555"/>
                    <a:pt x="2493375" y="467555"/>
                  </a:cubicBezTo>
                  <a:cubicBezTo>
                    <a:pt x="2483420" y="467555"/>
                    <a:pt x="2475351" y="459485"/>
                    <a:pt x="2475351" y="449530"/>
                  </a:cubicBezTo>
                  <a:cubicBezTo>
                    <a:pt x="2475351" y="439575"/>
                    <a:pt x="2483420" y="431506"/>
                    <a:pt x="2493375" y="431506"/>
                  </a:cubicBezTo>
                  <a:close/>
                  <a:moveTo>
                    <a:pt x="216292" y="431506"/>
                  </a:moveTo>
                  <a:cubicBezTo>
                    <a:pt x="226247" y="431506"/>
                    <a:pt x="234317" y="439575"/>
                    <a:pt x="234317" y="449530"/>
                  </a:cubicBezTo>
                  <a:cubicBezTo>
                    <a:pt x="234317" y="459485"/>
                    <a:pt x="226247" y="467555"/>
                    <a:pt x="216292" y="467555"/>
                  </a:cubicBezTo>
                  <a:cubicBezTo>
                    <a:pt x="206338" y="467555"/>
                    <a:pt x="198268" y="459485"/>
                    <a:pt x="198268" y="449530"/>
                  </a:cubicBezTo>
                  <a:cubicBezTo>
                    <a:pt x="198268" y="439575"/>
                    <a:pt x="206338" y="431506"/>
                    <a:pt x="216292" y="431506"/>
                  </a:cubicBezTo>
                  <a:close/>
                  <a:moveTo>
                    <a:pt x="4758442" y="425498"/>
                  </a:moveTo>
                  <a:cubicBezTo>
                    <a:pt x="4768397" y="425498"/>
                    <a:pt x="4776467" y="433568"/>
                    <a:pt x="4776467" y="443522"/>
                  </a:cubicBezTo>
                  <a:cubicBezTo>
                    <a:pt x="4776467" y="453477"/>
                    <a:pt x="4768397" y="461547"/>
                    <a:pt x="4758442" y="461547"/>
                  </a:cubicBezTo>
                  <a:cubicBezTo>
                    <a:pt x="4748487" y="461547"/>
                    <a:pt x="4740417" y="453477"/>
                    <a:pt x="4740417" y="443522"/>
                  </a:cubicBezTo>
                  <a:cubicBezTo>
                    <a:pt x="4740417" y="433568"/>
                    <a:pt x="4748487" y="425498"/>
                    <a:pt x="4758442" y="425498"/>
                  </a:cubicBezTo>
                  <a:close/>
                  <a:moveTo>
                    <a:pt x="1453968" y="425498"/>
                  </a:moveTo>
                  <a:cubicBezTo>
                    <a:pt x="1463923" y="425498"/>
                    <a:pt x="1471993" y="433568"/>
                    <a:pt x="1471993" y="443522"/>
                  </a:cubicBezTo>
                  <a:cubicBezTo>
                    <a:pt x="1471993" y="453477"/>
                    <a:pt x="1463923" y="461547"/>
                    <a:pt x="1453968" y="461547"/>
                  </a:cubicBezTo>
                  <a:cubicBezTo>
                    <a:pt x="1444014" y="461547"/>
                    <a:pt x="1435944" y="453477"/>
                    <a:pt x="1435944" y="443522"/>
                  </a:cubicBezTo>
                  <a:cubicBezTo>
                    <a:pt x="1435944" y="433568"/>
                    <a:pt x="1444014" y="425498"/>
                    <a:pt x="1453968" y="425498"/>
                  </a:cubicBezTo>
                  <a:close/>
                  <a:moveTo>
                    <a:pt x="552748" y="425498"/>
                  </a:moveTo>
                  <a:cubicBezTo>
                    <a:pt x="562703" y="425498"/>
                    <a:pt x="570773" y="433568"/>
                    <a:pt x="570773" y="443522"/>
                  </a:cubicBezTo>
                  <a:cubicBezTo>
                    <a:pt x="570773" y="453477"/>
                    <a:pt x="562703" y="461547"/>
                    <a:pt x="552748" y="461547"/>
                  </a:cubicBezTo>
                  <a:cubicBezTo>
                    <a:pt x="542794" y="461547"/>
                    <a:pt x="534724" y="453477"/>
                    <a:pt x="534724" y="443522"/>
                  </a:cubicBezTo>
                  <a:cubicBezTo>
                    <a:pt x="534724" y="433568"/>
                    <a:pt x="542794" y="425498"/>
                    <a:pt x="552748" y="425498"/>
                  </a:cubicBezTo>
                  <a:close/>
                  <a:moveTo>
                    <a:pt x="1742358" y="419490"/>
                  </a:moveTo>
                  <a:cubicBezTo>
                    <a:pt x="1752313" y="419490"/>
                    <a:pt x="1760383" y="427560"/>
                    <a:pt x="1760383" y="437514"/>
                  </a:cubicBezTo>
                  <a:cubicBezTo>
                    <a:pt x="1760383" y="447469"/>
                    <a:pt x="1752313" y="455539"/>
                    <a:pt x="1742358" y="455539"/>
                  </a:cubicBezTo>
                  <a:cubicBezTo>
                    <a:pt x="1732404" y="455539"/>
                    <a:pt x="1724334" y="447469"/>
                    <a:pt x="1724334" y="437514"/>
                  </a:cubicBezTo>
                  <a:cubicBezTo>
                    <a:pt x="1724334" y="427560"/>
                    <a:pt x="1732404" y="419490"/>
                    <a:pt x="1742358" y="419490"/>
                  </a:cubicBezTo>
                  <a:close/>
                  <a:moveTo>
                    <a:pt x="1183602" y="413482"/>
                  </a:moveTo>
                  <a:cubicBezTo>
                    <a:pt x="1193557" y="413482"/>
                    <a:pt x="1201627" y="421552"/>
                    <a:pt x="1201627" y="431506"/>
                  </a:cubicBezTo>
                  <a:cubicBezTo>
                    <a:pt x="1201627" y="441461"/>
                    <a:pt x="1193557" y="449531"/>
                    <a:pt x="1183602" y="449531"/>
                  </a:cubicBezTo>
                  <a:cubicBezTo>
                    <a:pt x="1173648" y="449531"/>
                    <a:pt x="1165578" y="441461"/>
                    <a:pt x="1165578" y="431506"/>
                  </a:cubicBezTo>
                  <a:cubicBezTo>
                    <a:pt x="1165578" y="421552"/>
                    <a:pt x="1173648" y="413482"/>
                    <a:pt x="1183602" y="413482"/>
                  </a:cubicBezTo>
                  <a:close/>
                  <a:moveTo>
                    <a:pt x="895212" y="413482"/>
                  </a:moveTo>
                  <a:cubicBezTo>
                    <a:pt x="905166" y="413482"/>
                    <a:pt x="913236" y="421552"/>
                    <a:pt x="913236" y="431506"/>
                  </a:cubicBezTo>
                  <a:cubicBezTo>
                    <a:pt x="913236" y="441461"/>
                    <a:pt x="905166" y="449531"/>
                    <a:pt x="895212" y="449531"/>
                  </a:cubicBezTo>
                  <a:cubicBezTo>
                    <a:pt x="885257" y="449531"/>
                    <a:pt x="877187" y="441461"/>
                    <a:pt x="877187" y="431506"/>
                  </a:cubicBezTo>
                  <a:cubicBezTo>
                    <a:pt x="877187" y="421552"/>
                    <a:pt x="885257" y="413482"/>
                    <a:pt x="895212" y="413482"/>
                  </a:cubicBezTo>
                  <a:close/>
                  <a:moveTo>
                    <a:pt x="672910" y="413482"/>
                  </a:moveTo>
                  <a:cubicBezTo>
                    <a:pt x="682865" y="413482"/>
                    <a:pt x="690935" y="421552"/>
                    <a:pt x="690935" y="431506"/>
                  </a:cubicBezTo>
                  <a:cubicBezTo>
                    <a:pt x="690935" y="441461"/>
                    <a:pt x="682865" y="449531"/>
                    <a:pt x="672910" y="449531"/>
                  </a:cubicBezTo>
                  <a:cubicBezTo>
                    <a:pt x="662956" y="449531"/>
                    <a:pt x="654886" y="441461"/>
                    <a:pt x="654886" y="431506"/>
                  </a:cubicBezTo>
                  <a:cubicBezTo>
                    <a:pt x="654886" y="421552"/>
                    <a:pt x="662956" y="413482"/>
                    <a:pt x="672910" y="413482"/>
                  </a:cubicBezTo>
                  <a:close/>
                  <a:moveTo>
                    <a:pt x="3719035" y="407474"/>
                  </a:moveTo>
                  <a:cubicBezTo>
                    <a:pt x="3728990" y="407474"/>
                    <a:pt x="3737060" y="415544"/>
                    <a:pt x="3737060" y="425499"/>
                  </a:cubicBezTo>
                  <a:cubicBezTo>
                    <a:pt x="3737060" y="435453"/>
                    <a:pt x="3728990" y="443523"/>
                    <a:pt x="3719035" y="443523"/>
                  </a:cubicBezTo>
                  <a:cubicBezTo>
                    <a:pt x="3709081" y="443523"/>
                    <a:pt x="3701011" y="435453"/>
                    <a:pt x="3701011" y="425499"/>
                  </a:cubicBezTo>
                  <a:cubicBezTo>
                    <a:pt x="3701011" y="415544"/>
                    <a:pt x="3709081" y="407474"/>
                    <a:pt x="3719035" y="407474"/>
                  </a:cubicBezTo>
                  <a:close/>
                  <a:moveTo>
                    <a:pt x="6002126" y="401466"/>
                  </a:moveTo>
                  <a:cubicBezTo>
                    <a:pt x="6012081" y="401466"/>
                    <a:pt x="6020151" y="409535"/>
                    <a:pt x="6020151" y="419490"/>
                  </a:cubicBezTo>
                  <a:cubicBezTo>
                    <a:pt x="6020151" y="429445"/>
                    <a:pt x="6012081" y="437515"/>
                    <a:pt x="6002126" y="437515"/>
                  </a:cubicBezTo>
                  <a:cubicBezTo>
                    <a:pt x="5992172" y="437515"/>
                    <a:pt x="5984102" y="429445"/>
                    <a:pt x="5984102" y="419490"/>
                  </a:cubicBezTo>
                  <a:cubicBezTo>
                    <a:pt x="5984102" y="409535"/>
                    <a:pt x="5992172" y="401466"/>
                    <a:pt x="6002126" y="401466"/>
                  </a:cubicBezTo>
                  <a:close/>
                  <a:moveTo>
                    <a:pt x="1970668" y="401466"/>
                  </a:moveTo>
                  <a:cubicBezTo>
                    <a:pt x="1980623" y="401466"/>
                    <a:pt x="1988693" y="409535"/>
                    <a:pt x="1988693" y="419490"/>
                  </a:cubicBezTo>
                  <a:cubicBezTo>
                    <a:pt x="1988693" y="429445"/>
                    <a:pt x="1980623" y="437515"/>
                    <a:pt x="1970668" y="437515"/>
                  </a:cubicBezTo>
                  <a:cubicBezTo>
                    <a:pt x="1960714" y="437515"/>
                    <a:pt x="1952644" y="429445"/>
                    <a:pt x="1952644" y="419490"/>
                  </a:cubicBezTo>
                  <a:cubicBezTo>
                    <a:pt x="1952644" y="409535"/>
                    <a:pt x="1960714" y="401466"/>
                    <a:pt x="1970668" y="401466"/>
                  </a:cubicBezTo>
                  <a:close/>
                  <a:moveTo>
                    <a:pt x="5533492" y="395457"/>
                  </a:moveTo>
                  <a:cubicBezTo>
                    <a:pt x="5543447" y="395457"/>
                    <a:pt x="5551517" y="403527"/>
                    <a:pt x="5551517" y="413481"/>
                  </a:cubicBezTo>
                  <a:cubicBezTo>
                    <a:pt x="5551517" y="423436"/>
                    <a:pt x="5543447" y="431506"/>
                    <a:pt x="5533492" y="431506"/>
                  </a:cubicBezTo>
                  <a:cubicBezTo>
                    <a:pt x="5523537" y="431506"/>
                    <a:pt x="5515468" y="423436"/>
                    <a:pt x="5515468" y="413481"/>
                  </a:cubicBezTo>
                  <a:cubicBezTo>
                    <a:pt x="5515468" y="403527"/>
                    <a:pt x="5523537" y="395457"/>
                    <a:pt x="5533492" y="395457"/>
                  </a:cubicBezTo>
                  <a:close/>
                  <a:moveTo>
                    <a:pt x="3166287" y="395457"/>
                  </a:moveTo>
                  <a:cubicBezTo>
                    <a:pt x="3176242" y="395457"/>
                    <a:pt x="3184312" y="403527"/>
                    <a:pt x="3184312" y="413481"/>
                  </a:cubicBezTo>
                  <a:cubicBezTo>
                    <a:pt x="3184312" y="423436"/>
                    <a:pt x="3176242" y="431506"/>
                    <a:pt x="3166287" y="431506"/>
                  </a:cubicBezTo>
                  <a:cubicBezTo>
                    <a:pt x="3156332" y="431506"/>
                    <a:pt x="3148262" y="423436"/>
                    <a:pt x="3148262" y="413481"/>
                  </a:cubicBezTo>
                  <a:cubicBezTo>
                    <a:pt x="3148262" y="403527"/>
                    <a:pt x="3156332" y="395457"/>
                    <a:pt x="3166287" y="395457"/>
                  </a:cubicBezTo>
                  <a:close/>
                  <a:moveTo>
                    <a:pt x="2373213" y="395457"/>
                  </a:moveTo>
                  <a:cubicBezTo>
                    <a:pt x="2383168" y="395457"/>
                    <a:pt x="2391238" y="403527"/>
                    <a:pt x="2391238" y="413481"/>
                  </a:cubicBezTo>
                  <a:cubicBezTo>
                    <a:pt x="2391238" y="423436"/>
                    <a:pt x="2383168" y="431506"/>
                    <a:pt x="2373213" y="431506"/>
                  </a:cubicBezTo>
                  <a:cubicBezTo>
                    <a:pt x="2363259" y="431506"/>
                    <a:pt x="2355189" y="423436"/>
                    <a:pt x="2355189" y="413481"/>
                  </a:cubicBezTo>
                  <a:cubicBezTo>
                    <a:pt x="2355189" y="403527"/>
                    <a:pt x="2363259" y="395457"/>
                    <a:pt x="2373213" y="395457"/>
                  </a:cubicBezTo>
                  <a:close/>
                  <a:moveTo>
                    <a:pt x="787065" y="395457"/>
                  </a:moveTo>
                  <a:cubicBezTo>
                    <a:pt x="797020" y="395457"/>
                    <a:pt x="805090" y="403527"/>
                    <a:pt x="805090" y="413481"/>
                  </a:cubicBezTo>
                  <a:cubicBezTo>
                    <a:pt x="805090" y="423436"/>
                    <a:pt x="797020" y="431506"/>
                    <a:pt x="787065" y="431506"/>
                  </a:cubicBezTo>
                  <a:cubicBezTo>
                    <a:pt x="777111" y="431506"/>
                    <a:pt x="769041" y="423436"/>
                    <a:pt x="769041" y="413481"/>
                  </a:cubicBezTo>
                  <a:cubicBezTo>
                    <a:pt x="769041" y="403527"/>
                    <a:pt x="777111" y="395457"/>
                    <a:pt x="787065" y="395457"/>
                  </a:cubicBezTo>
                  <a:close/>
                  <a:moveTo>
                    <a:pt x="6344591" y="389449"/>
                  </a:moveTo>
                  <a:cubicBezTo>
                    <a:pt x="6354545" y="389449"/>
                    <a:pt x="6362615" y="397519"/>
                    <a:pt x="6362615" y="407473"/>
                  </a:cubicBezTo>
                  <a:cubicBezTo>
                    <a:pt x="6362615" y="417428"/>
                    <a:pt x="6354546" y="425498"/>
                    <a:pt x="6344591" y="425498"/>
                  </a:cubicBezTo>
                  <a:cubicBezTo>
                    <a:pt x="6334636" y="425498"/>
                    <a:pt x="6326566" y="417428"/>
                    <a:pt x="6326566" y="407473"/>
                  </a:cubicBezTo>
                  <a:cubicBezTo>
                    <a:pt x="6326566" y="397519"/>
                    <a:pt x="6334635" y="389449"/>
                    <a:pt x="6344591" y="389449"/>
                  </a:cubicBezTo>
                  <a:close/>
                  <a:moveTo>
                    <a:pt x="5407321" y="383441"/>
                  </a:moveTo>
                  <a:cubicBezTo>
                    <a:pt x="5417276" y="383441"/>
                    <a:pt x="5425346" y="391511"/>
                    <a:pt x="5425346" y="401465"/>
                  </a:cubicBezTo>
                  <a:cubicBezTo>
                    <a:pt x="5425346" y="411420"/>
                    <a:pt x="5417276" y="419490"/>
                    <a:pt x="5407321" y="419490"/>
                  </a:cubicBezTo>
                  <a:cubicBezTo>
                    <a:pt x="5397366" y="419490"/>
                    <a:pt x="5389297" y="411420"/>
                    <a:pt x="5389297" y="401465"/>
                  </a:cubicBezTo>
                  <a:cubicBezTo>
                    <a:pt x="5389297" y="391511"/>
                    <a:pt x="5397366" y="383441"/>
                    <a:pt x="5407321" y="383441"/>
                  </a:cubicBezTo>
                  <a:close/>
                  <a:moveTo>
                    <a:pt x="5233085" y="383441"/>
                  </a:moveTo>
                  <a:cubicBezTo>
                    <a:pt x="5243040" y="383441"/>
                    <a:pt x="5251110" y="391511"/>
                    <a:pt x="5251110" y="401465"/>
                  </a:cubicBezTo>
                  <a:cubicBezTo>
                    <a:pt x="5251110" y="411420"/>
                    <a:pt x="5243040" y="419490"/>
                    <a:pt x="5233085" y="419490"/>
                  </a:cubicBezTo>
                  <a:cubicBezTo>
                    <a:pt x="5223130" y="419490"/>
                    <a:pt x="5215061" y="411420"/>
                    <a:pt x="5215061" y="401465"/>
                  </a:cubicBezTo>
                  <a:cubicBezTo>
                    <a:pt x="5215061" y="391511"/>
                    <a:pt x="5223130" y="383441"/>
                    <a:pt x="5233085" y="383441"/>
                  </a:cubicBezTo>
                  <a:close/>
                  <a:moveTo>
                    <a:pt x="4956711" y="383441"/>
                  </a:moveTo>
                  <a:cubicBezTo>
                    <a:pt x="4966666" y="383441"/>
                    <a:pt x="4974736" y="391511"/>
                    <a:pt x="4974736" y="401465"/>
                  </a:cubicBezTo>
                  <a:cubicBezTo>
                    <a:pt x="4974736" y="411420"/>
                    <a:pt x="4966666" y="419490"/>
                    <a:pt x="4956711" y="419490"/>
                  </a:cubicBezTo>
                  <a:cubicBezTo>
                    <a:pt x="4946756" y="419490"/>
                    <a:pt x="4938687" y="411420"/>
                    <a:pt x="4938687" y="401465"/>
                  </a:cubicBezTo>
                  <a:cubicBezTo>
                    <a:pt x="4938687" y="391511"/>
                    <a:pt x="4946756" y="383441"/>
                    <a:pt x="4956711" y="383441"/>
                  </a:cubicBezTo>
                  <a:close/>
                  <a:moveTo>
                    <a:pt x="3604880" y="377433"/>
                  </a:moveTo>
                  <a:cubicBezTo>
                    <a:pt x="3614835" y="377433"/>
                    <a:pt x="3622905" y="385503"/>
                    <a:pt x="3622905" y="395458"/>
                  </a:cubicBezTo>
                  <a:cubicBezTo>
                    <a:pt x="3622905" y="405412"/>
                    <a:pt x="3614835" y="413482"/>
                    <a:pt x="3604880" y="413482"/>
                  </a:cubicBezTo>
                  <a:cubicBezTo>
                    <a:pt x="3594925" y="413482"/>
                    <a:pt x="3586856" y="405412"/>
                    <a:pt x="3586856" y="395458"/>
                  </a:cubicBezTo>
                  <a:cubicBezTo>
                    <a:pt x="3586856" y="385503"/>
                    <a:pt x="3594925" y="377433"/>
                    <a:pt x="3604880" y="377433"/>
                  </a:cubicBezTo>
                  <a:close/>
                  <a:moveTo>
                    <a:pt x="5082882" y="371425"/>
                  </a:moveTo>
                  <a:cubicBezTo>
                    <a:pt x="5092837" y="371425"/>
                    <a:pt x="5100907" y="379494"/>
                    <a:pt x="5100907" y="389449"/>
                  </a:cubicBezTo>
                  <a:cubicBezTo>
                    <a:pt x="5100907" y="399404"/>
                    <a:pt x="5092837" y="407474"/>
                    <a:pt x="5082882" y="407474"/>
                  </a:cubicBezTo>
                  <a:cubicBezTo>
                    <a:pt x="5072927" y="407474"/>
                    <a:pt x="5064858" y="399404"/>
                    <a:pt x="5064858" y="389449"/>
                  </a:cubicBezTo>
                  <a:cubicBezTo>
                    <a:pt x="5064858" y="379494"/>
                    <a:pt x="5072927" y="371425"/>
                    <a:pt x="5082882" y="371425"/>
                  </a:cubicBezTo>
                  <a:close/>
                  <a:moveTo>
                    <a:pt x="4638280" y="371425"/>
                  </a:moveTo>
                  <a:cubicBezTo>
                    <a:pt x="4648235" y="371425"/>
                    <a:pt x="4656305" y="379494"/>
                    <a:pt x="4656305" y="389449"/>
                  </a:cubicBezTo>
                  <a:cubicBezTo>
                    <a:pt x="4656305" y="399404"/>
                    <a:pt x="4648235" y="407474"/>
                    <a:pt x="4638280" y="407474"/>
                  </a:cubicBezTo>
                  <a:cubicBezTo>
                    <a:pt x="4628325" y="407474"/>
                    <a:pt x="4620255" y="399404"/>
                    <a:pt x="4620255" y="389449"/>
                  </a:cubicBezTo>
                  <a:cubicBezTo>
                    <a:pt x="4620255" y="379494"/>
                    <a:pt x="4628325" y="371425"/>
                    <a:pt x="4638280" y="371425"/>
                  </a:cubicBezTo>
                  <a:close/>
                  <a:moveTo>
                    <a:pt x="4289808" y="371425"/>
                  </a:moveTo>
                  <a:cubicBezTo>
                    <a:pt x="4299763" y="371425"/>
                    <a:pt x="4307833" y="379494"/>
                    <a:pt x="4307833" y="389449"/>
                  </a:cubicBezTo>
                  <a:cubicBezTo>
                    <a:pt x="4307833" y="399404"/>
                    <a:pt x="4299763" y="407474"/>
                    <a:pt x="4289808" y="407474"/>
                  </a:cubicBezTo>
                  <a:cubicBezTo>
                    <a:pt x="4279854" y="407474"/>
                    <a:pt x="4271784" y="399404"/>
                    <a:pt x="4271784" y="389449"/>
                  </a:cubicBezTo>
                  <a:cubicBezTo>
                    <a:pt x="4271784" y="379494"/>
                    <a:pt x="4279854" y="371425"/>
                    <a:pt x="4289808" y="371425"/>
                  </a:cubicBezTo>
                  <a:close/>
                  <a:moveTo>
                    <a:pt x="3412620" y="371425"/>
                  </a:moveTo>
                  <a:cubicBezTo>
                    <a:pt x="3422575" y="371425"/>
                    <a:pt x="3430645" y="379494"/>
                    <a:pt x="3430645" y="389449"/>
                  </a:cubicBezTo>
                  <a:cubicBezTo>
                    <a:pt x="3430645" y="399404"/>
                    <a:pt x="3422575" y="407474"/>
                    <a:pt x="3412620" y="407474"/>
                  </a:cubicBezTo>
                  <a:cubicBezTo>
                    <a:pt x="3402666" y="407474"/>
                    <a:pt x="3394596" y="399404"/>
                    <a:pt x="3394596" y="389449"/>
                  </a:cubicBezTo>
                  <a:cubicBezTo>
                    <a:pt x="3394596" y="379494"/>
                    <a:pt x="3402666" y="371425"/>
                    <a:pt x="3412620" y="371425"/>
                  </a:cubicBezTo>
                  <a:close/>
                  <a:moveTo>
                    <a:pt x="3286449" y="371425"/>
                  </a:moveTo>
                  <a:cubicBezTo>
                    <a:pt x="3296404" y="371425"/>
                    <a:pt x="3304474" y="379494"/>
                    <a:pt x="3304474" y="389449"/>
                  </a:cubicBezTo>
                  <a:cubicBezTo>
                    <a:pt x="3304474" y="399404"/>
                    <a:pt x="3296404" y="407474"/>
                    <a:pt x="3286449" y="407474"/>
                  </a:cubicBezTo>
                  <a:cubicBezTo>
                    <a:pt x="3276494" y="407474"/>
                    <a:pt x="3268424" y="399404"/>
                    <a:pt x="3268424" y="389449"/>
                  </a:cubicBezTo>
                  <a:cubicBezTo>
                    <a:pt x="3268424" y="379494"/>
                    <a:pt x="3276494" y="371425"/>
                    <a:pt x="3286449" y="371425"/>
                  </a:cubicBezTo>
                  <a:close/>
                  <a:moveTo>
                    <a:pt x="2204985" y="371425"/>
                  </a:moveTo>
                  <a:cubicBezTo>
                    <a:pt x="2214940" y="371425"/>
                    <a:pt x="2223010" y="379494"/>
                    <a:pt x="2223010" y="389449"/>
                  </a:cubicBezTo>
                  <a:cubicBezTo>
                    <a:pt x="2223010" y="399404"/>
                    <a:pt x="2214940" y="407474"/>
                    <a:pt x="2204985" y="407474"/>
                  </a:cubicBezTo>
                  <a:cubicBezTo>
                    <a:pt x="2195031" y="407474"/>
                    <a:pt x="2186961" y="399404"/>
                    <a:pt x="2186961" y="389449"/>
                  </a:cubicBezTo>
                  <a:cubicBezTo>
                    <a:pt x="2186961" y="379494"/>
                    <a:pt x="2195031" y="371425"/>
                    <a:pt x="2204985" y="371425"/>
                  </a:cubicBezTo>
                  <a:close/>
                  <a:moveTo>
                    <a:pt x="1033398" y="371425"/>
                  </a:moveTo>
                  <a:cubicBezTo>
                    <a:pt x="1043353" y="371425"/>
                    <a:pt x="1051423" y="379494"/>
                    <a:pt x="1051423" y="389449"/>
                  </a:cubicBezTo>
                  <a:cubicBezTo>
                    <a:pt x="1051423" y="399404"/>
                    <a:pt x="1043353" y="407474"/>
                    <a:pt x="1033398" y="407474"/>
                  </a:cubicBezTo>
                  <a:cubicBezTo>
                    <a:pt x="1023444" y="407474"/>
                    <a:pt x="1015374" y="399404"/>
                    <a:pt x="1015374" y="389449"/>
                  </a:cubicBezTo>
                  <a:cubicBezTo>
                    <a:pt x="1015374" y="379494"/>
                    <a:pt x="1023444" y="371425"/>
                    <a:pt x="1033398" y="371425"/>
                  </a:cubicBezTo>
                  <a:close/>
                  <a:moveTo>
                    <a:pt x="432585" y="371425"/>
                  </a:moveTo>
                  <a:cubicBezTo>
                    <a:pt x="442540" y="371425"/>
                    <a:pt x="450610" y="379494"/>
                    <a:pt x="450610" y="389449"/>
                  </a:cubicBezTo>
                  <a:cubicBezTo>
                    <a:pt x="450610" y="399404"/>
                    <a:pt x="442540" y="407474"/>
                    <a:pt x="432585" y="407474"/>
                  </a:cubicBezTo>
                  <a:cubicBezTo>
                    <a:pt x="422631" y="407474"/>
                    <a:pt x="414561" y="399404"/>
                    <a:pt x="414561" y="389449"/>
                  </a:cubicBezTo>
                  <a:cubicBezTo>
                    <a:pt x="414561" y="379494"/>
                    <a:pt x="422631" y="371425"/>
                    <a:pt x="432585" y="371425"/>
                  </a:cubicBezTo>
                  <a:close/>
                  <a:moveTo>
                    <a:pt x="4037466" y="365417"/>
                  </a:moveTo>
                  <a:cubicBezTo>
                    <a:pt x="4047421" y="365417"/>
                    <a:pt x="4055491" y="373487"/>
                    <a:pt x="4055491" y="383441"/>
                  </a:cubicBezTo>
                  <a:cubicBezTo>
                    <a:pt x="4055491" y="393396"/>
                    <a:pt x="4047421" y="401466"/>
                    <a:pt x="4037466" y="401466"/>
                  </a:cubicBezTo>
                  <a:cubicBezTo>
                    <a:pt x="4027511" y="401466"/>
                    <a:pt x="4019441" y="393396"/>
                    <a:pt x="4019441" y="383441"/>
                  </a:cubicBezTo>
                  <a:cubicBezTo>
                    <a:pt x="4019441" y="373487"/>
                    <a:pt x="4027511" y="365417"/>
                    <a:pt x="4037466" y="365417"/>
                  </a:cubicBezTo>
                  <a:close/>
                  <a:moveTo>
                    <a:pt x="2943986" y="365417"/>
                  </a:moveTo>
                  <a:cubicBezTo>
                    <a:pt x="2953941" y="365417"/>
                    <a:pt x="2962011" y="373487"/>
                    <a:pt x="2962011" y="383441"/>
                  </a:cubicBezTo>
                  <a:cubicBezTo>
                    <a:pt x="2962011" y="393396"/>
                    <a:pt x="2953941" y="401466"/>
                    <a:pt x="2943986" y="401466"/>
                  </a:cubicBezTo>
                  <a:cubicBezTo>
                    <a:pt x="2934031" y="401466"/>
                    <a:pt x="2925962" y="393396"/>
                    <a:pt x="2925962" y="383441"/>
                  </a:cubicBezTo>
                  <a:cubicBezTo>
                    <a:pt x="2925962" y="373487"/>
                    <a:pt x="2934031" y="365417"/>
                    <a:pt x="2943986" y="365417"/>
                  </a:cubicBezTo>
                  <a:close/>
                  <a:moveTo>
                    <a:pt x="2811807" y="365417"/>
                  </a:moveTo>
                  <a:cubicBezTo>
                    <a:pt x="2821762" y="365417"/>
                    <a:pt x="2829832" y="373487"/>
                    <a:pt x="2829832" y="383441"/>
                  </a:cubicBezTo>
                  <a:cubicBezTo>
                    <a:pt x="2829832" y="393396"/>
                    <a:pt x="2821762" y="401466"/>
                    <a:pt x="2811807" y="401466"/>
                  </a:cubicBezTo>
                  <a:cubicBezTo>
                    <a:pt x="2801853" y="401466"/>
                    <a:pt x="2793783" y="393396"/>
                    <a:pt x="2793783" y="383441"/>
                  </a:cubicBezTo>
                  <a:cubicBezTo>
                    <a:pt x="2793783" y="373487"/>
                    <a:pt x="2801853" y="365417"/>
                    <a:pt x="2811807" y="365417"/>
                  </a:cubicBezTo>
                  <a:close/>
                  <a:moveTo>
                    <a:pt x="5899988" y="353401"/>
                  </a:moveTo>
                  <a:cubicBezTo>
                    <a:pt x="5909943" y="353401"/>
                    <a:pt x="5918013" y="361471"/>
                    <a:pt x="5918013" y="371425"/>
                  </a:cubicBezTo>
                  <a:cubicBezTo>
                    <a:pt x="5918013" y="381380"/>
                    <a:pt x="5909943" y="389450"/>
                    <a:pt x="5899988" y="389450"/>
                  </a:cubicBezTo>
                  <a:cubicBezTo>
                    <a:pt x="5890033" y="389450"/>
                    <a:pt x="5881963" y="381380"/>
                    <a:pt x="5881963" y="371425"/>
                  </a:cubicBezTo>
                  <a:cubicBezTo>
                    <a:pt x="5881963" y="361471"/>
                    <a:pt x="5890033" y="353401"/>
                    <a:pt x="5899988" y="353401"/>
                  </a:cubicBezTo>
                  <a:close/>
                  <a:moveTo>
                    <a:pt x="4842556" y="353401"/>
                  </a:moveTo>
                  <a:cubicBezTo>
                    <a:pt x="4852511" y="353401"/>
                    <a:pt x="4860581" y="361471"/>
                    <a:pt x="4860581" y="371425"/>
                  </a:cubicBezTo>
                  <a:cubicBezTo>
                    <a:pt x="4860581" y="381380"/>
                    <a:pt x="4852511" y="389450"/>
                    <a:pt x="4842556" y="389450"/>
                  </a:cubicBezTo>
                  <a:cubicBezTo>
                    <a:pt x="4832601" y="389450"/>
                    <a:pt x="4824532" y="381380"/>
                    <a:pt x="4824532" y="371425"/>
                  </a:cubicBezTo>
                  <a:cubicBezTo>
                    <a:pt x="4824532" y="361471"/>
                    <a:pt x="4832601" y="353401"/>
                    <a:pt x="4842556" y="353401"/>
                  </a:cubicBezTo>
                  <a:close/>
                  <a:moveTo>
                    <a:pt x="4518117" y="353401"/>
                  </a:moveTo>
                  <a:cubicBezTo>
                    <a:pt x="4528072" y="353401"/>
                    <a:pt x="4536142" y="361471"/>
                    <a:pt x="4536142" y="371425"/>
                  </a:cubicBezTo>
                  <a:cubicBezTo>
                    <a:pt x="4536142" y="381380"/>
                    <a:pt x="4528072" y="389450"/>
                    <a:pt x="4518117" y="389450"/>
                  </a:cubicBezTo>
                  <a:cubicBezTo>
                    <a:pt x="4508162" y="389450"/>
                    <a:pt x="4500092" y="381380"/>
                    <a:pt x="4500092" y="371425"/>
                  </a:cubicBezTo>
                  <a:cubicBezTo>
                    <a:pt x="4500092" y="361471"/>
                    <a:pt x="4508162" y="353401"/>
                    <a:pt x="4518117" y="353401"/>
                  </a:cubicBezTo>
                  <a:close/>
                  <a:moveTo>
                    <a:pt x="4403962" y="353401"/>
                  </a:moveTo>
                  <a:cubicBezTo>
                    <a:pt x="4413917" y="353401"/>
                    <a:pt x="4421987" y="361471"/>
                    <a:pt x="4421987" y="371425"/>
                  </a:cubicBezTo>
                  <a:cubicBezTo>
                    <a:pt x="4421987" y="381380"/>
                    <a:pt x="4413917" y="389450"/>
                    <a:pt x="4403962" y="389450"/>
                  </a:cubicBezTo>
                  <a:cubicBezTo>
                    <a:pt x="4394008" y="389450"/>
                    <a:pt x="4385938" y="381380"/>
                    <a:pt x="4385938" y="371425"/>
                  </a:cubicBezTo>
                  <a:cubicBezTo>
                    <a:pt x="4385938" y="361471"/>
                    <a:pt x="4394008" y="353401"/>
                    <a:pt x="4403962" y="353401"/>
                  </a:cubicBezTo>
                  <a:close/>
                  <a:moveTo>
                    <a:pt x="4151621" y="353401"/>
                  </a:moveTo>
                  <a:cubicBezTo>
                    <a:pt x="4161576" y="353401"/>
                    <a:pt x="4169646" y="361471"/>
                    <a:pt x="4169646" y="371425"/>
                  </a:cubicBezTo>
                  <a:cubicBezTo>
                    <a:pt x="4169646" y="381380"/>
                    <a:pt x="4161576" y="389450"/>
                    <a:pt x="4151621" y="389450"/>
                  </a:cubicBezTo>
                  <a:cubicBezTo>
                    <a:pt x="4141666" y="389450"/>
                    <a:pt x="4133597" y="381380"/>
                    <a:pt x="4133597" y="371425"/>
                  </a:cubicBezTo>
                  <a:cubicBezTo>
                    <a:pt x="4133597" y="361471"/>
                    <a:pt x="4141666" y="353401"/>
                    <a:pt x="4151621" y="353401"/>
                  </a:cubicBezTo>
                  <a:close/>
                  <a:moveTo>
                    <a:pt x="3911295" y="347392"/>
                  </a:moveTo>
                  <a:cubicBezTo>
                    <a:pt x="3921250" y="347392"/>
                    <a:pt x="3929320" y="355462"/>
                    <a:pt x="3929320" y="365417"/>
                  </a:cubicBezTo>
                  <a:cubicBezTo>
                    <a:pt x="3929320" y="375371"/>
                    <a:pt x="3921250" y="383441"/>
                    <a:pt x="3911295" y="383441"/>
                  </a:cubicBezTo>
                  <a:cubicBezTo>
                    <a:pt x="3901340" y="383441"/>
                    <a:pt x="3893271" y="375371"/>
                    <a:pt x="3893271" y="365417"/>
                  </a:cubicBezTo>
                  <a:cubicBezTo>
                    <a:pt x="3893271" y="355462"/>
                    <a:pt x="3901340" y="347392"/>
                    <a:pt x="3911295" y="347392"/>
                  </a:cubicBezTo>
                  <a:close/>
                  <a:moveTo>
                    <a:pt x="2078814" y="347392"/>
                  </a:moveTo>
                  <a:cubicBezTo>
                    <a:pt x="2088769" y="347392"/>
                    <a:pt x="2096839" y="355462"/>
                    <a:pt x="2096839" y="365417"/>
                  </a:cubicBezTo>
                  <a:cubicBezTo>
                    <a:pt x="2096839" y="375371"/>
                    <a:pt x="2088769" y="383441"/>
                    <a:pt x="2078814" y="383441"/>
                  </a:cubicBezTo>
                  <a:cubicBezTo>
                    <a:pt x="2068860" y="383441"/>
                    <a:pt x="2060790" y="375371"/>
                    <a:pt x="2060790" y="365417"/>
                  </a:cubicBezTo>
                  <a:cubicBezTo>
                    <a:pt x="2060790" y="355462"/>
                    <a:pt x="2068860" y="347392"/>
                    <a:pt x="2078814" y="347392"/>
                  </a:cubicBezTo>
                  <a:close/>
                  <a:moveTo>
                    <a:pt x="1345823" y="347392"/>
                  </a:moveTo>
                  <a:cubicBezTo>
                    <a:pt x="1355777" y="347392"/>
                    <a:pt x="1363847" y="355462"/>
                    <a:pt x="1363847" y="365417"/>
                  </a:cubicBezTo>
                  <a:cubicBezTo>
                    <a:pt x="1363847" y="375371"/>
                    <a:pt x="1355777" y="383441"/>
                    <a:pt x="1345823" y="383441"/>
                  </a:cubicBezTo>
                  <a:cubicBezTo>
                    <a:pt x="1335868" y="383441"/>
                    <a:pt x="1327798" y="375371"/>
                    <a:pt x="1327798" y="365417"/>
                  </a:cubicBezTo>
                  <a:cubicBezTo>
                    <a:pt x="1327798" y="355462"/>
                    <a:pt x="1335868" y="347392"/>
                    <a:pt x="1345823" y="347392"/>
                  </a:cubicBezTo>
                  <a:close/>
                  <a:moveTo>
                    <a:pt x="1556107" y="341384"/>
                  </a:moveTo>
                  <a:cubicBezTo>
                    <a:pt x="1566061" y="341384"/>
                    <a:pt x="1574131" y="349453"/>
                    <a:pt x="1574131" y="359408"/>
                  </a:cubicBezTo>
                  <a:cubicBezTo>
                    <a:pt x="1574131" y="369363"/>
                    <a:pt x="1566061" y="377433"/>
                    <a:pt x="1556107" y="377433"/>
                  </a:cubicBezTo>
                  <a:cubicBezTo>
                    <a:pt x="1546152" y="377433"/>
                    <a:pt x="1538082" y="369363"/>
                    <a:pt x="1538082" y="359408"/>
                  </a:cubicBezTo>
                  <a:cubicBezTo>
                    <a:pt x="1538082" y="349453"/>
                    <a:pt x="1546152" y="341384"/>
                    <a:pt x="1556107" y="341384"/>
                  </a:cubicBezTo>
                  <a:close/>
                  <a:moveTo>
                    <a:pt x="306414" y="341384"/>
                  </a:moveTo>
                  <a:cubicBezTo>
                    <a:pt x="316369" y="341384"/>
                    <a:pt x="324439" y="349453"/>
                    <a:pt x="324439" y="359408"/>
                  </a:cubicBezTo>
                  <a:cubicBezTo>
                    <a:pt x="324439" y="369363"/>
                    <a:pt x="316369" y="377433"/>
                    <a:pt x="306414" y="377433"/>
                  </a:cubicBezTo>
                  <a:cubicBezTo>
                    <a:pt x="296460" y="377433"/>
                    <a:pt x="288390" y="369363"/>
                    <a:pt x="288390" y="359408"/>
                  </a:cubicBezTo>
                  <a:cubicBezTo>
                    <a:pt x="288390" y="349453"/>
                    <a:pt x="296460" y="341384"/>
                    <a:pt x="306414" y="341384"/>
                  </a:cubicBezTo>
                  <a:close/>
                  <a:moveTo>
                    <a:pt x="6206403" y="335376"/>
                  </a:moveTo>
                  <a:cubicBezTo>
                    <a:pt x="6216358" y="335376"/>
                    <a:pt x="6224428" y="343446"/>
                    <a:pt x="6224428" y="353400"/>
                  </a:cubicBezTo>
                  <a:cubicBezTo>
                    <a:pt x="6224428" y="363355"/>
                    <a:pt x="6216358" y="371425"/>
                    <a:pt x="6206403" y="371425"/>
                  </a:cubicBezTo>
                  <a:cubicBezTo>
                    <a:pt x="6196449" y="371425"/>
                    <a:pt x="6188379" y="363355"/>
                    <a:pt x="6188379" y="353400"/>
                  </a:cubicBezTo>
                  <a:cubicBezTo>
                    <a:pt x="6188379" y="343446"/>
                    <a:pt x="6196449" y="335376"/>
                    <a:pt x="6206403" y="335376"/>
                  </a:cubicBezTo>
                  <a:close/>
                  <a:moveTo>
                    <a:pt x="1670261" y="335376"/>
                  </a:moveTo>
                  <a:cubicBezTo>
                    <a:pt x="1680216" y="335376"/>
                    <a:pt x="1688286" y="343446"/>
                    <a:pt x="1688286" y="353400"/>
                  </a:cubicBezTo>
                  <a:cubicBezTo>
                    <a:pt x="1688286" y="363355"/>
                    <a:pt x="1680216" y="371425"/>
                    <a:pt x="1670261" y="371425"/>
                  </a:cubicBezTo>
                  <a:cubicBezTo>
                    <a:pt x="1660307" y="371425"/>
                    <a:pt x="1652237" y="363355"/>
                    <a:pt x="1652237" y="353400"/>
                  </a:cubicBezTo>
                  <a:cubicBezTo>
                    <a:pt x="1652237" y="343446"/>
                    <a:pt x="1660307" y="335376"/>
                    <a:pt x="1670261" y="335376"/>
                  </a:cubicBezTo>
                  <a:close/>
                  <a:moveTo>
                    <a:pt x="5767809" y="329368"/>
                  </a:moveTo>
                  <a:cubicBezTo>
                    <a:pt x="5777764" y="329368"/>
                    <a:pt x="5785834" y="337438"/>
                    <a:pt x="5785834" y="347392"/>
                  </a:cubicBezTo>
                  <a:cubicBezTo>
                    <a:pt x="5785834" y="357347"/>
                    <a:pt x="5777764" y="365417"/>
                    <a:pt x="5767809" y="365417"/>
                  </a:cubicBezTo>
                  <a:cubicBezTo>
                    <a:pt x="5757854" y="365417"/>
                    <a:pt x="5749785" y="357347"/>
                    <a:pt x="5749785" y="347392"/>
                  </a:cubicBezTo>
                  <a:cubicBezTo>
                    <a:pt x="5749785" y="337438"/>
                    <a:pt x="5757854" y="329368"/>
                    <a:pt x="5767809" y="329368"/>
                  </a:cubicBezTo>
                  <a:close/>
                  <a:moveTo>
                    <a:pt x="3797141" y="329368"/>
                  </a:moveTo>
                  <a:cubicBezTo>
                    <a:pt x="3807096" y="329368"/>
                    <a:pt x="3815166" y="337438"/>
                    <a:pt x="3815166" y="347392"/>
                  </a:cubicBezTo>
                  <a:cubicBezTo>
                    <a:pt x="3815166" y="357347"/>
                    <a:pt x="3807096" y="365417"/>
                    <a:pt x="3797141" y="365417"/>
                  </a:cubicBezTo>
                  <a:cubicBezTo>
                    <a:pt x="3787186" y="365417"/>
                    <a:pt x="3779116" y="357347"/>
                    <a:pt x="3779116" y="347392"/>
                  </a:cubicBezTo>
                  <a:cubicBezTo>
                    <a:pt x="3779116" y="337438"/>
                    <a:pt x="3787186" y="329368"/>
                    <a:pt x="3797141" y="329368"/>
                  </a:cubicBezTo>
                  <a:close/>
                  <a:moveTo>
                    <a:pt x="2673619" y="329368"/>
                  </a:moveTo>
                  <a:cubicBezTo>
                    <a:pt x="2683574" y="329368"/>
                    <a:pt x="2691644" y="337438"/>
                    <a:pt x="2691644" y="347392"/>
                  </a:cubicBezTo>
                  <a:cubicBezTo>
                    <a:pt x="2691644" y="357347"/>
                    <a:pt x="2683574" y="365417"/>
                    <a:pt x="2673619" y="365417"/>
                  </a:cubicBezTo>
                  <a:cubicBezTo>
                    <a:pt x="2663664" y="365417"/>
                    <a:pt x="2655595" y="357347"/>
                    <a:pt x="2655595" y="347392"/>
                  </a:cubicBezTo>
                  <a:cubicBezTo>
                    <a:pt x="2655595" y="337438"/>
                    <a:pt x="2663664" y="329368"/>
                    <a:pt x="2673619" y="329368"/>
                  </a:cubicBezTo>
                  <a:close/>
                  <a:moveTo>
                    <a:pt x="1898570" y="329368"/>
                  </a:moveTo>
                  <a:cubicBezTo>
                    <a:pt x="1908525" y="329368"/>
                    <a:pt x="1916595" y="337438"/>
                    <a:pt x="1916595" y="347392"/>
                  </a:cubicBezTo>
                  <a:cubicBezTo>
                    <a:pt x="1916595" y="357347"/>
                    <a:pt x="1908525" y="365417"/>
                    <a:pt x="1898570" y="365417"/>
                  </a:cubicBezTo>
                  <a:cubicBezTo>
                    <a:pt x="1888616" y="365417"/>
                    <a:pt x="1880546" y="357347"/>
                    <a:pt x="1880546" y="347392"/>
                  </a:cubicBezTo>
                  <a:cubicBezTo>
                    <a:pt x="1880546" y="337438"/>
                    <a:pt x="1888616" y="329368"/>
                    <a:pt x="1898570" y="329368"/>
                  </a:cubicBezTo>
                  <a:close/>
                  <a:moveTo>
                    <a:pt x="66089" y="323360"/>
                  </a:moveTo>
                  <a:cubicBezTo>
                    <a:pt x="76044" y="323360"/>
                    <a:pt x="84114" y="331430"/>
                    <a:pt x="84114" y="341384"/>
                  </a:cubicBezTo>
                  <a:cubicBezTo>
                    <a:pt x="84114" y="351339"/>
                    <a:pt x="76044" y="359409"/>
                    <a:pt x="66089" y="359409"/>
                  </a:cubicBezTo>
                  <a:cubicBezTo>
                    <a:pt x="56135" y="359409"/>
                    <a:pt x="48065" y="351339"/>
                    <a:pt x="48065" y="341384"/>
                  </a:cubicBezTo>
                  <a:cubicBezTo>
                    <a:pt x="48065" y="331430"/>
                    <a:pt x="56135" y="323360"/>
                    <a:pt x="66089" y="323360"/>
                  </a:cubicBezTo>
                  <a:close/>
                  <a:moveTo>
                    <a:pt x="5647646" y="317352"/>
                  </a:moveTo>
                  <a:cubicBezTo>
                    <a:pt x="5657601" y="317352"/>
                    <a:pt x="5665671" y="325422"/>
                    <a:pt x="5665671" y="335377"/>
                  </a:cubicBezTo>
                  <a:cubicBezTo>
                    <a:pt x="5665671" y="345331"/>
                    <a:pt x="5657601" y="353401"/>
                    <a:pt x="5647646" y="353401"/>
                  </a:cubicBezTo>
                  <a:cubicBezTo>
                    <a:pt x="5637691" y="353401"/>
                    <a:pt x="5629622" y="345331"/>
                    <a:pt x="5629622" y="335377"/>
                  </a:cubicBezTo>
                  <a:cubicBezTo>
                    <a:pt x="5629622" y="325422"/>
                    <a:pt x="5637691" y="317352"/>
                    <a:pt x="5647646" y="317352"/>
                  </a:cubicBezTo>
                  <a:close/>
                  <a:moveTo>
                    <a:pt x="3064148" y="311344"/>
                  </a:moveTo>
                  <a:cubicBezTo>
                    <a:pt x="3074103" y="311344"/>
                    <a:pt x="3082173" y="319413"/>
                    <a:pt x="3082173" y="329368"/>
                  </a:cubicBezTo>
                  <a:cubicBezTo>
                    <a:pt x="3082173" y="339323"/>
                    <a:pt x="3074103" y="347393"/>
                    <a:pt x="3064148" y="347393"/>
                  </a:cubicBezTo>
                  <a:cubicBezTo>
                    <a:pt x="3054193" y="347393"/>
                    <a:pt x="3046124" y="339323"/>
                    <a:pt x="3046124" y="329368"/>
                  </a:cubicBezTo>
                  <a:cubicBezTo>
                    <a:pt x="3046124" y="319413"/>
                    <a:pt x="3054193" y="311344"/>
                    <a:pt x="3064148" y="311344"/>
                  </a:cubicBezTo>
                  <a:close/>
                  <a:moveTo>
                    <a:pt x="2553457" y="311344"/>
                  </a:moveTo>
                  <a:cubicBezTo>
                    <a:pt x="2563412" y="311344"/>
                    <a:pt x="2571482" y="319413"/>
                    <a:pt x="2571482" y="329368"/>
                  </a:cubicBezTo>
                  <a:cubicBezTo>
                    <a:pt x="2571482" y="339323"/>
                    <a:pt x="2563412" y="347393"/>
                    <a:pt x="2553457" y="347393"/>
                  </a:cubicBezTo>
                  <a:cubicBezTo>
                    <a:pt x="2543502" y="347393"/>
                    <a:pt x="2535433" y="339323"/>
                    <a:pt x="2535433" y="329368"/>
                  </a:cubicBezTo>
                  <a:cubicBezTo>
                    <a:pt x="2535433" y="319413"/>
                    <a:pt x="2543502" y="311344"/>
                    <a:pt x="2553457" y="311344"/>
                  </a:cubicBezTo>
                  <a:close/>
                  <a:moveTo>
                    <a:pt x="6098257" y="305335"/>
                  </a:moveTo>
                  <a:cubicBezTo>
                    <a:pt x="6108212" y="305335"/>
                    <a:pt x="6116282" y="313405"/>
                    <a:pt x="6116282" y="323359"/>
                  </a:cubicBezTo>
                  <a:cubicBezTo>
                    <a:pt x="6116282" y="333314"/>
                    <a:pt x="6108212" y="341384"/>
                    <a:pt x="6098257" y="341384"/>
                  </a:cubicBezTo>
                  <a:cubicBezTo>
                    <a:pt x="6088302" y="341384"/>
                    <a:pt x="6080233" y="333314"/>
                    <a:pt x="6080233" y="323359"/>
                  </a:cubicBezTo>
                  <a:cubicBezTo>
                    <a:pt x="6080233" y="313405"/>
                    <a:pt x="6088302" y="305335"/>
                    <a:pt x="6098257" y="305335"/>
                  </a:cubicBezTo>
                  <a:close/>
                  <a:moveTo>
                    <a:pt x="1231667" y="305335"/>
                  </a:moveTo>
                  <a:cubicBezTo>
                    <a:pt x="1241622" y="305335"/>
                    <a:pt x="1249692" y="313405"/>
                    <a:pt x="1249692" y="323359"/>
                  </a:cubicBezTo>
                  <a:cubicBezTo>
                    <a:pt x="1249692" y="333314"/>
                    <a:pt x="1241622" y="341384"/>
                    <a:pt x="1231667" y="341384"/>
                  </a:cubicBezTo>
                  <a:cubicBezTo>
                    <a:pt x="1221713" y="341384"/>
                    <a:pt x="1213643" y="333314"/>
                    <a:pt x="1213643" y="323359"/>
                  </a:cubicBezTo>
                  <a:cubicBezTo>
                    <a:pt x="1213643" y="313405"/>
                    <a:pt x="1221713" y="305335"/>
                    <a:pt x="1231667" y="305335"/>
                  </a:cubicBezTo>
                  <a:close/>
                  <a:moveTo>
                    <a:pt x="174235" y="305335"/>
                  </a:moveTo>
                  <a:cubicBezTo>
                    <a:pt x="184190" y="305335"/>
                    <a:pt x="192260" y="313405"/>
                    <a:pt x="192260" y="323359"/>
                  </a:cubicBezTo>
                  <a:cubicBezTo>
                    <a:pt x="192260" y="333314"/>
                    <a:pt x="184190" y="341384"/>
                    <a:pt x="174235" y="341384"/>
                  </a:cubicBezTo>
                  <a:cubicBezTo>
                    <a:pt x="164281" y="341384"/>
                    <a:pt x="156211" y="333314"/>
                    <a:pt x="156211" y="323359"/>
                  </a:cubicBezTo>
                  <a:cubicBezTo>
                    <a:pt x="156211" y="313405"/>
                    <a:pt x="164281" y="305335"/>
                    <a:pt x="174235" y="305335"/>
                  </a:cubicBezTo>
                  <a:close/>
                  <a:moveTo>
                    <a:pt x="3520767" y="299327"/>
                  </a:moveTo>
                  <a:cubicBezTo>
                    <a:pt x="3530722" y="299327"/>
                    <a:pt x="3538792" y="307397"/>
                    <a:pt x="3538792" y="317351"/>
                  </a:cubicBezTo>
                  <a:cubicBezTo>
                    <a:pt x="3538792" y="327306"/>
                    <a:pt x="3530722" y="335376"/>
                    <a:pt x="3520767" y="335376"/>
                  </a:cubicBezTo>
                  <a:cubicBezTo>
                    <a:pt x="3510812" y="335376"/>
                    <a:pt x="3502743" y="327306"/>
                    <a:pt x="3502743" y="317351"/>
                  </a:cubicBezTo>
                  <a:cubicBezTo>
                    <a:pt x="3502743" y="307397"/>
                    <a:pt x="3510812" y="299327"/>
                    <a:pt x="3520767" y="299327"/>
                  </a:cubicBezTo>
                  <a:close/>
                  <a:moveTo>
                    <a:pt x="5347240" y="293319"/>
                  </a:moveTo>
                  <a:cubicBezTo>
                    <a:pt x="5357195" y="293319"/>
                    <a:pt x="5365265" y="301389"/>
                    <a:pt x="5365265" y="311343"/>
                  </a:cubicBezTo>
                  <a:cubicBezTo>
                    <a:pt x="5365265" y="321298"/>
                    <a:pt x="5357195" y="329368"/>
                    <a:pt x="5347240" y="329368"/>
                  </a:cubicBezTo>
                  <a:cubicBezTo>
                    <a:pt x="5337285" y="329368"/>
                    <a:pt x="5329216" y="321298"/>
                    <a:pt x="5329216" y="311343"/>
                  </a:cubicBezTo>
                  <a:cubicBezTo>
                    <a:pt x="5329216" y="301389"/>
                    <a:pt x="5337285" y="293319"/>
                    <a:pt x="5347240" y="293319"/>
                  </a:cubicBezTo>
                  <a:close/>
                  <a:moveTo>
                    <a:pt x="2439302" y="293319"/>
                  </a:moveTo>
                  <a:cubicBezTo>
                    <a:pt x="2449257" y="293319"/>
                    <a:pt x="2457327" y="301389"/>
                    <a:pt x="2457327" y="311343"/>
                  </a:cubicBezTo>
                  <a:cubicBezTo>
                    <a:pt x="2457327" y="321298"/>
                    <a:pt x="2449257" y="329368"/>
                    <a:pt x="2439302" y="329368"/>
                  </a:cubicBezTo>
                  <a:cubicBezTo>
                    <a:pt x="2429347" y="329368"/>
                    <a:pt x="2421278" y="321298"/>
                    <a:pt x="2421278" y="311343"/>
                  </a:cubicBezTo>
                  <a:cubicBezTo>
                    <a:pt x="2421278" y="301389"/>
                    <a:pt x="2429347" y="293319"/>
                    <a:pt x="2439302" y="293319"/>
                  </a:cubicBezTo>
                  <a:close/>
                  <a:moveTo>
                    <a:pt x="2301115" y="293319"/>
                  </a:moveTo>
                  <a:cubicBezTo>
                    <a:pt x="2311070" y="293319"/>
                    <a:pt x="2319140" y="301389"/>
                    <a:pt x="2319140" y="311343"/>
                  </a:cubicBezTo>
                  <a:cubicBezTo>
                    <a:pt x="2319140" y="321298"/>
                    <a:pt x="2311070" y="329368"/>
                    <a:pt x="2301115" y="329368"/>
                  </a:cubicBezTo>
                  <a:cubicBezTo>
                    <a:pt x="2291161" y="329368"/>
                    <a:pt x="2283091" y="321298"/>
                    <a:pt x="2283091" y="311343"/>
                  </a:cubicBezTo>
                  <a:cubicBezTo>
                    <a:pt x="2283091" y="301389"/>
                    <a:pt x="2291161" y="293319"/>
                    <a:pt x="2301115" y="293319"/>
                  </a:cubicBezTo>
                  <a:close/>
                  <a:moveTo>
                    <a:pt x="1447960" y="293319"/>
                  </a:moveTo>
                  <a:cubicBezTo>
                    <a:pt x="1457915" y="293319"/>
                    <a:pt x="1465985" y="301389"/>
                    <a:pt x="1465985" y="311343"/>
                  </a:cubicBezTo>
                  <a:cubicBezTo>
                    <a:pt x="1465985" y="321298"/>
                    <a:pt x="1457915" y="329368"/>
                    <a:pt x="1447960" y="329368"/>
                  </a:cubicBezTo>
                  <a:cubicBezTo>
                    <a:pt x="1438006" y="329368"/>
                    <a:pt x="1429936" y="321298"/>
                    <a:pt x="1429936" y="311343"/>
                  </a:cubicBezTo>
                  <a:cubicBezTo>
                    <a:pt x="1429936" y="301389"/>
                    <a:pt x="1438006" y="293319"/>
                    <a:pt x="1447960" y="293319"/>
                  </a:cubicBezTo>
                  <a:close/>
                  <a:moveTo>
                    <a:pt x="901219" y="293319"/>
                  </a:moveTo>
                  <a:cubicBezTo>
                    <a:pt x="911174" y="293319"/>
                    <a:pt x="919244" y="301389"/>
                    <a:pt x="919244" y="311343"/>
                  </a:cubicBezTo>
                  <a:cubicBezTo>
                    <a:pt x="919244" y="321298"/>
                    <a:pt x="911174" y="329368"/>
                    <a:pt x="901219" y="329368"/>
                  </a:cubicBezTo>
                  <a:cubicBezTo>
                    <a:pt x="891265" y="329368"/>
                    <a:pt x="883195" y="321298"/>
                    <a:pt x="883195" y="311343"/>
                  </a:cubicBezTo>
                  <a:cubicBezTo>
                    <a:pt x="883195" y="301389"/>
                    <a:pt x="891265" y="293319"/>
                    <a:pt x="901219" y="293319"/>
                  </a:cubicBezTo>
                  <a:close/>
                  <a:moveTo>
                    <a:pt x="552748" y="293319"/>
                  </a:moveTo>
                  <a:cubicBezTo>
                    <a:pt x="562703" y="293319"/>
                    <a:pt x="570773" y="301389"/>
                    <a:pt x="570773" y="311343"/>
                  </a:cubicBezTo>
                  <a:cubicBezTo>
                    <a:pt x="570773" y="321298"/>
                    <a:pt x="562703" y="329368"/>
                    <a:pt x="552748" y="329368"/>
                  </a:cubicBezTo>
                  <a:cubicBezTo>
                    <a:pt x="542794" y="329368"/>
                    <a:pt x="534724" y="321298"/>
                    <a:pt x="534724" y="311343"/>
                  </a:cubicBezTo>
                  <a:cubicBezTo>
                    <a:pt x="534724" y="301389"/>
                    <a:pt x="542794" y="293319"/>
                    <a:pt x="552748" y="293319"/>
                  </a:cubicBezTo>
                  <a:close/>
                  <a:moveTo>
                    <a:pt x="6326566" y="287311"/>
                  </a:moveTo>
                  <a:cubicBezTo>
                    <a:pt x="6336521" y="287311"/>
                    <a:pt x="6344591" y="295381"/>
                    <a:pt x="6344591" y="305336"/>
                  </a:cubicBezTo>
                  <a:cubicBezTo>
                    <a:pt x="6344591" y="315290"/>
                    <a:pt x="6336522" y="323360"/>
                    <a:pt x="6326566" y="323360"/>
                  </a:cubicBezTo>
                  <a:cubicBezTo>
                    <a:pt x="6316612" y="323360"/>
                    <a:pt x="6308542" y="315290"/>
                    <a:pt x="6308542" y="305336"/>
                  </a:cubicBezTo>
                  <a:cubicBezTo>
                    <a:pt x="6308542" y="295381"/>
                    <a:pt x="6316611" y="287311"/>
                    <a:pt x="6326566" y="287311"/>
                  </a:cubicBezTo>
                  <a:close/>
                  <a:moveTo>
                    <a:pt x="5503451" y="287311"/>
                  </a:moveTo>
                  <a:cubicBezTo>
                    <a:pt x="5513406" y="287311"/>
                    <a:pt x="5521476" y="295381"/>
                    <a:pt x="5521476" y="305336"/>
                  </a:cubicBezTo>
                  <a:cubicBezTo>
                    <a:pt x="5521476" y="315290"/>
                    <a:pt x="5513406" y="323360"/>
                    <a:pt x="5503451" y="323360"/>
                  </a:cubicBezTo>
                  <a:cubicBezTo>
                    <a:pt x="5493496" y="323360"/>
                    <a:pt x="5485427" y="315290"/>
                    <a:pt x="5485427" y="305336"/>
                  </a:cubicBezTo>
                  <a:cubicBezTo>
                    <a:pt x="5485427" y="295381"/>
                    <a:pt x="5493496" y="287311"/>
                    <a:pt x="5503451" y="287311"/>
                  </a:cubicBezTo>
                  <a:close/>
                  <a:moveTo>
                    <a:pt x="1808448" y="287311"/>
                  </a:moveTo>
                  <a:cubicBezTo>
                    <a:pt x="1818403" y="287311"/>
                    <a:pt x="1826473" y="295381"/>
                    <a:pt x="1826473" y="305336"/>
                  </a:cubicBezTo>
                  <a:cubicBezTo>
                    <a:pt x="1826473" y="315290"/>
                    <a:pt x="1818403" y="323360"/>
                    <a:pt x="1808448" y="323360"/>
                  </a:cubicBezTo>
                  <a:cubicBezTo>
                    <a:pt x="1798494" y="323360"/>
                    <a:pt x="1790424" y="315290"/>
                    <a:pt x="1790424" y="305336"/>
                  </a:cubicBezTo>
                  <a:cubicBezTo>
                    <a:pt x="1790424" y="295381"/>
                    <a:pt x="1798494" y="287311"/>
                    <a:pt x="1808448" y="287311"/>
                  </a:cubicBezTo>
                  <a:close/>
                  <a:moveTo>
                    <a:pt x="672910" y="287311"/>
                  </a:moveTo>
                  <a:cubicBezTo>
                    <a:pt x="682865" y="287311"/>
                    <a:pt x="690935" y="295381"/>
                    <a:pt x="690935" y="305336"/>
                  </a:cubicBezTo>
                  <a:cubicBezTo>
                    <a:pt x="690935" y="315290"/>
                    <a:pt x="682865" y="323360"/>
                    <a:pt x="672910" y="323360"/>
                  </a:cubicBezTo>
                  <a:cubicBezTo>
                    <a:pt x="662956" y="323360"/>
                    <a:pt x="654886" y="315290"/>
                    <a:pt x="654886" y="305336"/>
                  </a:cubicBezTo>
                  <a:cubicBezTo>
                    <a:pt x="654886" y="295381"/>
                    <a:pt x="662956" y="287311"/>
                    <a:pt x="672910" y="287311"/>
                  </a:cubicBezTo>
                  <a:close/>
                  <a:moveTo>
                    <a:pt x="4710377" y="275295"/>
                  </a:moveTo>
                  <a:cubicBezTo>
                    <a:pt x="4720332" y="275295"/>
                    <a:pt x="4728402" y="283365"/>
                    <a:pt x="4728402" y="293319"/>
                  </a:cubicBezTo>
                  <a:cubicBezTo>
                    <a:pt x="4728402" y="303274"/>
                    <a:pt x="4720332" y="311344"/>
                    <a:pt x="4710377" y="311344"/>
                  </a:cubicBezTo>
                  <a:cubicBezTo>
                    <a:pt x="4700423" y="311344"/>
                    <a:pt x="4692353" y="303274"/>
                    <a:pt x="4692353" y="293319"/>
                  </a:cubicBezTo>
                  <a:cubicBezTo>
                    <a:pt x="4692353" y="283365"/>
                    <a:pt x="4700423" y="275295"/>
                    <a:pt x="4710377" y="275295"/>
                  </a:cubicBezTo>
                  <a:close/>
                  <a:moveTo>
                    <a:pt x="4962719" y="269287"/>
                  </a:moveTo>
                  <a:cubicBezTo>
                    <a:pt x="4972674" y="269287"/>
                    <a:pt x="4980744" y="277357"/>
                    <a:pt x="4980744" y="287311"/>
                  </a:cubicBezTo>
                  <a:cubicBezTo>
                    <a:pt x="4980744" y="297266"/>
                    <a:pt x="4972674" y="305336"/>
                    <a:pt x="4962719" y="305336"/>
                  </a:cubicBezTo>
                  <a:cubicBezTo>
                    <a:pt x="4952764" y="305336"/>
                    <a:pt x="4944695" y="297266"/>
                    <a:pt x="4944695" y="287311"/>
                  </a:cubicBezTo>
                  <a:cubicBezTo>
                    <a:pt x="4944695" y="277357"/>
                    <a:pt x="4952764" y="269287"/>
                    <a:pt x="4962719" y="269287"/>
                  </a:cubicBezTo>
                  <a:close/>
                  <a:moveTo>
                    <a:pt x="3652945" y="269287"/>
                  </a:moveTo>
                  <a:cubicBezTo>
                    <a:pt x="3662900" y="269287"/>
                    <a:pt x="3670970" y="277357"/>
                    <a:pt x="3670970" y="287311"/>
                  </a:cubicBezTo>
                  <a:cubicBezTo>
                    <a:pt x="3670970" y="297266"/>
                    <a:pt x="3662900" y="305336"/>
                    <a:pt x="3652945" y="305336"/>
                  </a:cubicBezTo>
                  <a:cubicBezTo>
                    <a:pt x="3642991" y="305336"/>
                    <a:pt x="3634921" y="297266"/>
                    <a:pt x="3634921" y="287311"/>
                  </a:cubicBezTo>
                  <a:cubicBezTo>
                    <a:pt x="3634921" y="277357"/>
                    <a:pt x="3642991" y="269287"/>
                    <a:pt x="3652945" y="269287"/>
                  </a:cubicBezTo>
                  <a:close/>
                  <a:moveTo>
                    <a:pt x="1123520" y="269287"/>
                  </a:moveTo>
                  <a:cubicBezTo>
                    <a:pt x="1133475" y="269287"/>
                    <a:pt x="1141545" y="277357"/>
                    <a:pt x="1141545" y="287311"/>
                  </a:cubicBezTo>
                  <a:cubicBezTo>
                    <a:pt x="1141545" y="297266"/>
                    <a:pt x="1133475" y="305336"/>
                    <a:pt x="1123520" y="305336"/>
                  </a:cubicBezTo>
                  <a:cubicBezTo>
                    <a:pt x="1113566" y="305336"/>
                    <a:pt x="1105496" y="297266"/>
                    <a:pt x="1105496" y="287311"/>
                  </a:cubicBezTo>
                  <a:cubicBezTo>
                    <a:pt x="1105496" y="277357"/>
                    <a:pt x="1113566" y="269287"/>
                    <a:pt x="1123520" y="269287"/>
                  </a:cubicBezTo>
                  <a:close/>
                  <a:moveTo>
                    <a:pt x="5112922" y="263279"/>
                  </a:moveTo>
                  <a:cubicBezTo>
                    <a:pt x="5122877" y="263279"/>
                    <a:pt x="5130947" y="271349"/>
                    <a:pt x="5130947" y="281303"/>
                  </a:cubicBezTo>
                  <a:cubicBezTo>
                    <a:pt x="5130947" y="291258"/>
                    <a:pt x="5122877" y="299328"/>
                    <a:pt x="5112922" y="299328"/>
                  </a:cubicBezTo>
                  <a:cubicBezTo>
                    <a:pt x="5102967" y="299328"/>
                    <a:pt x="5094898" y="291258"/>
                    <a:pt x="5094898" y="281303"/>
                  </a:cubicBezTo>
                  <a:cubicBezTo>
                    <a:pt x="5094898" y="271349"/>
                    <a:pt x="5102967" y="263279"/>
                    <a:pt x="5112922" y="263279"/>
                  </a:cubicBezTo>
                  <a:close/>
                  <a:moveTo>
                    <a:pt x="4217710" y="263279"/>
                  </a:moveTo>
                  <a:cubicBezTo>
                    <a:pt x="4227665" y="263279"/>
                    <a:pt x="4235735" y="271349"/>
                    <a:pt x="4235735" y="281303"/>
                  </a:cubicBezTo>
                  <a:cubicBezTo>
                    <a:pt x="4235735" y="291258"/>
                    <a:pt x="4227665" y="299328"/>
                    <a:pt x="4217710" y="299328"/>
                  </a:cubicBezTo>
                  <a:cubicBezTo>
                    <a:pt x="4207755" y="299328"/>
                    <a:pt x="4199685" y="291258"/>
                    <a:pt x="4199685" y="281303"/>
                  </a:cubicBezTo>
                  <a:cubicBezTo>
                    <a:pt x="4199685" y="271349"/>
                    <a:pt x="4207755" y="263279"/>
                    <a:pt x="4217710" y="263279"/>
                  </a:cubicBezTo>
                  <a:close/>
                  <a:moveTo>
                    <a:pt x="3190319" y="263279"/>
                  </a:moveTo>
                  <a:cubicBezTo>
                    <a:pt x="3200274" y="263279"/>
                    <a:pt x="3208344" y="271349"/>
                    <a:pt x="3208344" y="281303"/>
                  </a:cubicBezTo>
                  <a:cubicBezTo>
                    <a:pt x="3208344" y="291258"/>
                    <a:pt x="3200274" y="299328"/>
                    <a:pt x="3190319" y="299328"/>
                  </a:cubicBezTo>
                  <a:cubicBezTo>
                    <a:pt x="3180364" y="299328"/>
                    <a:pt x="3172295" y="291258"/>
                    <a:pt x="3172295" y="281303"/>
                  </a:cubicBezTo>
                  <a:cubicBezTo>
                    <a:pt x="3172295" y="271349"/>
                    <a:pt x="3180364" y="263279"/>
                    <a:pt x="3190319" y="263279"/>
                  </a:cubicBezTo>
                  <a:close/>
                  <a:moveTo>
                    <a:pt x="5996118" y="257270"/>
                  </a:moveTo>
                  <a:cubicBezTo>
                    <a:pt x="6006073" y="257270"/>
                    <a:pt x="6014143" y="265340"/>
                    <a:pt x="6014143" y="275295"/>
                  </a:cubicBezTo>
                  <a:cubicBezTo>
                    <a:pt x="6014143" y="285249"/>
                    <a:pt x="6006073" y="293319"/>
                    <a:pt x="5996118" y="293319"/>
                  </a:cubicBezTo>
                  <a:cubicBezTo>
                    <a:pt x="5986164" y="293319"/>
                    <a:pt x="5978094" y="285249"/>
                    <a:pt x="5978094" y="275295"/>
                  </a:cubicBezTo>
                  <a:cubicBezTo>
                    <a:pt x="5978094" y="265340"/>
                    <a:pt x="5986164" y="257270"/>
                    <a:pt x="5996118" y="257270"/>
                  </a:cubicBezTo>
                  <a:close/>
                  <a:moveTo>
                    <a:pt x="5233085" y="257270"/>
                  </a:moveTo>
                  <a:cubicBezTo>
                    <a:pt x="5243040" y="257270"/>
                    <a:pt x="5251110" y="265340"/>
                    <a:pt x="5251110" y="275295"/>
                  </a:cubicBezTo>
                  <a:cubicBezTo>
                    <a:pt x="5251110" y="285249"/>
                    <a:pt x="5243040" y="293319"/>
                    <a:pt x="5233085" y="293319"/>
                  </a:cubicBezTo>
                  <a:cubicBezTo>
                    <a:pt x="5223130" y="293319"/>
                    <a:pt x="5215061" y="285249"/>
                    <a:pt x="5215061" y="275295"/>
                  </a:cubicBezTo>
                  <a:cubicBezTo>
                    <a:pt x="5215061" y="265340"/>
                    <a:pt x="5223130" y="257270"/>
                    <a:pt x="5233085" y="257270"/>
                  </a:cubicBezTo>
                  <a:close/>
                  <a:moveTo>
                    <a:pt x="4584206" y="257270"/>
                  </a:moveTo>
                  <a:cubicBezTo>
                    <a:pt x="4594161" y="257270"/>
                    <a:pt x="4602231" y="265340"/>
                    <a:pt x="4602231" y="275295"/>
                  </a:cubicBezTo>
                  <a:cubicBezTo>
                    <a:pt x="4602231" y="285249"/>
                    <a:pt x="4594161" y="293319"/>
                    <a:pt x="4584206" y="293319"/>
                  </a:cubicBezTo>
                  <a:cubicBezTo>
                    <a:pt x="4574252" y="293319"/>
                    <a:pt x="4566182" y="285249"/>
                    <a:pt x="4566182" y="275295"/>
                  </a:cubicBezTo>
                  <a:cubicBezTo>
                    <a:pt x="4566182" y="265340"/>
                    <a:pt x="4574252" y="257270"/>
                    <a:pt x="4584206" y="257270"/>
                  </a:cubicBezTo>
                  <a:close/>
                  <a:moveTo>
                    <a:pt x="2156921" y="257270"/>
                  </a:moveTo>
                  <a:cubicBezTo>
                    <a:pt x="2166875" y="257270"/>
                    <a:pt x="2174945" y="265340"/>
                    <a:pt x="2174945" y="275295"/>
                  </a:cubicBezTo>
                  <a:cubicBezTo>
                    <a:pt x="2174945" y="285249"/>
                    <a:pt x="2166875" y="293319"/>
                    <a:pt x="2156921" y="293319"/>
                  </a:cubicBezTo>
                  <a:cubicBezTo>
                    <a:pt x="2146966" y="293319"/>
                    <a:pt x="2138896" y="285249"/>
                    <a:pt x="2138896" y="275295"/>
                  </a:cubicBezTo>
                  <a:cubicBezTo>
                    <a:pt x="2138896" y="265340"/>
                    <a:pt x="2146966" y="257270"/>
                    <a:pt x="2156921" y="257270"/>
                  </a:cubicBezTo>
                  <a:close/>
                  <a:moveTo>
                    <a:pt x="781057" y="257270"/>
                  </a:moveTo>
                  <a:cubicBezTo>
                    <a:pt x="791012" y="257270"/>
                    <a:pt x="799082" y="265340"/>
                    <a:pt x="799082" y="275295"/>
                  </a:cubicBezTo>
                  <a:cubicBezTo>
                    <a:pt x="799082" y="285249"/>
                    <a:pt x="791012" y="293319"/>
                    <a:pt x="781057" y="293319"/>
                  </a:cubicBezTo>
                  <a:cubicBezTo>
                    <a:pt x="771103" y="293319"/>
                    <a:pt x="763033" y="285249"/>
                    <a:pt x="763033" y="275295"/>
                  </a:cubicBezTo>
                  <a:cubicBezTo>
                    <a:pt x="763033" y="265340"/>
                    <a:pt x="771103" y="257270"/>
                    <a:pt x="781057" y="257270"/>
                  </a:cubicBezTo>
                  <a:close/>
                  <a:moveTo>
                    <a:pt x="420569" y="257270"/>
                  </a:moveTo>
                  <a:cubicBezTo>
                    <a:pt x="430524" y="257270"/>
                    <a:pt x="438594" y="265340"/>
                    <a:pt x="438594" y="275295"/>
                  </a:cubicBezTo>
                  <a:cubicBezTo>
                    <a:pt x="438594" y="285249"/>
                    <a:pt x="430524" y="293319"/>
                    <a:pt x="420569" y="293319"/>
                  </a:cubicBezTo>
                  <a:cubicBezTo>
                    <a:pt x="410615" y="293319"/>
                    <a:pt x="402545" y="285249"/>
                    <a:pt x="402545" y="275295"/>
                  </a:cubicBezTo>
                  <a:cubicBezTo>
                    <a:pt x="402545" y="265340"/>
                    <a:pt x="410615" y="257270"/>
                    <a:pt x="420569" y="257270"/>
                  </a:cubicBezTo>
                  <a:close/>
                  <a:moveTo>
                    <a:pt x="5845915" y="245254"/>
                  </a:moveTo>
                  <a:cubicBezTo>
                    <a:pt x="5855870" y="245254"/>
                    <a:pt x="5863940" y="253324"/>
                    <a:pt x="5863940" y="263278"/>
                  </a:cubicBezTo>
                  <a:cubicBezTo>
                    <a:pt x="5863940" y="273233"/>
                    <a:pt x="5855870" y="281303"/>
                    <a:pt x="5845915" y="281303"/>
                  </a:cubicBezTo>
                  <a:cubicBezTo>
                    <a:pt x="5835961" y="281303"/>
                    <a:pt x="5827891" y="273233"/>
                    <a:pt x="5827891" y="263278"/>
                  </a:cubicBezTo>
                  <a:cubicBezTo>
                    <a:pt x="5827891" y="253324"/>
                    <a:pt x="5835961" y="245254"/>
                    <a:pt x="5845915" y="245254"/>
                  </a:cubicBezTo>
                  <a:close/>
                  <a:moveTo>
                    <a:pt x="4013434" y="245254"/>
                  </a:moveTo>
                  <a:cubicBezTo>
                    <a:pt x="4023389" y="245254"/>
                    <a:pt x="4031459" y="253324"/>
                    <a:pt x="4031459" y="263278"/>
                  </a:cubicBezTo>
                  <a:cubicBezTo>
                    <a:pt x="4031459" y="273233"/>
                    <a:pt x="4023389" y="281303"/>
                    <a:pt x="4013434" y="281303"/>
                  </a:cubicBezTo>
                  <a:cubicBezTo>
                    <a:pt x="4003480" y="281303"/>
                    <a:pt x="3995410" y="273233"/>
                    <a:pt x="3995410" y="263278"/>
                  </a:cubicBezTo>
                  <a:cubicBezTo>
                    <a:pt x="3995410" y="253324"/>
                    <a:pt x="4003480" y="245254"/>
                    <a:pt x="4013434" y="245254"/>
                  </a:cubicBezTo>
                  <a:close/>
                  <a:moveTo>
                    <a:pt x="2841847" y="245254"/>
                  </a:moveTo>
                  <a:cubicBezTo>
                    <a:pt x="2851802" y="245254"/>
                    <a:pt x="2859872" y="253324"/>
                    <a:pt x="2859872" y="263278"/>
                  </a:cubicBezTo>
                  <a:cubicBezTo>
                    <a:pt x="2859872" y="273233"/>
                    <a:pt x="2851802" y="281303"/>
                    <a:pt x="2841847" y="281303"/>
                  </a:cubicBezTo>
                  <a:cubicBezTo>
                    <a:pt x="2831893" y="281303"/>
                    <a:pt x="2823823" y="273233"/>
                    <a:pt x="2823823" y="263278"/>
                  </a:cubicBezTo>
                  <a:cubicBezTo>
                    <a:pt x="2823823" y="253324"/>
                    <a:pt x="2831893" y="245254"/>
                    <a:pt x="2841847" y="245254"/>
                  </a:cubicBezTo>
                  <a:close/>
                  <a:moveTo>
                    <a:pt x="2006717" y="245254"/>
                  </a:moveTo>
                  <a:cubicBezTo>
                    <a:pt x="2016671" y="245254"/>
                    <a:pt x="2024741" y="253324"/>
                    <a:pt x="2024741" y="263278"/>
                  </a:cubicBezTo>
                  <a:cubicBezTo>
                    <a:pt x="2024741" y="273233"/>
                    <a:pt x="2016671" y="281303"/>
                    <a:pt x="2006717" y="281303"/>
                  </a:cubicBezTo>
                  <a:cubicBezTo>
                    <a:pt x="1996762" y="281303"/>
                    <a:pt x="1988692" y="273233"/>
                    <a:pt x="1988692" y="263278"/>
                  </a:cubicBezTo>
                  <a:cubicBezTo>
                    <a:pt x="1988692" y="253324"/>
                    <a:pt x="1996762" y="245254"/>
                    <a:pt x="2006717" y="245254"/>
                  </a:cubicBezTo>
                  <a:close/>
                  <a:moveTo>
                    <a:pt x="1009366" y="245254"/>
                  </a:moveTo>
                  <a:cubicBezTo>
                    <a:pt x="1019321" y="245254"/>
                    <a:pt x="1027391" y="253324"/>
                    <a:pt x="1027391" y="263278"/>
                  </a:cubicBezTo>
                  <a:cubicBezTo>
                    <a:pt x="1027391" y="273233"/>
                    <a:pt x="1019321" y="281303"/>
                    <a:pt x="1009366" y="281303"/>
                  </a:cubicBezTo>
                  <a:cubicBezTo>
                    <a:pt x="999412" y="281303"/>
                    <a:pt x="991342" y="273233"/>
                    <a:pt x="991342" y="263278"/>
                  </a:cubicBezTo>
                  <a:cubicBezTo>
                    <a:pt x="991342" y="253324"/>
                    <a:pt x="999412" y="245254"/>
                    <a:pt x="1009366" y="245254"/>
                  </a:cubicBezTo>
                  <a:close/>
                  <a:moveTo>
                    <a:pt x="4337873" y="239246"/>
                  </a:moveTo>
                  <a:cubicBezTo>
                    <a:pt x="4347828" y="239246"/>
                    <a:pt x="4355898" y="247316"/>
                    <a:pt x="4355898" y="257270"/>
                  </a:cubicBezTo>
                  <a:cubicBezTo>
                    <a:pt x="4355898" y="267225"/>
                    <a:pt x="4347828" y="275295"/>
                    <a:pt x="4337873" y="275295"/>
                  </a:cubicBezTo>
                  <a:cubicBezTo>
                    <a:pt x="4327918" y="275295"/>
                    <a:pt x="4319848" y="267225"/>
                    <a:pt x="4319848" y="257270"/>
                  </a:cubicBezTo>
                  <a:cubicBezTo>
                    <a:pt x="4319848" y="247316"/>
                    <a:pt x="4327918" y="239246"/>
                    <a:pt x="4337873" y="239246"/>
                  </a:cubicBezTo>
                  <a:close/>
                  <a:moveTo>
                    <a:pt x="3310482" y="239246"/>
                  </a:moveTo>
                  <a:cubicBezTo>
                    <a:pt x="3320437" y="239246"/>
                    <a:pt x="3328507" y="247316"/>
                    <a:pt x="3328507" y="257270"/>
                  </a:cubicBezTo>
                  <a:cubicBezTo>
                    <a:pt x="3328507" y="267225"/>
                    <a:pt x="3320437" y="275295"/>
                    <a:pt x="3310482" y="275295"/>
                  </a:cubicBezTo>
                  <a:cubicBezTo>
                    <a:pt x="3300527" y="275295"/>
                    <a:pt x="3292458" y="267225"/>
                    <a:pt x="3292458" y="257270"/>
                  </a:cubicBezTo>
                  <a:cubicBezTo>
                    <a:pt x="3292458" y="247316"/>
                    <a:pt x="3300527" y="239246"/>
                    <a:pt x="3310482" y="239246"/>
                  </a:cubicBezTo>
                  <a:close/>
                  <a:moveTo>
                    <a:pt x="3418628" y="233238"/>
                  </a:moveTo>
                  <a:cubicBezTo>
                    <a:pt x="3428583" y="233238"/>
                    <a:pt x="3436653" y="241308"/>
                    <a:pt x="3436653" y="251262"/>
                  </a:cubicBezTo>
                  <a:cubicBezTo>
                    <a:pt x="3436653" y="261217"/>
                    <a:pt x="3428583" y="269287"/>
                    <a:pt x="3418628" y="269287"/>
                  </a:cubicBezTo>
                  <a:cubicBezTo>
                    <a:pt x="3408674" y="269287"/>
                    <a:pt x="3400604" y="261217"/>
                    <a:pt x="3400604" y="251262"/>
                  </a:cubicBezTo>
                  <a:cubicBezTo>
                    <a:pt x="3400604" y="241308"/>
                    <a:pt x="3408674" y="233238"/>
                    <a:pt x="3418628" y="233238"/>
                  </a:cubicBezTo>
                  <a:close/>
                  <a:moveTo>
                    <a:pt x="4836548" y="227230"/>
                  </a:moveTo>
                  <a:cubicBezTo>
                    <a:pt x="4846503" y="227230"/>
                    <a:pt x="4854573" y="235300"/>
                    <a:pt x="4854573" y="245255"/>
                  </a:cubicBezTo>
                  <a:cubicBezTo>
                    <a:pt x="4854573" y="255209"/>
                    <a:pt x="4846503" y="263279"/>
                    <a:pt x="4836548" y="263279"/>
                  </a:cubicBezTo>
                  <a:cubicBezTo>
                    <a:pt x="4826593" y="263279"/>
                    <a:pt x="4818524" y="255209"/>
                    <a:pt x="4818524" y="245255"/>
                  </a:cubicBezTo>
                  <a:cubicBezTo>
                    <a:pt x="4818524" y="235300"/>
                    <a:pt x="4826593" y="227230"/>
                    <a:pt x="4836548" y="227230"/>
                  </a:cubicBezTo>
                  <a:close/>
                  <a:moveTo>
                    <a:pt x="2949994" y="227230"/>
                  </a:moveTo>
                  <a:cubicBezTo>
                    <a:pt x="2959949" y="227230"/>
                    <a:pt x="2968019" y="235300"/>
                    <a:pt x="2968019" y="245255"/>
                  </a:cubicBezTo>
                  <a:cubicBezTo>
                    <a:pt x="2968019" y="255209"/>
                    <a:pt x="2959949" y="263279"/>
                    <a:pt x="2949994" y="263279"/>
                  </a:cubicBezTo>
                  <a:cubicBezTo>
                    <a:pt x="2940039" y="263279"/>
                    <a:pt x="2931970" y="255209"/>
                    <a:pt x="2931970" y="245255"/>
                  </a:cubicBezTo>
                  <a:cubicBezTo>
                    <a:pt x="2931970" y="235300"/>
                    <a:pt x="2940039" y="227230"/>
                    <a:pt x="2949994" y="227230"/>
                  </a:cubicBezTo>
                  <a:close/>
                  <a:moveTo>
                    <a:pt x="2727693" y="227230"/>
                  </a:moveTo>
                  <a:cubicBezTo>
                    <a:pt x="2737648" y="227230"/>
                    <a:pt x="2745718" y="235300"/>
                    <a:pt x="2745718" y="245255"/>
                  </a:cubicBezTo>
                  <a:cubicBezTo>
                    <a:pt x="2745718" y="255209"/>
                    <a:pt x="2737648" y="263279"/>
                    <a:pt x="2727693" y="263279"/>
                  </a:cubicBezTo>
                  <a:cubicBezTo>
                    <a:pt x="2717739" y="263279"/>
                    <a:pt x="2709669" y="255209"/>
                    <a:pt x="2709669" y="245255"/>
                  </a:cubicBezTo>
                  <a:cubicBezTo>
                    <a:pt x="2709669" y="235300"/>
                    <a:pt x="2717739" y="227230"/>
                    <a:pt x="2727693" y="227230"/>
                  </a:cubicBezTo>
                  <a:close/>
                  <a:moveTo>
                    <a:pt x="270365" y="227230"/>
                  </a:moveTo>
                  <a:cubicBezTo>
                    <a:pt x="280320" y="227230"/>
                    <a:pt x="288390" y="235300"/>
                    <a:pt x="288390" y="245255"/>
                  </a:cubicBezTo>
                  <a:cubicBezTo>
                    <a:pt x="288390" y="255209"/>
                    <a:pt x="280320" y="263279"/>
                    <a:pt x="270365" y="263279"/>
                  </a:cubicBezTo>
                  <a:cubicBezTo>
                    <a:pt x="260411" y="263279"/>
                    <a:pt x="252341" y="255209"/>
                    <a:pt x="252341" y="245255"/>
                  </a:cubicBezTo>
                  <a:cubicBezTo>
                    <a:pt x="252341" y="235300"/>
                    <a:pt x="260411" y="227230"/>
                    <a:pt x="270365" y="227230"/>
                  </a:cubicBezTo>
                  <a:close/>
                  <a:moveTo>
                    <a:pt x="3893271" y="221222"/>
                  </a:moveTo>
                  <a:cubicBezTo>
                    <a:pt x="3903226" y="221222"/>
                    <a:pt x="3911296" y="229291"/>
                    <a:pt x="3911296" y="239246"/>
                  </a:cubicBezTo>
                  <a:cubicBezTo>
                    <a:pt x="3911296" y="249201"/>
                    <a:pt x="3903226" y="257271"/>
                    <a:pt x="3893271" y="257271"/>
                  </a:cubicBezTo>
                  <a:cubicBezTo>
                    <a:pt x="3883317" y="257271"/>
                    <a:pt x="3875247" y="249201"/>
                    <a:pt x="3875247" y="239246"/>
                  </a:cubicBezTo>
                  <a:cubicBezTo>
                    <a:pt x="3875247" y="229291"/>
                    <a:pt x="3883317" y="221222"/>
                    <a:pt x="3893271" y="221222"/>
                  </a:cubicBezTo>
                  <a:close/>
                  <a:moveTo>
                    <a:pt x="1682277" y="221222"/>
                  </a:moveTo>
                  <a:cubicBezTo>
                    <a:pt x="1692232" y="221222"/>
                    <a:pt x="1700302" y="229291"/>
                    <a:pt x="1700302" y="239246"/>
                  </a:cubicBezTo>
                  <a:cubicBezTo>
                    <a:pt x="1700302" y="249201"/>
                    <a:pt x="1692232" y="257271"/>
                    <a:pt x="1682277" y="257271"/>
                  </a:cubicBezTo>
                  <a:cubicBezTo>
                    <a:pt x="1672323" y="257271"/>
                    <a:pt x="1664253" y="249201"/>
                    <a:pt x="1664253" y="239246"/>
                  </a:cubicBezTo>
                  <a:cubicBezTo>
                    <a:pt x="1664253" y="229291"/>
                    <a:pt x="1672323" y="221222"/>
                    <a:pt x="1682277" y="221222"/>
                  </a:cubicBezTo>
                  <a:close/>
                  <a:moveTo>
                    <a:pt x="4458036" y="215213"/>
                  </a:moveTo>
                  <a:cubicBezTo>
                    <a:pt x="4467991" y="215213"/>
                    <a:pt x="4476061" y="223283"/>
                    <a:pt x="4476061" y="233237"/>
                  </a:cubicBezTo>
                  <a:cubicBezTo>
                    <a:pt x="4476061" y="243192"/>
                    <a:pt x="4467991" y="251262"/>
                    <a:pt x="4458036" y="251262"/>
                  </a:cubicBezTo>
                  <a:cubicBezTo>
                    <a:pt x="4448081" y="251262"/>
                    <a:pt x="4440011" y="243192"/>
                    <a:pt x="4440011" y="233237"/>
                  </a:cubicBezTo>
                  <a:cubicBezTo>
                    <a:pt x="4440011" y="223283"/>
                    <a:pt x="4448081" y="215213"/>
                    <a:pt x="4458036" y="215213"/>
                  </a:cubicBezTo>
                  <a:close/>
                  <a:moveTo>
                    <a:pt x="3767100" y="215213"/>
                  </a:moveTo>
                  <a:cubicBezTo>
                    <a:pt x="3777055" y="215213"/>
                    <a:pt x="3785125" y="223283"/>
                    <a:pt x="3785125" y="233237"/>
                  </a:cubicBezTo>
                  <a:cubicBezTo>
                    <a:pt x="3785125" y="243192"/>
                    <a:pt x="3777055" y="251262"/>
                    <a:pt x="3767100" y="251262"/>
                  </a:cubicBezTo>
                  <a:cubicBezTo>
                    <a:pt x="3757145" y="251262"/>
                    <a:pt x="3749075" y="243192"/>
                    <a:pt x="3749075" y="233237"/>
                  </a:cubicBezTo>
                  <a:cubicBezTo>
                    <a:pt x="3749075" y="223283"/>
                    <a:pt x="3757145" y="215213"/>
                    <a:pt x="3767100" y="215213"/>
                  </a:cubicBezTo>
                  <a:close/>
                  <a:moveTo>
                    <a:pt x="6224427" y="209205"/>
                  </a:moveTo>
                  <a:cubicBezTo>
                    <a:pt x="6234382" y="209205"/>
                    <a:pt x="6242452" y="217275"/>
                    <a:pt x="6242452" y="227229"/>
                  </a:cubicBezTo>
                  <a:cubicBezTo>
                    <a:pt x="6242452" y="237184"/>
                    <a:pt x="6234382" y="245254"/>
                    <a:pt x="6224427" y="245254"/>
                  </a:cubicBezTo>
                  <a:cubicBezTo>
                    <a:pt x="6214472" y="245254"/>
                    <a:pt x="6206403" y="237184"/>
                    <a:pt x="6206403" y="227229"/>
                  </a:cubicBezTo>
                  <a:cubicBezTo>
                    <a:pt x="6206403" y="217275"/>
                    <a:pt x="6214472" y="209205"/>
                    <a:pt x="6224427" y="209205"/>
                  </a:cubicBezTo>
                  <a:close/>
                  <a:moveTo>
                    <a:pt x="1315782" y="209205"/>
                  </a:moveTo>
                  <a:cubicBezTo>
                    <a:pt x="1325736" y="209205"/>
                    <a:pt x="1333806" y="217275"/>
                    <a:pt x="1333806" y="227229"/>
                  </a:cubicBezTo>
                  <a:cubicBezTo>
                    <a:pt x="1333806" y="237184"/>
                    <a:pt x="1325736" y="245254"/>
                    <a:pt x="1315782" y="245254"/>
                  </a:cubicBezTo>
                  <a:cubicBezTo>
                    <a:pt x="1305827" y="245254"/>
                    <a:pt x="1297757" y="237184"/>
                    <a:pt x="1297757" y="227229"/>
                  </a:cubicBezTo>
                  <a:cubicBezTo>
                    <a:pt x="1297757" y="217275"/>
                    <a:pt x="1305827" y="209205"/>
                    <a:pt x="1315782" y="209205"/>
                  </a:cubicBezTo>
                  <a:close/>
                  <a:moveTo>
                    <a:pt x="5713736" y="203197"/>
                  </a:moveTo>
                  <a:cubicBezTo>
                    <a:pt x="5723691" y="203197"/>
                    <a:pt x="5731761" y="211267"/>
                    <a:pt x="5731761" y="221221"/>
                  </a:cubicBezTo>
                  <a:cubicBezTo>
                    <a:pt x="5731761" y="231176"/>
                    <a:pt x="5723691" y="239246"/>
                    <a:pt x="5713736" y="239246"/>
                  </a:cubicBezTo>
                  <a:cubicBezTo>
                    <a:pt x="5703781" y="239246"/>
                    <a:pt x="5695712" y="231176"/>
                    <a:pt x="5695712" y="221221"/>
                  </a:cubicBezTo>
                  <a:cubicBezTo>
                    <a:pt x="5695712" y="211267"/>
                    <a:pt x="5703781" y="203197"/>
                    <a:pt x="5713736" y="203197"/>
                  </a:cubicBezTo>
                  <a:close/>
                  <a:moveTo>
                    <a:pt x="1550098" y="203197"/>
                  </a:moveTo>
                  <a:cubicBezTo>
                    <a:pt x="1560053" y="203197"/>
                    <a:pt x="1568123" y="211267"/>
                    <a:pt x="1568123" y="221221"/>
                  </a:cubicBezTo>
                  <a:cubicBezTo>
                    <a:pt x="1568123" y="231176"/>
                    <a:pt x="1560053" y="239246"/>
                    <a:pt x="1550098" y="239246"/>
                  </a:cubicBezTo>
                  <a:cubicBezTo>
                    <a:pt x="1540144" y="239246"/>
                    <a:pt x="1532074" y="231176"/>
                    <a:pt x="1532074" y="221221"/>
                  </a:cubicBezTo>
                  <a:cubicBezTo>
                    <a:pt x="1532074" y="211267"/>
                    <a:pt x="1540144" y="203197"/>
                    <a:pt x="1550098" y="203197"/>
                  </a:cubicBezTo>
                  <a:close/>
                  <a:moveTo>
                    <a:pt x="5587565" y="197189"/>
                  </a:moveTo>
                  <a:cubicBezTo>
                    <a:pt x="5597520" y="197189"/>
                    <a:pt x="5605590" y="205259"/>
                    <a:pt x="5605590" y="215214"/>
                  </a:cubicBezTo>
                  <a:cubicBezTo>
                    <a:pt x="5605590" y="225168"/>
                    <a:pt x="5597520" y="233238"/>
                    <a:pt x="5587565" y="233238"/>
                  </a:cubicBezTo>
                  <a:cubicBezTo>
                    <a:pt x="5577610" y="233238"/>
                    <a:pt x="5569541" y="225168"/>
                    <a:pt x="5569541" y="215214"/>
                  </a:cubicBezTo>
                  <a:cubicBezTo>
                    <a:pt x="5569541" y="205259"/>
                    <a:pt x="5577610" y="197189"/>
                    <a:pt x="5587565" y="197189"/>
                  </a:cubicBezTo>
                  <a:close/>
                  <a:moveTo>
                    <a:pt x="4121580" y="197189"/>
                  </a:moveTo>
                  <a:cubicBezTo>
                    <a:pt x="4131535" y="197189"/>
                    <a:pt x="4139605" y="205259"/>
                    <a:pt x="4139605" y="215214"/>
                  </a:cubicBezTo>
                  <a:cubicBezTo>
                    <a:pt x="4139605" y="225168"/>
                    <a:pt x="4131535" y="233238"/>
                    <a:pt x="4121580" y="233238"/>
                  </a:cubicBezTo>
                  <a:cubicBezTo>
                    <a:pt x="4111625" y="233238"/>
                    <a:pt x="4103556" y="225168"/>
                    <a:pt x="4103556" y="215214"/>
                  </a:cubicBezTo>
                  <a:cubicBezTo>
                    <a:pt x="4103556" y="205259"/>
                    <a:pt x="4111625" y="197189"/>
                    <a:pt x="4121580" y="197189"/>
                  </a:cubicBezTo>
                  <a:close/>
                  <a:moveTo>
                    <a:pt x="3076164" y="197189"/>
                  </a:moveTo>
                  <a:cubicBezTo>
                    <a:pt x="3086119" y="197189"/>
                    <a:pt x="3094189" y="205259"/>
                    <a:pt x="3094189" y="215214"/>
                  </a:cubicBezTo>
                  <a:cubicBezTo>
                    <a:pt x="3094189" y="225168"/>
                    <a:pt x="3086119" y="233238"/>
                    <a:pt x="3076164" y="233238"/>
                  </a:cubicBezTo>
                  <a:cubicBezTo>
                    <a:pt x="3066209" y="233238"/>
                    <a:pt x="3058139" y="225168"/>
                    <a:pt x="3058139" y="215214"/>
                  </a:cubicBezTo>
                  <a:cubicBezTo>
                    <a:pt x="3058139" y="205259"/>
                    <a:pt x="3066209" y="197189"/>
                    <a:pt x="3076164" y="197189"/>
                  </a:cubicBezTo>
                  <a:close/>
                  <a:moveTo>
                    <a:pt x="5449378" y="191181"/>
                  </a:moveTo>
                  <a:cubicBezTo>
                    <a:pt x="5459333" y="191181"/>
                    <a:pt x="5467403" y="199250"/>
                    <a:pt x="5467403" y="209205"/>
                  </a:cubicBezTo>
                  <a:cubicBezTo>
                    <a:pt x="5467403" y="219160"/>
                    <a:pt x="5459333" y="227230"/>
                    <a:pt x="5449378" y="227230"/>
                  </a:cubicBezTo>
                  <a:cubicBezTo>
                    <a:pt x="5439423" y="227230"/>
                    <a:pt x="5431353" y="219160"/>
                    <a:pt x="5431353" y="209205"/>
                  </a:cubicBezTo>
                  <a:cubicBezTo>
                    <a:pt x="5431353" y="199250"/>
                    <a:pt x="5439423" y="191181"/>
                    <a:pt x="5449378" y="191181"/>
                  </a:cubicBezTo>
                  <a:close/>
                  <a:moveTo>
                    <a:pt x="2607530" y="191181"/>
                  </a:moveTo>
                  <a:cubicBezTo>
                    <a:pt x="2617485" y="191181"/>
                    <a:pt x="2625555" y="199250"/>
                    <a:pt x="2625555" y="209205"/>
                  </a:cubicBezTo>
                  <a:cubicBezTo>
                    <a:pt x="2625555" y="219160"/>
                    <a:pt x="2617485" y="227230"/>
                    <a:pt x="2607530" y="227230"/>
                  </a:cubicBezTo>
                  <a:cubicBezTo>
                    <a:pt x="2597576" y="227230"/>
                    <a:pt x="2589506" y="219160"/>
                    <a:pt x="2589506" y="209205"/>
                  </a:cubicBezTo>
                  <a:cubicBezTo>
                    <a:pt x="2589506" y="199250"/>
                    <a:pt x="2597576" y="191181"/>
                    <a:pt x="2607530" y="191181"/>
                  </a:cubicBezTo>
                  <a:close/>
                  <a:moveTo>
                    <a:pt x="30040" y="191181"/>
                  </a:moveTo>
                  <a:cubicBezTo>
                    <a:pt x="39995" y="191181"/>
                    <a:pt x="48065" y="199250"/>
                    <a:pt x="48065" y="209205"/>
                  </a:cubicBezTo>
                  <a:cubicBezTo>
                    <a:pt x="48065" y="219160"/>
                    <a:pt x="39995" y="227230"/>
                    <a:pt x="30040" y="227230"/>
                  </a:cubicBezTo>
                  <a:cubicBezTo>
                    <a:pt x="20086" y="227230"/>
                    <a:pt x="12016" y="219160"/>
                    <a:pt x="12016" y="209205"/>
                  </a:cubicBezTo>
                  <a:cubicBezTo>
                    <a:pt x="12016" y="199250"/>
                    <a:pt x="20086" y="191181"/>
                    <a:pt x="30040" y="191181"/>
                  </a:cubicBezTo>
                  <a:close/>
                  <a:moveTo>
                    <a:pt x="6368623" y="185173"/>
                  </a:moveTo>
                  <a:cubicBezTo>
                    <a:pt x="6378577" y="185173"/>
                    <a:pt x="6386648" y="193243"/>
                    <a:pt x="6386648" y="203197"/>
                  </a:cubicBezTo>
                  <a:cubicBezTo>
                    <a:pt x="6386648" y="213152"/>
                    <a:pt x="6378578" y="221222"/>
                    <a:pt x="6368623" y="221222"/>
                  </a:cubicBezTo>
                  <a:cubicBezTo>
                    <a:pt x="6358669" y="221222"/>
                    <a:pt x="6350599" y="213152"/>
                    <a:pt x="6350599" y="203197"/>
                  </a:cubicBezTo>
                  <a:cubicBezTo>
                    <a:pt x="6350599" y="193243"/>
                    <a:pt x="6358668" y="185173"/>
                    <a:pt x="6368623" y="185173"/>
                  </a:cubicBezTo>
                  <a:close/>
                  <a:moveTo>
                    <a:pt x="2379221" y="179165"/>
                  </a:moveTo>
                  <a:cubicBezTo>
                    <a:pt x="2389176" y="179165"/>
                    <a:pt x="2397246" y="187235"/>
                    <a:pt x="2397246" y="197189"/>
                  </a:cubicBezTo>
                  <a:cubicBezTo>
                    <a:pt x="2397246" y="207144"/>
                    <a:pt x="2389176" y="215214"/>
                    <a:pt x="2379221" y="215214"/>
                  </a:cubicBezTo>
                  <a:cubicBezTo>
                    <a:pt x="2369267" y="215214"/>
                    <a:pt x="2361197" y="207144"/>
                    <a:pt x="2361197" y="197189"/>
                  </a:cubicBezTo>
                  <a:cubicBezTo>
                    <a:pt x="2361197" y="187235"/>
                    <a:pt x="2369267" y="179165"/>
                    <a:pt x="2379221" y="179165"/>
                  </a:cubicBezTo>
                  <a:close/>
                  <a:moveTo>
                    <a:pt x="2253050" y="179165"/>
                  </a:moveTo>
                  <a:cubicBezTo>
                    <a:pt x="2263005" y="179165"/>
                    <a:pt x="2271075" y="187235"/>
                    <a:pt x="2271075" y="197189"/>
                  </a:cubicBezTo>
                  <a:cubicBezTo>
                    <a:pt x="2271075" y="207144"/>
                    <a:pt x="2263005" y="215214"/>
                    <a:pt x="2253050" y="215214"/>
                  </a:cubicBezTo>
                  <a:cubicBezTo>
                    <a:pt x="2243096" y="215214"/>
                    <a:pt x="2235026" y="207144"/>
                    <a:pt x="2235026" y="197189"/>
                  </a:cubicBezTo>
                  <a:cubicBezTo>
                    <a:pt x="2235026" y="187235"/>
                    <a:pt x="2243096" y="179165"/>
                    <a:pt x="2253050" y="179165"/>
                  </a:cubicBezTo>
                  <a:close/>
                  <a:moveTo>
                    <a:pt x="624846" y="179165"/>
                  </a:moveTo>
                  <a:cubicBezTo>
                    <a:pt x="634800" y="179165"/>
                    <a:pt x="642870" y="187235"/>
                    <a:pt x="642870" y="197189"/>
                  </a:cubicBezTo>
                  <a:cubicBezTo>
                    <a:pt x="642870" y="207144"/>
                    <a:pt x="634800" y="215214"/>
                    <a:pt x="624846" y="215214"/>
                  </a:cubicBezTo>
                  <a:cubicBezTo>
                    <a:pt x="614891" y="215214"/>
                    <a:pt x="606821" y="207144"/>
                    <a:pt x="606821" y="197189"/>
                  </a:cubicBezTo>
                  <a:cubicBezTo>
                    <a:pt x="606821" y="187235"/>
                    <a:pt x="614891" y="179165"/>
                    <a:pt x="624846" y="179165"/>
                  </a:cubicBezTo>
                  <a:close/>
                  <a:moveTo>
                    <a:pt x="6116281" y="167148"/>
                  </a:moveTo>
                  <a:cubicBezTo>
                    <a:pt x="6126236" y="167148"/>
                    <a:pt x="6134306" y="175218"/>
                    <a:pt x="6134306" y="185173"/>
                  </a:cubicBezTo>
                  <a:cubicBezTo>
                    <a:pt x="6134306" y="195127"/>
                    <a:pt x="6126236" y="203197"/>
                    <a:pt x="6116281" y="203197"/>
                  </a:cubicBezTo>
                  <a:cubicBezTo>
                    <a:pt x="6106327" y="203197"/>
                    <a:pt x="6098257" y="195127"/>
                    <a:pt x="6098257" y="185173"/>
                  </a:cubicBezTo>
                  <a:cubicBezTo>
                    <a:pt x="6098257" y="175218"/>
                    <a:pt x="6106327" y="167148"/>
                    <a:pt x="6116281" y="167148"/>
                  </a:cubicBezTo>
                  <a:close/>
                  <a:moveTo>
                    <a:pt x="5311191" y="167148"/>
                  </a:moveTo>
                  <a:cubicBezTo>
                    <a:pt x="5321146" y="167148"/>
                    <a:pt x="5329216" y="175218"/>
                    <a:pt x="5329216" y="185173"/>
                  </a:cubicBezTo>
                  <a:cubicBezTo>
                    <a:pt x="5329216" y="195127"/>
                    <a:pt x="5321146" y="203197"/>
                    <a:pt x="5311191" y="203197"/>
                  </a:cubicBezTo>
                  <a:cubicBezTo>
                    <a:pt x="5301237" y="203197"/>
                    <a:pt x="5293167" y="195127"/>
                    <a:pt x="5293167" y="185173"/>
                  </a:cubicBezTo>
                  <a:cubicBezTo>
                    <a:pt x="5293167" y="175218"/>
                    <a:pt x="5301237" y="167148"/>
                    <a:pt x="5311191" y="167148"/>
                  </a:cubicBezTo>
                  <a:close/>
                  <a:moveTo>
                    <a:pt x="3508750" y="167148"/>
                  </a:moveTo>
                  <a:cubicBezTo>
                    <a:pt x="3518705" y="167148"/>
                    <a:pt x="3526775" y="175218"/>
                    <a:pt x="3526775" y="185173"/>
                  </a:cubicBezTo>
                  <a:cubicBezTo>
                    <a:pt x="3526775" y="195127"/>
                    <a:pt x="3518705" y="203197"/>
                    <a:pt x="3508750" y="203197"/>
                  </a:cubicBezTo>
                  <a:cubicBezTo>
                    <a:pt x="3498796" y="203197"/>
                    <a:pt x="3490726" y="195127"/>
                    <a:pt x="3490726" y="185173"/>
                  </a:cubicBezTo>
                  <a:cubicBezTo>
                    <a:pt x="3490726" y="175218"/>
                    <a:pt x="3498796" y="167148"/>
                    <a:pt x="3508750" y="167148"/>
                  </a:cubicBezTo>
                  <a:close/>
                  <a:moveTo>
                    <a:pt x="1820464" y="167148"/>
                  </a:moveTo>
                  <a:cubicBezTo>
                    <a:pt x="1830419" y="167148"/>
                    <a:pt x="1838489" y="175218"/>
                    <a:pt x="1838489" y="185173"/>
                  </a:cubicBezTo>
                  <a:cubicBezTo>
                    <a:pt x="1838489" y="195127"/>
                    <a:pt x="1830419" y="203197"/>
                    <a:pt x="1820464" y="203197"/>
                  </a:cubicBezTo>
                  <a:cubicBezTo>
                    <a:pt x="1810510" y="203197"/>
                    <a:pt x="1802440" y="195127"/>
                    <a:pt x="1802440" y="185173"/>
                  </a:cubicBezTo>
                  <a:cubicBezTo>
                    <a:pt x="1802440" y="175218"/>
                    <a:pt x="1810510" y="167148"/>
                    <a:pt x="1820464" y="167148"/>
                  </a:cubicBezTo>
                  <a:close/>
                  <a:moveTo>
                    <a:pt x="1423927" y="167148"/>
                  </a:moveTo>
                  <a:cubicBezTo>
                    <a:pt x="1433882" y="167148"/>
                    <a:pt x="1441952" y="175218"/>
                    <a:pt x="1441952" y="185173"/>
                  </a:cubicBezTo>
                  <a:cubicBezTo>
                    <a:pt x="1441952" y="195127"/>
                    <a:pt x="1433882" y="203197"/>
                    <a:pt x="1423927" y="203197"/>
                  </a:cubicBezTo>
                  <a:cubicBezTo>
                    <a:pt x="1413973" y="203197"/>
                    <a:pt x="1405903" y="195127"/>
                    <a:pt x="1405903" y="185173"/>
                  </a:cubicBezTo>
                  <a:cubicBezTo>
                    <a:pt x="1405903" y="175218"/>
                    <a:pt x="1413973" y="167148"/>
                    <a:pt x="1423927" y="167148"/>
                  </a:cubicBezTo>
                  <a:close/>
                  <a:moveTo>
                    <a:pt x="5100906" y="161140"/>
                  </a:moveTo>
                  <a:cubicBezTo>
                    <a:pt x="5110861" y="161140"/>
                    <a:pt x="5118931" y="169209"/>
                    <a:pt x="5118931" y="179164"/>
                  </a:cubicBezTo>
                  <a:cubicBezTo>
                    <a:pt x="5118931" y="189119"/>
                    <a:pt x="5110861" y="197189"/>
                    <a:pt x="5100906" y="197189"/>
                  </a:cubicBezTo>
                  <a:cubicBezTo>
                    <a:pt x="5090952" y="197189"/>
                    <a:pt x="5082882" y="189119"/>
                    <a:pt x="5082882" y="179164"/>
                  </a:cubicBezTo>
                  <a:cubicBezTo>
                    <a:pt x="5082882" y="169209"/>
                    <a:pt x="5090952" y="161140"/>
                    <a:pt x="5100906" y="161140"/>
                  </a:cubicBezTo>
                  <a:close/>
                  <a:moveTo>
                    <a:pt x="1189610" y="161140"/>
                  </a:moveTo>
                  <a:cubicBezTo>
                    <a:pt x="1199565" y="161140"/>
                    <a:pt x="1207635" y="169209"/>
                    <a:pt x="1207635" y="179164"/>
                  </a:cubicBezTo>
                  <a:cubicBezTo>
                    <a:pt x="1207635" y="189119"/>
                    <a:pt x="1199565" y="197189"/>
                    <a:pt x="1189610" y="197189"/>
                  </a:cubicBezTo>
                  <a:cubicBezTo>
                    <a:pt x="1179656" y="197189"/>
                    <a:pt x="1171586" y="189119"/>
                    <a:pt x="1171586" y="179164"/>
                  </a:cubicBezTo>
                  <a:cubicBezTo>
                    <a:pt x="1171586" y="169209"/>
                    <a:pt x="1179656" y="161140"/>
                    <a:pt x="1189610" y="161140"/>
                  </a:cubicBezTo>
                  <a:close/>
                  <a:moveTo>
                    <a:pt x="492666" y="161140"/>
                  </a:moveTo>
                  <a:cubicBezTo>
                    <a:pt x="502621" y="161140"/>
                    <a:pt x="510691" y="169209"/>
                    <a:pt x="510691" y="179164"/>
                  </a:cubicBezTo>
                  <a:cubicBezTo>
                    <a:pt x="510691" y="189119"/>
                    <a:pt x="502621" y="197189"/>
                    <a:pt x="492666" y="197189"/>
                  </a:cubicBezTo>
                  <a:cubicBezTo>
                    <a:pt x="482712" y="197189"/>
                    <a:pt x="474642" y="189119"/>
                    <a:pt x="474642" y="179164"/>
                  </a:cubicBezTo>
                  <a:cubicBezTo>
                    <a:pt x="474642" y="169209"/>
                    <a:pt x="482712" y="161140"/>
                    <a:pt x="492666" y="161140"/>
                  </a:cubicBezTo>
                  <a:close/>
                  <a:moveTo>
                    <a:pt x="132178" y="161140"/>
                  </a:moveTo>
                  <a:cubicBezTo>
                    <a:pt x="142133" y="161140"/>
                    <a:pt x="150203" y="169209"/>
                    <a:pt x="150203" y="179164"/>
                  </a:cubicBezTo>
                  <a:cubicBezTo>
                    <a:pt x="150203" y="189119"/>
                    <a:pt x="142133" y="197189"/>
                    <a:pt x="132178" y="197189"/>
                  </a:cubicBezTo>
                  <a:cubicBezTo>
                    <a:pt x="122224" y="197189"/>
                    <a:pt x="114154" y="189119"/>
                    <a:pt x="114154" y="179164"/>
                  </a:cubicBezTo>
                  <a:cubicBezTo>
                    <a:pt x="114154" y="169209"/>
                    <a:pt x="122224" y="161140"/>
                    <a:pt x="132178" y="161140"/>
                  </a:cubicBezTo>
                  <a:close/>
                  <a:moveTo>
                    <a:pt x="4968727" y="155132"/>
                  </a:moveTo>
                  <a:cubicBezTo>
                    <a:pt x="4978682" y="155132"/>
                    <a:pt x="4986752" y="163202"/>
                    <a:pt x="4986752" y="173156"/>
                  </a:cubicBezTo>
                  <a:cubicBezTo>
                    <a:pt x="4986752" y="183111"/>
                    <a:pt x="4978682" y="191181"/>
                    <a:pt x="4968727" y="191181"/>
                  </a:cubicBezTo>
                  <a:cubicBezTo>
                    <a:pt x="4958772" y="191181"/>
                    <a:pt x="4950702" y="183111"/>
                    <a:pt x="4950702" y="173156"/>
                  </a:cubicBezTo>
                  <a:cubicBezTo>
                    <a:pt x="4950702" y="163202"/>
                    <a:pt x="4958772" y="155132"/>
                    <a:pt x="4968727" y="155132"/>
                  </a:cubicBezTo>
                  <a:close/>
                  <a:moveTo>
                    <a:pt x="3634921" y="155132"/>
                  </a:moveTo>
                  <a:cubicBezTo>
                    <a:pt x="3644876" y="155132"/>
                    <a:pt x="3652946" y="163202"/>
                    <a:pt x="3652946" y="173156"/>
                  </a:cubicBezTo>
                  <a:cubicBezTo>
                    <a:pt x="3652946" y="183111"/>
                    <a:pt x="3644876" y="191181"/>
                    <a:pt x="3634921" y="191181"/>
                  </a:cubicBezTo>
                  <a:cubicBezTo>
                    <a:pt x="3624966" y="191181"/>
                    <a:pt x="3616897" y="183111"/>
                    <a:pt x="3616897" y="173156"/>
                  </a:cubicBezTo>
                  <a:cubicBezTo>
                    <a:pt x="3616897" y="163202"/>
                    <a:pt x="3624966" y="155132"/>
                    <a:pt x="3634921" y="155132"/>
                  </a:cubicBezTo>
                  <a:close/>
                  <a:moveTo>
                    <a:pt x="2493375" y="155132"/>
                  </a:moveTo>
                  <a:cubicBezTo>
                    <a:pt x="2503330" y="155132"/>
                    <a:pt x="2511400" y="163202"/>
                    <a:pt x="2511400" y="173156"/>
                  </a:cubicBezTo>
                  <a:cubicBezTo>
                    <a:pt x="2511400" y="183111"/>
                    <a:pt x="2503330" y="191181"/>
                    <a:pt x="2493375" y="191181"/>
                  </a:cubicBezTo>
                  <a:cubicBezTo>
                    <a:pt x="2483420" y="191181"/>
                    <a:pt x="2475351" y="183111"/>
                    <a:pt x="2475351" y="173156"/>
                  </a:cubicBezTo>
                  <a:cubicBezTo>
                    <a:pt x="2475351" y="163202"/>
                    <a:pt x="2483420" y="155132"/>
                    <a:pt x="2493375" y="155132"/>
                  </a:cubicBezTo>
                  <a:close/>
                  <a:moveTo>
                    <a:pt x="1922603" y="155132"/>
                  </a:moveTo>
                  <a:cubicBezTo>
                    <a:pt x="1932558" y="155132"/>
                    <a:pt x="1940628" y="163202"/>
                    <a:pt x="1940628" y="173156"/>
                  </a:cubicBezTo>
                  <a:cubicBezTo>
                    <a:pt x="1940628" y="183111"/>
                    <a:pt x="1932558" y="191181"/>
                    <a:pt x="1922603" y="191181"/>
                  </a:cubicBezTo>
                  <a:cubicBezTo>
                    <a:pt x="1912649" y="191181"/>
                    <a:pt x="1904579" y="183111"/>
                    <a:pt x="1904579" y="173156"/>
                  </a:cubicBezTo>
                  <a:cubicBezTo>
                    <a:pt x="1904579" y="163202"/>
                    <a:pt x="1912649" y="155132"/>
                    <a:pt x="1922603" y="155132"/>
                  </a:cubicBezTo>
                  <a:close/>
                  <a:moveTo>
                    <a:pt x="919244" y="155132"/>
                  </a:moveTo>
                  <a:cubicBezTo>
                    <a:pt x="929199" y="155132"/>
                    <a:pt x="937269" y="163202"/>
                    <a:pt x="937269" y="173156"/>
                  </a:cubicBezTo>
                  <a:cubicBezTo>
                    <a:pt x="937269" y="183111"/>
                    <a:pt x="929199" y="191181"/>
                    <a:pt x="919244" y="191181"/>
                  </a:cubicBezTo>
                  <a:cubicBezTo>
                    <a:pt x="909290" y="191181"/>
                    <a:pt x="901220" y="183111"/>
                    <a:pt x="901220" y="173156"/>
                  </a:cubicBezTo>
                  <a:cubicBezTo>
                    <a:pt x="901220" y="163202"/>
                    <a:pt x="909290" y="155132"/>
                    <a:pt x="919244" y="155132"/>
                  </a:cubicBezTo>
                  <a:close/>
                  <a:moveTo>
                    <a:pt x="5905996" y="149124"/>
                  </a:moveTo>
                  <a:cubicBezTo>
                    <a:pt x="5915951" y="149124"/>
                    <a:pt x="5924021" y="157194"/>
                    <a:pt x="5924021" y="167148"/>
                  </a:cubicBezTo>
                  <a:cubicBezTo>
                    <a:pt x="5924021" y="177103"/>
                    <a:pt x="5915951" y="185173"/>
                    <a:pt x="5905996" y="185173"/>
                  </a:cubicBezTo>
                  <a:cubicBezTo>
                    <a:pt x="5896042" y="185173"/>
                    <a:pt x="5887972" y="177103"/>
                    <a:pt x="5887972" y="167148"/>
                  </a:cubicBezTo>
                  <a:cubicBezTo>
                    <a:pt x="5887972" y="157194"/>
                    <a:pt x="5896042" y="149124"/>
                    <a:pt x="5905996" y="149124"/>
                  </a:cubicBezTo>
                  <a:close/>
                  <a:moveTo>
                    <a:pt x="4644288" y="149124"/>
                  </a:moveTo>
                  <a:cubicBezTo>
                    <a:pt x="4654243" y="149124"/>
                    <a:pt x="4662313" y="157194"/>
                    <a:pt x="4662313" y="167148"/>
                  </a:cubicBezTo>
                  <a:cubicBezTo>
                    <a:pt x="4662313" y="177103"/>
                    <a:pt x="4654243" y="185173"/>
                    <a:pt x="4644288" y="185173"/>
                  </a:cubicBezTo>
                  <a:cubicBezTo>
                    <a:pt x="4634334" y="185173"/>
                    <a:pt x="4626264" y="177103"/>
                    <a:pt x="4626264" y="167148"/>
                  </a:cubicBezTo>
                  <a:cubicBezTo>
                    <a:pt x="4626264" y="157194"/>
                    <a:pt x="4634334" y="149124"/>
                    <a:pt x="4644288" y="149124"/>
                  </a:cubicBezTo>
                  <a:close/>
                  <a:moveTo>
                    <a:pt x="2126880" y="149124"/>
                  </a:moveTo>
                  <a:cubicBezTo>
                    <a:pt x="2136834" y="149124"/>
                    <a:pt x="2144904" y="157194"/>
                    <a:pt x="2144904" y="167148"/>
                  </a:cubicBezTo>
                  <a:cubicBezTo>
                    <a:pt x="2144904" y="177103"/>
                    <a:pt x="2136834" y="185173"/>
                    <a:pt x="2126880" y="185173"/>
                  </a:cubicBezTo>
                  <a:cubicBezTo>
                    <a:pt x="2116925" y="185173"/>
                    <a:pt x="2108855" y="177103"/>
                    <a:pt x="2108855" y="167148"/>
                  </a:cubicBezTo>
                  <a:cubicBezTo>
                    <a:pt x="2108855" y="157194"/>
                    <a:pt x="2116925" y="149124"/>
                    <a:pt x="2126880" y="149124"/>
                  </a:cubicBezTo>
                  <a:close/>
                  <a:moveTo>
                    <a:pt x="799081" y="149124"/>
                  </a:moveTo>
                  <a:cubicBezTo>
                    <a:pt x="809036" y="149124"/>
                    <a:pt x="817106" y="157194"/>
                    <a:pt x="817106" y="167148"/>
                  </a:cubicBezTo>
                  <a:cubicBezTo>
                    <a:pt x="817106" y="177103"/>
                    <a:pt x="809036" y="185173"/>
                    <a:pt x="799081" y="185173"/>
                  </a:cubicBezTo>
                  <a:cubicBezTo>
                    <a:pt x="789127" y="185173"/>
                    <a:pt x="781057" y="177103"/>
                    <a:pt x="781057" y="167148"/>
                  </a:cubicBezTo>
                  <a:cubicBezTo>
                    <a:pt x="781057" y="157194"/>
                    <a:pt x="789127" y="149124"/>
                    <a:pt x="799081" y="149124"/>
                  </a:cubicBezTo>
                  <a:close/>
                  <a:moveTo>
                    <a:pt x="366495" y="149124"/>
                  </a:moveTo>
                  <a:cubicBezTo>
                    <a:pt x="376450" y="149124"/>
                    <a:pt x="384520" y="157194"/>
                    <a:pt x="384520" y="167148"/>
                  </a:cubicBezTo>
                  <a:cubicBezTo>
                    <a:pt x="384520" y="177103"/>
                    <a:pt x="376450" y="185173"/>
                    <a:pt x="366495" y="185173"/>
                  </a:cubicBezTo>
                  <a:cubicBezTo>
                    <a:pt x="356541" y="185173"/>
                    <a:pt x="348471" y="177103"/>
                    <a:pt x="348471" y="167148"/>
                  </a:cubicBezTo>
                  <a:cubicBezTo>
                    <a:pt x="348471" y="157194"/>
                    <a:pt x="356541" y="149124"/>
                    <a:pt x="366495" y="149124"/>
                  </a:cubicBezTo>
                  <a:close/>
                  <a:moveTo>
                    <a:pt x="4758442" y="143116"/>
                  </a:moveTo>
                  <a:cubicBezTo>
                    <a:pt x="4768397" y="143116"/>
                    <a:pt x="4776467" y="151186"/>
                    <a:pt x="4776467" y="161140"/>
                  </a:cubicBezTo>
                  <a:cubicBezTo>
                    <a:pt x="4776467" y="171095"/>
                    <a:pt x="4768397" y="179165"/>
                    <a:pt x="4758442" y="179165"/>
                  </a:cubicBezTo>
                  <a:cubicBezTo>
                    <a:pt x="4748487" y="179165"/>
                    <a:pt x="4740417" y="171095"/>
                    <a:pt x="4740417" y="161140"/>
                  </a:cubicBezTo>
                  <a:cubicBezTo>
                    <a:pt x="4740417" y="151186"/>
                    <a:pt x="4748487" y="143116"/>
                    <a:pt x="4758442" y="143116"/>
                  </a:cubicBezTo>
                  <a:close/>
                  <a:moveTo>
                    <a:pt x="3226368" y="143116"/>
                  </a:moveTo>
                  <a:cubicBezTo>
                    <a:pt x="3236323" y="143116"/>
                    <a:pt x="3244393" y="151186"/>
                    <a:pt x="3244393" y="161140"/>
                  </a:cubicBezTo>
                  <a:cubicBezTo>
                    <a:pt x="3244393" y="171095"/>
                    <a:pt x="3236323" y="179165"/>
                    <a:pt x="3226368" y="179165"/>
                  </a:cubicBezTo>
                  <a:cubicBezTo>
                    <a:pt x="3216413" y="179165"/>
                    <a:pt x="3208343" y="171095"/>
                    <a:pt x="3208343" y="161140"/>
                  </a:cubicBezTo>
                  <a:cubicBezTo>
                    <a:pt x="3208343" y="151186"/>
                    <a:pt x="3216413" y="143116"/>
                    <a:pt x="3226368" y="143116"/>
                  </a:cubicBezTo>
                  <a:close/>
                  <a:moveTo>
                    <a:pt x="4235735" y="131100"/>
                  </a:moveTo>
                  <a:cubicBezTo>
                    <a:pt x="4245690" y="131100"/>
                    <a:pt x="4253760" y="139169"/>
                    <a:pt x="4253760" y="149124"/>
                  </a:cubicBezTo>
                  <a:cubicBezTo>
                    <a:pt x="4253760" y="159079"/>
                    <a:pt x="4245690" y="167149"/>
                    <a:pt x="4235735" y="167149"/>
                  </a:cubicBezTo>
                  <a:cubicBezTo>
                    <a:pt x="4225780" y="167149"/>
                    <a:pt x="4217711" y="159079"/>
                    <a:pt x="4217711" y="149124"/>
                  </a:cubicBezTo>
                  <a:cubicBezTo>
                    <a:pt x="4217711" y="139169"/>
                    <a:pt x="4225780" y="131100"/>
                    <a:pt x="4235735" y="131100"/>
                  </a:cubicBezTo>
                  <a:close/>
                  <a:moveTo>
                    <a:pt x="1057431" y="131100"/>
                  </a:moveTo>
                  <a:cubicBezTo>
                    <a:pt x="1067386" y="131100"/>
                    <a:pt x="1075456" y="139169"/>
                    <a:pt x="1075456" y="149124"/>
                  </a:cubicBezTo>
                  <a:cubicBezTo>
                    <a:pt x="1075456" y="159079"/>
                    <a:pt x="1067386" y="167149"/>
                    <a:pt x="1057431" y="167149"/>
                  </a:cubicBezTo>
                  <a:cubicBezTo>
                    <a:pt x="1047477" y="167149"/>
                    <a:pt x="1039407" y="159079"/>
                    <a:pt x="1039407" y="149124"/>
                  </a:cubicBezTo>
                  <a:cubicBezTo>
                    <a:pt x="1039407" y="139169"/>
                    <a:pt x="1047477" y="131100"/>
                    <a:pt x="1057431" y="131100"/>
                  </a:cubicBezTo>
                  <a:close/>
                  <a:moveTo>
                    <a:pt x="4536141" y="119083"/>
                  </a:moveTo>
                  <a:cubicBezTo>
                    <a:pt x="4546096" y="119083"/>
                    <a:pt x="4554166" y="127153"/>
                    <a:pt x="4554166" y="137107"/>
                  </a:cubicBezTo>
                  <a:cubicBezTo>
                    <a:pt x="4554166" y="147062"/>
                    <a:pt x="4546096" y="155132"/>
                    <a:pt x="4536141" y="155132"/>
                  </a:cubicBezTo>
                  <a:cubicBezTo>
                    <a:pt x="4526186" y="155132"/>
                    <a:pt x="4518117" y="147062"/>
                    <a:pt x="4518117" y="137107"/>
                  </a:cubicBezTo>
                  <a:cubicBezTo>
                    <a:pt x="4518117" y="127153"/>
                    <a:pt x="4526186" y="119083"/>
                    <a:pt x="4536141" y="119083"/>
                  </a:cubicBezTo>
                  <a:close/>
                  <a:moveTo>
                    <a:pt x="4361905" y="119083"/>
                  </a:moveTo>
                  <a:cubicBezTo>
                    <a:pt x="4371860" y="119083"/>
                    <a:pt x="4379930" y="127153"/>
                    <a:pt x="4379930" y="137107"/>
                  </a:cubicBezTo>
                  <a:cubicBezTo>
                    <a:pt x="4379930" y="147062"/>
                    <a:pt x="4371860" y="155132"/>
                    <a:pt x="4361905" y="155132"/>
                  </a:cubicBezTo>
                  <a:cubicBezTo>
                    <a:pt x="4351950" y="155132"/>
                    <a:pt x="4343881" y="147062"/>
                    <a:pt x="4343881" y="137107"/>
                  </a:cubicBezTo>
                  <a:cubicBezTo>
                    <a:pt x="4343881" y="127153"/>
                    <a:pt x="4351950" y="119083"/>
                    <a:pt x="4361905" y="119083"/>
                  </a:cubicBezTo>
                  <a:close/>
                  <a:moveTo>
                    <a:pt x="6020151" y="113075"/>
                  </a:moveTo>
                  <a:cubicBezTo>
                    <a:pt x="6030106" y="113075"/>
                    <a:pt x="6038176" y="121145"/>
                    <a:pt x="6038176" y="131099"/>
                  </a:cubicBezTo>
                  <a:cubicBezTo>
                    <a:pt x="6038176" y="141054"/>
                    <a:pt x="6030106" y="149124"/>
                    <a:pt x="6020151" y="149124"/>
                  </a:cubicBezTo>
                  <a:cubicBezTo>
                    <a:pt x="6010196" y="149124"/>
                    <a:pt x="6002126" y="141054"/>
                    <a:pt x="6002126" y="131099"/>
                  </a:cubicBezTo>
                  <a:cubicBezTo>
                    <a:pt x="6002126" y="121145"/>
                    <a:pt x="6010196" y="113075"/>
                    <a:pt x="6020151" y="113075"/>
                  </a:cubicBezTo>
                  <a:close/>
                  <a:moveTo>
                    <a:pt x="5209053" y="113075"/>
                  </a:moveTo>
                  <a:cubicBezTo>
                    <a:pt x="5219008" y="113075"/>
                    <a:pt x="5227078" y="121145"/>
                    <a:pt x="5227078" y="131099"/>
                  </a:cubicBezTo>
                  <a:cubicBezTo>
                    <a:pt x="5227078" y="141054"/>
                    <a:pt x="5219008" y="149124"/>
                    <a:pt x="5209053" y="149124"/>
                  </a:cubicBezTo>
                  <a:cubicBezTo>
                    <a:pt x="5199098" y="149124"/>
                    <a:pt x="5191028" y="141054"/>
                    <a:pt x="5191028" y="131099"/>
                  </a:cubicBezTo>
                  <a:cubicBezTo>
                    <a:pt x="5191028" y="121145"/>
                    <a:pt x="5199098" y="113075"/>
                    <a:pt x="5209053" y="113075"/>
                  </a:cubicBezTo>
                  <a:close/>
                  <a:moveTo>
                    <a:pt x="2865880" y="113075"/>
                  </a:moveTo>
                  <a:cubicBezTo>
                    <a:pt x="2875835" y="113075"/>
                    <a:pt x="2883905" y="121145"/>
                    <a:pt x="2883905" y="131099"/>
                  </a:cubicBezTo>
                  <a:cubicBezTo>
                    <a:pt x="2883905" y="141054"/>
                    <a:pt x="2875835" y="149124"/>
                    <a:pt x="2865880" y="149124"/>
                  </a:cubicBezTo>
                  <a:cubicBezTo>
                    <a:pt x="2855925" y="149124"/>
                    <a:pt x="2847855" y="141054"/>
                    <a:pt x="2847855" y="131099"/>
                  </a:cubicBezTo>
                  <a:cubicBezTo>
                    <a:pt x="2847855" y="121145"/>
                    <a:pt x="2855925" y="113075"/>
                    <a:pt x="2865880" y="113075"/>
                  </a:cubicBezTo>
                  <a:close/>
                  <a:moveTo>
                    <a:pt x="2751725" y="113075"/>
                  </a:moveTo>
                  <a:cubicBezTo>
                    <a:pt x="2761680" y="113075"/>
                    <a:pt x="2769750" y="121145"/>
                    <a:pt x="2769750" y="131099"/>
                  </a:cubicBezTo>
                  <a:cubicBezTo>
                    <a:pt x="2769750" y="141054"/>
                    <a:pt x="2761680" y="149124"/>
                    <a:pt x="2751725" y="149124"/>
                  </a:cubicBezTo>
                  <a:cubicBezTo>
                    <a:pt x="2741771" y="149124"/>
                    <a:pt x="2733701" y="141054"/>
                    <a:pt x="2733701" y="131099"/>
                  </a:cubicBezTo>
                  <a:cubicBezTo>
                    <a:pt x="2733701" y="121145"/>
                    <a:pt x="2741771" y="113075"/>
                    <a:pt x="2751725" y="113075"/>
                  </a:cubicBezTo>
                  <a:close/>
                  <a:moveTo>
                    <a:pt x="5797850" y="107067"/>
                  </a:moveTo>
                  <a:cubicBezTo>
                    <a:pt x="5807805" y="107067"/>
                    <a:pt x="5815875" y="115137"/>
                    <a:pt x="5815875" y="125092"/>
                  </a:cubicBezTo>
                  <a:cubicBezTo>
                    <a:pt x="5815875" y="135046"/>
                    <a:pt x="5807805" y="143116"/>
                    <a:pt x="5797850" y="143116"/>
                  </a:cubicBezTo>
                  <a:cubicBezTo>
                    <a:pt x="5787895" y="143116"/>
                    <a:pt x="5779826" y="135046"/>
                    <a:pt x="5779826" y="125092"/>
                  </a:cubicBezTo>
                  <a:cubicBezTo>
                    <a:pt x="5779826" y="115137"/>
                    <a:pt x="5787895" y="107067"/>
                    <a:pt x="5797850" y="107067"/>
                  </a:cubicBezTo>
                  <a:close/>
                  <a:moveTo>
                    <a:pt x="4055491" y="107067"/>
                  </a:moveTo>
                  <a:cubicBezTo>
                    <a:pt x="4065446" y="107067"/>
                    <a:pt x="4073516" y="115137"/>
                    <a:pt x="4073516" y="125092"/>
                  </a:cubicBezTo>
                  <a:cubicBezTo>
                    <a:pt x="4073516" y="135046"/>
                    <a:pt x="4065446" y="143116"/>
                    <a:pt x="4055491" y="143116"/>
                  </a:cubicBezTo>
                  <a:cubicBezTo>
                    <a:pt x="4045536" y="143116"/>
                    <a:pt x="4037467" y="135046"/>
                    <a:pt x="4037467" y="125092"/>
                  </a:cubicBezTo>
                  <a:cubicBezTo>
                    <a:pt x="4037467" y="115137"/>
                    <a:pt x="4045536" y="107067"/>
                    <a:pt x="4055491" y="107067"/>
                  </a:cubicBezTo>
                  <a:close/>
                  <a:moveTo>
                    <a:pt x="3917303" y="107067"/>
                  </a:moveTo>
                  <a:cubicBezTo>
                    <a:pt x="3927258" y="107067"/>
                    <a:pt x="3935328" y="115137"/>
                    <a:pt x="3935328" y="125092"/>
                  </a:cubicBezTo>
                  <a:cubicBezTo>
                    <a:pt x="3935328" y="135046"/>
                    <a:pt x="3927258" y="143116"/>
                    <a:pt x="3917303" y="143116"/>
                  </a:cubicBezTo>
                  <a:cubicBezTo>
                    <a:pt x="3907348" y="143116"/>
                    <a:pt x="3899278" y="135046"/>
                    <a:pt x="3899278" y="125092"/>
                  </a:cubicBezTo>
                  <a:cubicBezTo>
                    <a:pt x="3899278" y="115137"/>
                    <a:pt x="3907348" y="107067"/>
                    <a:pt x="3917303" y="107067"/>
                  </a:cubicBezTo>
                  <a:close/>
                  <a:moveTo>
                    <a:pt x="3346531" y="107067"/>
                  </a:moveTo>
                  <a:cubicBezTo>
                    <a:pt x="3356486" y="107067"/>
                    <a:pt x="3364556" y="115137"/>
                    <a:pt x="3364556" y="125092"/>
                  </a:cubicBezTo>
                  <a:cubicBezTo>
                    <a:pt x="3364556" y="135046"/>
                    <a:pt x="3356486" y="143116"/>
                    <a:pt x="3346531" y="143116"/>
                  </a:cubicBezTo>
                  <a:cubicBezTo>
                    <a:pt x="3336576" y="143116"/>
                    <a:pt x="3328506" y="135046"/>
                    <a:pt x="3328506" y="125092"/>
                  </a:cubicBezTo>
                  <a:cubicBezTo>
                    <a:pt x="3328506" y="115137"/>
                    <a:pt x="3336576" y="107067"/>
                    <a:pt x="3346531" y="107067"/>
                  </a:cubicBezTo>
                  <a:close/>
                  <a:moveTo>
                    <a:pt x="2024741" y="107067"/>
                  </a:moveTo>
                  <a:cubicBezTo>
                    <a:pt x="2034696" y="107067"/>
                    <a:pt x="2042766" y="115137"/>
                    <a:pt x="2042766" y="125092"/>
                  </a:cubicBezTo>
                  <a:cubicBezTo>
                    <a:pt x="2042766" y="135046"/>
                    <a:pt x="2034696" y="143116"/>
                    <a:pt x="2024741" y="143116"/>
                  </a:cubicBezTo>
                  <a:cubicBezTo>
                    <a:pt x="2014787" y="143116"/>
                    <a:pt x="2006717" y="135046"/>
                    <a:pt x="2006717" y="125092"/>
                  </a:cubicBezTo>
                  <a:cubicBezTo>
                    <a:pt x="2006717" y="115137"/>
                    <a:pt x="2014787" y="107067"/>
                    <a:pt x="2024741" y="107067"/>
                  </a:cubicBezTo>
                  <a:close/>
                  <a:moveTo>
                    <a:pt x="240325" y="107067"/>
                  </a:moveTo>
                  <a:cubicBezTo>
                    <a:pt x="250280" y="107067"/>
                    <a:pt x="258350" y="115137"/>
                    <a:pt x="258350" y="125092"/>
                  </a:cubicBezTo>
                  <a:cubicBezTo>
                    <a:pt x="258350" y="135046"/>
                    <a:pt x="250280" y="143116"/>
                    <a:pt x="240325" y="143116"/>
                  </a:cubicBezTo>
                  <a:cubicBezTo>
                    <a:pt x="230371" y="143116"/>
                    <a:pt x="222301" y="135046"/>
                    <a:pt x="222301" y="125092"/>
                  </a:cubicBezTo>
                  <a:cubicBezTo>
                    <a:pt x="222301" y="115137"/>
                    <a:pt x="230371" y="107067"/>
                    <a:pt x="240325" y="107067"/>
                  </a:cubicBezTo>
                  <a:close/>
                  <a:moveTo>
                    <a:pt x="3761092" y="101059"/>
                  </a:moveTo>
                  <a:cubicBezTo>
                    <a:pt x="3771047" y="101059"/>
                    <a:pt x="3779117" y="109128"/>
                    <a:pt x="3779117" y="119083"/>
                  </a:cubicBezTo>
                  <a:cubicBezTo>
                    <a:pt x="3779117" y="129038"/>
                    <a:pt x="3771047" y="137108"/>
                    <a:pt x="3761092" y="137108"/>
                  </a:cubicBezTo>
                  <a:cubicBezTo>
                    <a:pt x="3751137" y="137108"/>
                    <a:pt x="3743068" y="129038"/>
                    <a:pt x="3743068" y="119083"/>
                  </a:cubicBezTo>
                  <a:cubicBezTo>
                    <a:pt x="3743068" y="109128"/>
                    <a:pt x="3751137" y="101059"/>
                    <a:pt x="3761092" y="101059"/>
                  </a:cubicBezTo>
                  <a:close/>
                  <a:moveTo>
                    <a:pt x="1706311" y="101059"/>
                  </a:moveTo>
                  <a:cubicBezTo>
                    <a:pt x="1716265" y="101059"/>
                    <a:pt x="1724335" y="109128"/>
                    <a:pt x="1724335" y="119083"/>
                  </a:cubicBezTo>
                  <a:cubicBezTo>
                    <a:pt x="1724335" y="129038"/>
                    <a:pt x="1716265" y="137108"/>
                    <a:pt x="1706311" y="137108"/>
                  </a:cubicBezTo>
                  <a:cubicBezTo>
                    <a:pt x="1696356" y="137108"/>
                    <a:pt x="1688286" y="129038"/>
                    <a:pt x="1688286" y="119083"/>
                  </a:cubicBezTo>
                  <a:cubicBezTo>
                    <a:pt x="1688286" y="109128"/>
                    <a:pt x="1696356" y="101059"/>
                    <a:pt x="1706311" y="101059"/>
                  </a:cubicBezTo>
                  <a:close/>
                  <a:moveTo>
                    <a:pt x="1574131" y="101059"/>
                  </a:moveTo>
                  <a:cubicBezTo>
                    <a:pt x="1584086" y="101059"/>
                    <a:pt x="1592156" y="109128"/>
                    <a:pt x="1592156" y="119083"/>
                  </a:cubicBezTo>
                  <a:cubicBezTo>
                    <a:pt x="1592156" y="129038"/>
                    <a:pt x="1584086" y="137108"/>
                    <a:pt x="1574131" y="137108"/>
                  </a:cubicBezTo>
                  <a:cubicBezTo>
                    <a:pt x="1564177" y="137108"/>
                    <a:pt x="1556107" y="129038"/>
                    <a:pt x="1556107" y="119083"/>
                  </a:cubicBezTo>
                  <a:cubicBezTo>
                    <a:pt x="1556107" y="109128"/>
                    <a:pt x="1564177" y="101059"/>
                    <a:pt x="1574131" y="101059"/>
                  </a:cubicBezTo>
                  <a:close/>
                  <a:moveTo>
                    <a:pt x="5611598" y="89043"/>
                  </a:moveTo>
                  <a:cubicBezTo>
                    <a:pt x="5621553" y="89043"/>
                    <a:pt x="5629623" y="97113"/>
                    <a:pt x="5629623" y="107067"/>
                  </a:cubicBezTo>
                  <a:cubicBezTo>
                    <a:pt x="5629623" y="117022"/>
                    <a:pt x="5621553" y="125092"/>
                    <a:pt x="5611598" y="125092"/>
                  </a:cubicBezTo>
                  <a:cubicBezTo>
                    <a:pt x="5601644" y="125092"/>
                    <a:pt x="5593574" y="117022"/>
                    <a:pt x="5593574" y="107067"/>
                  </a:cubicBezTo>
                  <a:cubicBezTo>
                    <a:pt x="5593574" y="97113"/>
                    <a:pt x="5601644" y="89043"/>
                    <a:pt x="5611598" y="89043"/>
                  </a:cubicBezTo>
                  <a:close/>
                  <a:moveTo>
                    <a:pt x="5419337" y="89043"/>
                  </a:moveTo>
                  <a:cubicBezTo>
                    <a:pt x="5429292" y="89043"/>
                    <a:pt x="5437362" y="97113"/>
                    <a:pt x="5437362" y="107067"/>
                  </a:cubicBezTo>
                  <a:cubicBezTo>
                    <a:pt x="5437362" y="117022"/>
                    <a:pt x="5429292" y="125092"/>
                    <a:pt x="5419337" y="125092"/>
                  </a:cubicBezTo>
                  <a:cubicBezTo>
                    <a:pt x="5409382" y="125092"/>
                    <a:pt x="5401312" y="117022"/>
                    <a:pt x="5401312" y="107067"/>
                  </a:cubicBezTo>
                  <a:cubicBezTo>
                    <a:pt x="5401312" y="97113"/>
                    <a:pt x="5409382" y="89043"/>
                    <a:pt x="5419337" y="89043"/>
                  </a:cubicBezTo>
                  <a:close/>
                  <a:moveTo>
                    <a:pt x="2992051" y="89043"/>
                  </a:moveTo>
                  <a:cubicBezTo>
                    <a:pt x="3002006" y="89043"/>
                    <a:pt x="3010076" y="97113"/>
                    <a:pt x="3010076" y="107067"/>
                  </a:cubicBezTo>
                  <a:cubicBezTo>
                    <a:pt x="3010076" y="117022"/>
                    <a:pt x="3002006" y="125092"/>
                    <a:pt x="2992051" y="125092"/>
                  </a:cubicBezTo>
                  <a:cubicBezTo>
                    <a:pt x="2982097" y="125092"/>
                    <a:pt x="2974027" y="117022"/>
                    <a:pt x="2974027" y="107067"/>
                  </a:cubicBezTo>
                  <a:cubicBezTo>
                    <a:pt x="2974027" y="97113"/>
                    <a:pt x="2982097" y="89043"/>
                    <a:pt x="2992051" y="89043"/>
                  </a:cubicBezTo>
                  <a:close/>
                  <a:moveTo>
                    <a:pt x="6368623" y="83034"/>
                  </a:moveTo>
                  <a:cubicBezTo>
                    <a:pt x="6378577" y="83034"/>
                    <a:pt x="6386648" y="91104"/>
                    <a:pt x="6386648" y="101058"/>
                  </a:cubicBezTo>
                  <a:cubicBezTo>
                    <a:pt x="6386648" y="111013"/>
                    <a:pt x="6378578" y="119083"/>
                    <a:pt x="6368623" y="119083"/>
                  </a:cubicBezTo>
                  <a:cubicBezTo>
                    <a:pt x="6358669" y="119083"/>
                    <a:pt x="6350599" y="111013"/>
                    <a:pt x="6350599" y="101058"/>
                  </a:cubicBezTo>
                  <a:cubicBezTo>
                    <a:pt x="6350599" y="91104"/>
                    <a:pt x="6358668" y="83034"/>
                    <a:pt x="6368623" y="83034"/>
                  </a:cubicBezTo>
                  <a:close/>
                  <a:moveTo>
                    <a:pt x="6242452" y="83034"/>
                  </a:moveTo>
                  <a:cubicBezTo>
                    <a:pt x="6252407" y="83034"/>
                    <a:pt x="6260477" y="91104"/>
                    <a:pt x="6260477" y="101058"/>
                  </a:cubicBezTo>
                  <a:cubicBezTo>
                    <a:pt x="6260477" y="111013"/>
                    <a:pt x="6252407" y="119083"/>
                    <a:pt x="6242452" y="119083"/>
                  </a:cubicBezTo>
                  <a:cubicBezTo>
                    <a:pt x="6232498" y="119083"/>
                    <a:pt x="6224428" y="111013"/>
                    <a:pt x="6224428" y="101058"/>
                  </a:cubicBezTo>
                  <a:cubicBezTo>
                    <a:pt x="6224428" y="91104"/>
                    <a:pt x="6232498" y="83034"/>
                    <a:pt x="6242452" y="83034"/>
                  </a:cubicBezTo>
                  <a:close/>
                  <a:moveTo>
                    <a:pt x="4884613" y="83034"/>
                  </a:moveTo>
                  <a:cubicBezTo>
                    <a:pt x="4894568" y="83034"/>
                    <a:pt x="4902638" y="91104"/>
                    <a:pt x="4902638" y="101058"/>
                  </a:cubicBezTo>
                  <a:cubicBezTo>
                    <a:pt x="4902638" y="111013"/>
                    <a:pt x="4894568" y="119083"/>
                    <a:pt x="4884613" y="119083"/>
                  </a:cubicBezTo>
                  <a:cubicBezTo>
                    <a:pt x="4874659" y="119083"/>
                    <a:pt x="4866589" y="111013"/>
                    <a:pt x="4866589" y="101058"/>
                  </a:cubicBezTo>
                  <a:cubicBezTo>
                    <a:pt x="4866589" y="91104"/>
                    <a:pt x="4874659" y="83034"/>
                    <a:pt x="4884613" y="83034"/>
                  </a:cubicBezTo>
                  <a:close/>
                  <a:moveTo>
                    <a:pt x="3118221" y="83034"/>
                  </a:moveTo>
                  <a:cubicBezTo>
                    <a:pt x="3128176" y="83034"/>
                    <a:pt x="3136246" y="91104"/>
                    <a:pt x="3136246" y="101058"/>
                  </a:cubicBezTo>
                  <a:cubicBezTo>
                    <a:pt x="3136246" y="111013"/>
                    <a:pt x="3128176" y="119083"/>
                    <a:pt x="3118221" y="119083"/>
                  </a:cubicBezTo>
                  <a:cubicBezTo>
                    <a:pt x="3108267" y="119083"/>
                    <a:pt x="3100197" y="111013"/>
                    <a:pt x="3100197" y="101058"/>
                  </a:cubicBezTo>
                  <a:cubicBezTo>
                    <a:pt x="3100197" y="91104"/>
                    <a:pt x="3108267" y="83034"/>
                    <a:pt x="3118221" y="83034"/>
                  </a:cubicBezTo>
                  <a:close/>
                  <a:moveTo>
                    <a:pt x="2619546" y="83034"/>
                  </a:moveTo>
                  <a:cubicBezTo>
                    <a:pt x="2629501" y="83034"/>
                    <a:pt x="2637571" y="91104"/>
                    <a:pt x="2637571" y="101058"/>
                  </a:cubicBezTo>
                  <a:cubicBezTo>
                    <a:pt x="2637571" y="111013"/>
                    <a:pt x="2629501" y="119083"/>
                    <a:pt x="2619546" y="119083"/>
                  </a:cubicBezTo>
                  <a:cubicBezTo>
                    <a:pt x="2609591" y="119083"/>
                    <a:pt x="2601522" y="111013"/>
                    <a:pt x="2601522" y="101058"/>
                  </a:cubicBezTo>
                  <a:cubicBezTo>
                    <a:pt x="2601522" y="91104"/>
                    <a:pt x="2609591" y="83034"/>
                    <a:pt x="2619546" y="83034"/>
                  </a:cubicBezTo>
                  <a:close/>
                  <a:moveTo>
                    <a:pt x="1291748" y="83034"/>
                  </a:moveTo>
                  <a:cubicBezTo>
                    <a:pt x="1301703" y="83034"/>
                    <a:pt x="1309773" y="91104"/>
                    <a:pt x="1309773" y="101058"/>
                  </a:cubicBezTo>
                  <a:cubicBezTo>
                    <a:pt x="1309773" y="111013"/>
                    <a:pt x="1301703" y="119083"/>
                    <a:pt x="1291748" y="119083"/>
                  </a:cubicBezTo>
                  <a:cubicBezTo>
                    <a:pt x="1281794" y="119083"/>
                    <a:pt x="1273724" y="111013"/>
                    <a:pt x="1273724" y="101058"/>
                  </a:cubicBezTo>
                  <a:cubicBezTo>
                    <a:pt x="1273724" y="91104"/>
                    <a:pt x="1281794" y="83034"/>
                    <a:pt x="1291748" y="83034"/>
                  </a:cubicBezTo>
                  <a:close/>
                  <a:moveTo>
                    <a:pt x="702951" y="83034"/>
                  </a:moveTo>
                  <a:cubicBezTo>
                    <a:pt x="712906" y="83034"/>
                    <a:pt x="720976" y="91104"/>
                    <a:pt x="720976" y="101058"/>
                  </a:cubicBezTo>
                  <a:cubicBezTo>
                    <a:pt x="720976" y="111013"/>
                    <a:pt x="712906" y="119083"/>
                    <a:pt x="702951" y="119083"/>
                  </a:cubicBezTo>
                  <a:cubicBezTo>
                    <a:pt x="692997" y="119083"/>
                    <a:pt x="684927" y="111013"/>
                    <a:pt x="684927" y="101058"/>
                  </a:cubicBezTo>
                  <a:cubicBezTo>
                    <a:pt x="684927" y="91104"/>
                    <a:pt x="692997" y="83034"/>
                    <a:pt x="702951" y="83034"/>
                  </a:cubicBezTo>
                  <a:close/>
                  <a:moveTo>
                    <a:pt x="2319139" y="65010"/>
                  </a:moveTo>
                  <a:cubicBezTo>
                    <a:pt x="2329094" y="65010"/>
                    <a:pt x="2337164" y="73080"/>
                    <a:pt x="2337164" y="83034"/>
                  </a:cubicBezTo>
                  <a:cubicBezTo>
                    <a:pt x="2337164" y="92989"/>
                    <a:pt x="2329094" y="101059"/>
                    <a:pt x="2319139" y="101059"/>
                  </a:cubicBezTo>
                  <a:cubicBezTo>
                    <a:pt x="2309185" y="101059"/>
                    <a:pt x="2301115" y="92989"/>
                    <a:pt x="2301115" y="83034"/>
                  </a:cubicBezTo>
                  <a:cubicBezTo>
                    <a:pt x="2301115" y="73080"/>
                    <a:pt x="2309185" y="65010"/>
                    <a:pt x="2319139" y="65010"/>
                  </a:cubicBezTo>
                  <a:close/>
                  <a:moveTo>
                    <a:pt x="564765" y="65010"/>
                  </a:moveTo>
                  <a:cubicBezTo>
                    <a:pt x="574719" y="65010"/>
                    <a:pt x="582789" y="73080"/>
                    <a:pt x="582789" y="83034"/>
                  </a:cubicBezTo>
                  <a:cubicBezTo>
                    <a:pt x="582789" y="92989"/>
                    <a:pt x="574719" y="101059"/>
                    <a:pt x="564765" y="101059"/>
                  </a:cubicBezTo>
                  <a:cubicBezTo>
                    <a:pt x="554810" y="101059"/>
                    <a:pt x="546740" y="92989"/>
                    <a:pt x="546740" y="83034"/>
                  </a:cubicBezTo>
                  <a:cubicBezTo>
                    <a:pt x="546740" y="73080"/>
                    <a:pt x="554810" y="65010"/>
                    <a:pt x="564765" y="65010"/>
                  </a:cubicBezTo>
                  <a:close/>
                  <a:moveTo>
                    <a:pt x="18024" y="65010"/>
                  </a:moveTo>
                  <a:cubicBezTo>
                    <a:pt x="27979" y="65010"/>
                    <a:pt x="36049" y="73080"/>
                    <a:pt x="36049" y="83034"/>
                  </a:cubicBezTo>
                  <a:cubicBezTo>
                    <a:pt x="36049" y="92989"/>
                    <a:pt x="27979" y="101059"/>
                    <a:pt x="18024" y="101059"/>
                  </a:cubicBezTo>
                  <a:cubicBezTo>
                    <a:pt x="8070" y="101059"/>
                    <a:pt x="0" y="92989"/>
                    <a:pt x="0" y="83034"/>
                  </a:cubicBezTo>
                  <a:cubicBezTo>
                    <a:pt x="0" y="73080"/>
                    <a:pt x="8070" y="65010"/>
                    <a:pt x="18024" y="65010"/>
                  </a:cubicBezTo>
                  <a:close/>
                  <a:moveTo>
                    <a:pt x="5052841" y="59002"/>
                  </a:moveTo>
                  <a:cubicBezTo>
                    <a:pt x="5062796" y="59002"/>
                    <a:pt x="5070866" y="67072"/>
                    <a:pt x="5070866" y="77026"/>
                  </a:cubicBezTo>
                  <a:cubicBezTo>
                    <a:pt x="5070866" y="86981"/>
                    <a:pt x="5062796" y="95051"/>
                    <a:pt x="5052841" y="95051"/>
                  </a:cubicBezTo>
                  <a:cubicBezTo>
                    <a:pt x="5042886" y="95051"/>
                    <a:pt x="5034817" y="86981"/>
                    <a:pt x="5034817" y="77026"/>
                  </a:cubicBezTo>
                  <a:cubicBezTo>
                    <a:pt x="5034817" y="67072"/>
                    <a:pt x="5042886" y="59002"/>
                    <a:pt x="5052841" y="59002"/>
                  </a:cubicBezTo>
                  <a:close/>
                  <a:moveTo>
                    <a:pt x="3490726" y="59002"/>
                  </a:moveTo>
                  <a:cubicBezTo>
                    <a:pt x="3500681" y="59002"/>
                    <a:pt x="3508751" y="67072"/>
                    <a:pt x="3508751" y="77026"/>
                  </a:cubicBezTo>
                  <a:cubicBezTo>
                    <a:pt x="3508751" y="86981"/>
                    <a:pt x="3500681" y="95051"/>
                    <a:pt x="3490726" y="95051"/>
                  </a:cubicBezTo>
                  <a:cubicBezTo>
                    <a:pt x="3480771" y="95051"/>
                    <a:pt x="3472702" y="86981"/>
                    <a:pt x="3472702" y="77026"/>
                  </a:cubicBezTo>
                  <a:cubicBezTo>
                    <a:pt x="3472702" y="67072"/>
                    <a:pt x="3480771" y="59002"/>
                    <a:pt x="3490726" y="59002"/>
                  </a:cubicBezTo>
                  <a:close/>
                  <a:moveTo>
                    <a:pt x="1447960" y="59002"/>
                  </a:moveTo>
                  <a:cubicBezTo>
                    <a:pt x="1457915" y="59002"/>
                    <a:pt x="1465985" y="67072"/>
                    <a:pt x="1465985" y="77026"/>
                  </a:cubicBezTo>
                  <a:cubicBezTo>
                    <a:pt x="1465985" y="86981"/>
                    <a:pt x="1457915" y="95051"/>
                    <a:pt x="1447960" y="95051"/>
                  </a:cubicBezTo>
                  <a:cubicBezTo>
                    <a:pt x="1438006" y="95051"/>
                    <a:pt x="1429936" y="86981"/>
                    <a:pt x="1429936" y="77026"/>
                  </a:cubicBezTo>
                  <a:cubicBezTo>
                    <a:pt x="1429936" y="67072"/>
                    <a:pt x="1438006" y="59002"/>
                    <a:pt x="1447960" y="59002"/>
                  </a:cubicBezTo>
                  <a:close/>
                  <a:moveTo>
                    <a:pt x="2192969" y="46987"/>
                  </a:moveTo>
                  <a:cubicBezTo>
                    <a:pt x="2202924" y="46987"/>
                    <a:pt x="2210994" y="55057"/>
                    <a:pt x="2210994" y="65012"/>
                  </a:cubicBezTo>
                  <a:cubicBezTo>
                    <a:pt x="2210994" y="74966"/>
                    <a:pt x="2202924" y="83036"/>
                    <a:pt x="2192969" y="83036"/>
                  </a:cubicBezTo>
                  <a:cubicBezTo>
                    <a:pt x="2183015" y="83036"/>
                    <a:pt x="2174945" y="74966"/>
                    <a:pt x="2174945" y="65012"/>
                  </a:cubicBezTo>
                  <a:cubicBezTo>
                    <a:pt x="2174945" y="55057"/>
                    <a:pt x="2183015" y="46987"/>
                    <a:pt x="2192969" y="46987"/>
                  </a:cubicBezTo>
                  <a:close/>
                  <a:moveTo>
                    <a:pt x="4434003" y="40979"/>
                  </a:moveTo>
                  <a:cubicBezTo>
                    <a:pt x="4443958" y="40979"/>
                    <a:pt x="4452028" y="49048"/>
                    <a:pt x="4452028" y="59003"/>
                  </a:cubicBezTo>
                  <a:cubicBezTo>
                    <a:pt x="4452028" y="68958"/>
                    <a:pt x="4443958" y="77028"/>
                    <a:pt x="4434003" y="77028"/>
                  </a:cubicBezTo>
                  <a:cubicBezTo>
                    <a:pt x="4424049" y="77028"/>
                    <a:pt x="4415979" y="68958"/>
                    <a:pt x="4415979" y="59003"/>
                  </a:cubicBezTo>
                  <a:cubicBezTo>
                    <a:pt x="4415979" y="49048"/>
                    <a:pt x="4424049" y="40979"/>
                    <a:pt x="4434003" y="40979"/>
                  </a:cubicBezTo>
                  <a:close/>
                  <a:moveTo>
                    <a:pt x="3616897" y="40979"/>
                  </a:moveTo>
                  <a:cubicBezTo>
                    <a:pt x="3626852" y="40979"/>
                    <a:pt x="3634922" y="49048"/>
                    <a:pt x="3634922" y="59003"/>
                  </a:cubicBezTo>
                  <a:cubicBezTo>
                    <a:pt x="3634922" y="68958"/>
                    <a:pt x="3626852" y="77028"/>
                    <a:pt x="3616897" y="77028"/>
                  </a:cubicBezTo>
                  <a:cubicBezTo>
                    <a:pt x="3606942" y="77028"/>
                    <a:pt x="3598872" y="68958"/>
                    <a:pt x="3598872" y="59003"/>
                  </a:cubicBezTo>
                  <a:cubicBezTo>
                    <a:pt x="3598872" y="49048"/>
                    <a:pt x="3606942" y="40979"/>
                    <a:pt x="3616897" y="40979"/>
                  </a:cubicBezTo>
                  <a:close/>
                  <a:moveTo>
                    <a:pt x="1826473" y="40979"/>
                  </a:moveTo>
                  <a:cubicBezTo>
                    <a:pt x="1836427" y="40979"/>
                    <a:pt x="1844497" y="49048"/>
                    <a:pt x="1844497" y="59003"/>
                  </a:cubicBezTo>
                  <a:cubicBezTo>
                    <a:pt x="1844497" y="68958"/>
                    <a:pt x="1836427" y="77028"/>
                    <a:pt x="1826473" y="77028"/>
                  </a:cubicBezTo>
                  <a:cubicBezTo>
                    <a:pt x="1816518" y="77028"/>
                    <a:pt x="1808448" y="68958"/>
                    <a:pt x="1808448" y="59003"/>
                  </a:cubicBezTo>
                  <a:cubicBezTo>
                    <a:pt x="1808448" y="49048"/>
                    <a:pt x="1816518" y="40979"/>
                    <a:pt x="1826473" y="40979"/>
                  </a:cubicBezTo>
                  <a:close/>
                  <a:moveTo>
                    <a:pt x="5942045" y="34970"/>
                  </a:moveTo>
                  <a:cubicBezTo>
                    <a:pt x="5952000" y="34970"/>
                    <a:pt x="5960070" y="43040"/>
                    <a:pt x="5960070" y="52994"/>
                  </a:cubicBezTo>
                  <a:cubicBezTo>
                    <a:pt x="5960070" y="62949"/>
                    <a:pt x="5952000" y="71019"/>
                    <a:pt x="5942045" y="71019"/>
                  </a:cubicBezTo>
                  <a:cubicBezTo>
                    <a:pt x="5932091" y="71019"/>
                    <a:pt x="5924021" y="62949"/>
                    <a:pt x="5924021" y="52994"/>
                  </a:cubicBezTo>
                  <a:cubicBezTo>
                    <a:pt x="5924021" y="43040"/>
                    <a:pt x="5932091" y="34970"/>
                    <a:pt x="5942045" y="34970"/>
                  </a:cubicBezTo>
                  <a:close/>
                  <a:moveTo>
                    <a:pt x="5719744" y="34970"/>
                  </a:moveTo>
                  <a:cubicBezTo>
                    <a:pt x="5729699" y="34970"/>
                    <a:pt x="5737769" y="43040"/>
                    <a:pt x="5737769" y="52994"/>
                  </a:cubicBezTo>
                  <a:cubicBezTo>
                    <a:pt x="5737769" y="62949"/>
                    <a:pt x="5729699" y="71019"/>
                    <a:pt x="5719744" y="71019"/>
                  </a:cubicBezTo>
                  <a:cubicBezTo>
                    <a:pt x="5709789" y="71019"/>
                    <a:pt x="5701719" y="62949"/>
                    <a:pt x="5701719" y="52994"/>
                  </a:cubicBezTo>
                  <a:cubicBezTo>
                    <a:pt x="5701719" y="43040"/>
                    <a:pt x="5709789" y="34970"/>
                    <a:pt x="5719744" y="34970"/>
                  </a:cubicBezTo>
                  <a:close/>
                  <a:moveTo>
                    <a:pt x="1171586" y="34970"/>
                  </a:moveTo>
                  <a:cubicBezTo>
                    <a:pt x="1181541" y="34970"/>
                    <a:pt x="1189611" y="43040"/>
                    <a:pt x="1189611" y="52994"/>
                  </a:cubicBezTo>
                  <a:cubicBezTo>
                    <a:pt x="1189611" y="62949"/>
                    <a:pt x="1181541" y="71019"/>
                    <a:pt x="1171586" y="71019"/>
                  </a:cubicBezTo>
                  <a:cubicBezTo>
                    <a:pt x="1161632" y="71019"/>
                    <a:pt x="1153562" y="62949"/>
                    <a:pt x="1153562" y="52994"/>
                  </a:cubicBezTo>
                  <a:cubicBezTo>
                    <a:pt x="1153562" y="43040"/>
                    <a:pt x="1161632" y="34970"/>
                    <a:pt x="1171586" y="34970"/>
                  </a:cubicBezTo>
                  <a:close/>
                  <a:moveTo>
                    <a:pt x="937268" y="34970"/>
                  </a:moveTo>
                  <a:cubicBezTo>
                    <a:pt x="947223" y="34970"/>
                    <a:pt x="955293" y="43040"/>
                    <a:pt x="955293" y="52994"/>
                  </a:cubicBezTo>
                  <a:cubicBezTo>
                    <a:pt x="955293" y="62949"/>
                    <a:pt x="947223" y="71019"/>
                    <a:pt x="937268" y="71019"/>
                  </a:cubicBezTo>
                  <a:cubicBezTo>
                    <a:pt x="927314" y="71019"/>
                    <a:pt x="919244" y="62949"/>
                    <a:pt x="919244" y="52994"/>
                  </a:cubicBezTo>
                  <a:cubicBezTo>
                    <a:pt x="919244" y="43040"/>
                    <a:pt x="927314" y="34970"/>
                    <a:pt x="937268" y="34970"/>
                  </a:cubicBezTo>
                  <a:close/>
                  <a:moveTo>
                    <a:pt x="426577" y="34970"/>
                  </a:moveTo>
                  <a:cubicBezTo>
                    <a:pt x="436532" y="34970"/>
                    <a:pt x="444602" y="43040"/>
                    <a:pt x="444602" y="52994"/>
                  </a:cubicBezTo>
                  <a:cubicBezTo>
                    <a:pt x="444602" y="62949"/>
                    <a:pt x="436532" y="71019"/>
                    <a:pt x="426577" y="71019"/>
                  </a:cubicBezTo>
                  <a:cubicBezTo>
                    <a:pt x="416623" y="71019"/>
                    <a:pt x="408553" y="62949"/>
                    <a:pt x="408553" y="52994"/>
                  </a:cubicBezTo>
                  <a:cubicBezTo>
                    <a:pt x="408553" y="43040"/>
                    <a:pt x="416623" y="34970"/>
                    <a:pt x="426577" y="34970"/>
                  </a:cubicBezTo>
                  <a:close/>
                  <a:moveTo>
                    <a:pt x="6146322" y="28962"/>
                  </a:moveTo>
                  <a:cubicBezTo>
                    <a:pt x="6156277" y="28962"/>
                    <a:pt x="6164347" y="37032"/>
                    <a:pt x="6164347" y="46986"/>
                  </a:cubicBezTo>
                  <a:cubicBezTo>
                    <a:pt x="6164347" y="56941"/>
                    <a:pt x="6156277" y="65011"/>
                    <a:pt x="6146322" y="65011"/>
                  </a:cubicBezTo>
                  <a:cubicBezTo>
                    <a:pt x="6136368" y="65011"/>
                    <a:pt x="6128298" y="56941"/>
                    <a:pt x="6128298" y="46986"/>
                  </a:cubicBezTo>
                  <a:cubicBezTo>
                    <a:pt x="6128298" y="37032"/>
                    <a:pt x="6136368" y="28962"/>
                    <a:pt x="6146322" y="28962"/>
                  </a:cubicBezTo>
                  <a:close/>
                  <a:moveTo>
                    <a:pt x="4776467" y="28962"/>
                  </a:moveTo>
                  <a:cubicBezTo>
                    <a:pt x="4786422" y="28962"/>
                    <a:pt x="4794492" y="37032"/>
                    <a:pt x="4794492" y="46986"/>
                  </a:cubicBezTo>
                  <a:cubicBezTo>
                    <a:pt x="4794492" y="56941"/>
                    <a:pt x="4786422" y="65011"/>
                    <a:pt x="4776467" y="65011"/>
                  </a:cubicBezTo>
                  <a:cubicBezTo>
                    <a:pt x="4766512" y="65011"/>
                    <a:pt x="4758443" y="56941"/>
                    <a:pt x="4758443" y="46986"/>
                  </a:cubicBezTo>
                  <a:cubicBezTo>
                    <a:pt x="4758443" y="37032"/>
                    <a:pt x="4766512" y="28962"/>
                    <a:pt x="4776467" y="28962"/>
                  </a:cubicBezTo>
                  <a:close/>
                  <a:moveTo>
                    <a:pt x="2451318" y="28962"/>
                  </a:moveTo>
                  <a:cubicBezTo>
                    <a:pt x="2461273" y="28962"/>
                    <a:pt x="2469343" y="37032"/>
                    <a:pt x="2469343" y="46986"/>
                  </a:cubicBezTo>
                  <a:cubicBezTo>
                    <a:pt x="2469343" y="56941"/>
                    <a:pt x="2461273" y="65011"/>
                    <a:pt x="2451318" y="65011"/>
                  </a:cubicBezTo>
                  <a:cubicBezTo>
                    <a:pt x="2441364" y="65011"/>
                    <a:pt x="2433294" y="56941"/>
                    <a:pt x="2433294" y="46986"/>
                  </a:cubicBezTo>
                  <a:cubicBezTo>
                    <a:pt x="2433294" y="37032"/>
                    <a:pt x="2441364" y="28962"/>
                    <a:pt x="2451318" y="28962"/>
                  </a:cubicBezTo>
                  <a:close/>
                  <a:moveTo>
                    <a:pt x="150203" y="28962"/>
                  </a:moveTo>
                  <a:cubicBezTo>
                    <a:pt x="160158" y="28962"/>
                    <a:pt x="168228" y="37032"/>
                    <a:pt x="168228" y="46986"/>
                  </a:cubicBezTo>
                  <a:cubicBezTo>
                    <a:pt x="168228" y="56941"/>
                    <a:pt x="160158" y="65011"/>
                    <a:pt x="150203" y="65011"/>
                  </a:cubicBezTo>
                  <a:cubicBezTo>
                    <a:pt x="140249" y="65011"/>
                    <a:pt x="132179" y="56941"/>
                    <a:pt x="132179" y="46986"/>
                  </a:cubicBezTo>
                  <a:cubicBezTo>
                    <a:pt x="132179" y="37032"/>
                    <a:pt x="140249" y="28962"/>
                    <a:pt x="150203" y="28962"/>
                  </a:cubicBezTo>
                  <a:close/>
                  <a:moveTo>
                    <a:pt x="4277792" y="22954"/>
                  </a:moveTo>
                  <a:cubicBezTo>
                    <a:pt x="4287747" y="22954"/>
                    <a:pt x="4295817" y="31024"/>
                    <a:pt x="4295817" y="40978"/>
                  </a:cubicBezTo>
                  <a:cubicBezTo>
                    <a:pt x="4295817" y="50933"/>
                    <a:pt x="4287747" y="59003"/>
                    <a:pt x="4277792" y="59003"/>
                  </a:cubicBezTo>
                  <a:cubicBezTo>
                    <a:pt x="4267837" y="59003"/>
                    <a:pt x="4259767" y="50933"/>
                    <a:pt x="4259767" y="40978"/>
                  </a:cubicBezTo>
                  <a:cubicBezTo>
                    <a:pt x="4259767" y="31024"/>
                    <a:pt x="4267837" y="22954"/>
                    <a:pt x="4277792" y="22954"/>
                  </a:cubicBezTo>
                  <a:close/>
                  <a:moveTo>
                    <a:pt x="4145613" y="22954"/>
                  </a:moveTo>
                  <a:cubicBezTo>
                    <a:pt x="4155568" y="22954"/>
                    <a:pt x="4163638" y="31024"/>
                    <a:pt x="4163638" y="40978"/>
                  </a:cubicBezTo>
                  <a:cubicBezTo>
                    <a:pt x="4163638" y="50933"/>
                    <a:pt x="4155568" y="59003"/>
                    <a:pt x="4145613" y="59003"/>
                  </a:cubicBezTo>
                  <a:cubicBezTo>
                    <a:pt x="4135658" y="59003"/>
                    <a:pt x="4127589" y="50933"/>
                    <a:pt x="4127589" y="40978"/>
                  </a:cubicBezTo>
                  <a:cubicBezTo>
                    <a:pt x="4127589" y="31024"/>
                    <a:pt x="4135658" y="22954"/>
                    <a:pt x="4145613" y="22954"/>
                  </a:cubicBezTo>
                  <a:close/>
                  <a:moveTo>
                    <a:pt x="817106" y="22954"/>
                  </a:moveTo>
                  <a:cubicBezTo>
                    <a:pt x="823743" y="22954"/>
                    <a:pt x="829123" y="28334"/>
                    <a:pt x="829123" y="34970"/>
                  </a:cubicBezTo>
                  <a:cubicBezTo>
                    <a:pt x="829123" y="41607"/>
                    <a:pt x="823743" y="46987"/>
                    <a:pt x="817106" y="46987"/>
                  </a:cubicBezTo>
                  <a:cubicBezTo>
                    <a:pt x="810470" y="46987"/>
                    <a:pt x="805090" y="41606"/>
                    <a:pt x="805090" y="34970"/>
                  </a:cubicBezTo>
                  <a:cubicBezTo>
                    <a:pt x="805090" y="28334"/>
                    <a:pt x="810470" y="22954"/>
                    <a:pt x="817106" y="22954"/>
                  </a:cubicBezTo>
                  <a:close/>
                  <a:moveTo>
                    <a:pt x="5491435" y="16946"/>
                  </a:moveTo>
                  <a:cubicBezTo>
                    <a:pt x="5501390" y="16946"/>
                    <a:pt x="5509460" y="25016"/>
                    <a:pt x="5509460" y="34971"/>
                  </a:cubicBezTo>
                  <a:cubicBezTo>
                    <a:pt x="5509460" y="44925"/>
                    <a:pt x="5501390" y="52995"/>
                    <a:pt x="5491435" y="52995"/>
                  </a:cubicBezTo>
                  <a:cubicBezTo>
                    <a:pt x="5481481" y="52995"/>
                    <a:pt x="5473411" y="44925"/>
                    <a:pt x="5473411" y="34971"/>
                  </a:cubicBezTo>
                  <a:cubicBezTo>
                    <a:pt x="5473411" y="25016"/>
                    <a:pt x="5481481" y="16946"/>
                    <a:pt x="5491435" y="16946"/>
                  </a:cubicBezTo>
                  <a:close/>
                  <a:moveTo>
                    <a:pt x="5323207" y="16946"/>
                  </a:moveTo>
                  <a:cubicBezTo>
                    <a:pt x="5333162" y="16946"/>
                    <a:pt x="5341232" y="25016"/>
                    <a:pt x="5341232" y="34971"/>
                  </a:cubicBezTo>
                  <a:cubicBezTo>
                    <a:pt x="5341232" y="44925"/>
                    <a:pt x="5333162" y="52995"/>
                    <a:pt x="5323207" y="52995"/>
                  </a:cubicBezTo>
                  <a:cubicBezTo>
                    <a:pt x="5313252" y="52995"/>
                    <a:pt x="5305183" y="44925"/>
                    <a:pt x="5305183" y="34971"/>
                  </a:cubicBezTo>
                  <a:cubicBezTo>
                    <a:pt x="5305183" y="25016"/>
                    <a:pt x="5313252" y="16946"/>
                    <a:pt x="5323207" y="16946"/>
                  </a:cubicBezTo>
                  <a:close/>
                  <a:moveTo>
                    <a:pt x="4632272" y="16946"/>
                  </a:moveTo>
                  <a:cubicBezTo>
                    <a:pt x="4642227" y="16946"/>
                    <a:pt x="4650297" y="25016"/>
                    <a:pt x="4650297" y="34971"/>
                  </a:cubicBezTo>
                  <a:cubicBezTo>
                    <a:pt x="4650297" y="44925"/>
                    <a:pt x="4642227" y="52995"/>
                    <a:pt x="4632272" y="52995"/>
                  </a:cubicBezTo>
                  <a:cubicBezTo>
                    <a:pt x="4622317" y="52995"/>
                    <a:pt x="4614248" y="44925"/>
                    <a:pt x="4614248" y="34971"/>
                  </a:cubicBezTo>
                  <a:cubicBezTo>
                    <a:pt x="4614248" y="25016"/>
                    <a:pt x="4622317" y="16946"/>
                    <a:pt x="4632272" y="16946"/>
                  </a:cubicBezTo>
                  <a:close/>
                  <a:moveTo>
                    <a:pt x="3226368" y="16946"/>
                  </a:moveTo>
                  <a:cubicBezTo>
                    <a:pt x="3236323" y="16946"/>
                    <a:pt x="3244393" y="25016"/>
                    <a:pt x="3244393" y="34971"/>
                  </a:cubicBezTo>
                  <a:cubicBezTo>
                    <a:pt x="3244393" y="44925"/>
                    <a:pt x="3236323" y="52995"/>
                    <a:pt x="3226368" y="52995"/>
                  </a:cubicBezTo>
                  <a:cubicBezTo>
                    <a:pt x="3216413" y="52995"/>
                    <a:pt x="3208343" y="44925"/>
                    <a:pt x="3208343" y="34971"/>
                  </a:cubicBezTo>
                  <a:cubicBezTo>
                    <a:pt x="3208343" y="25016"/>
                    <a:pt x="3216413" y="16946"/>
                    <a:pt x="3226368" y="16946"/>
                  </a:cubicBezTo>
                  <a:close/>
                  <a:moveTo>
                    <a:pt x="3983393" y="10938"/>
                  </a:moveTo>
                  <a:cubicBezTo>
                    <a:pt x="3993348" y="10938"/>
                    <a:pt x="4001418" y="19007"/>
                    <a:pt x="4001418" y="28962"/>
                  </a:cubicBezTo>
                  <a:cubicBezTo>
                    <a:pt x="4001418" y="38917"/>
                    <a:pt x="3993348" y="46987"/>
                    <a:pt x="3983393" y="46987"/>
                  </a:cubicBezTo>
                  <a:cubicBezTo>
                    <a:pt x="3973439" y="46987"/>
                    <a:pt x="3965369" y="38917"/>
                    <a:pt x="3965369" y="28962"/>
                  </a:cubicBezTo>
                  <a:cubicBezTo>
                    <a:pt x="3965369" y="19007"/>
                    <a:pt x="3973439" y="10938"/>
                    <a:pt x="3983393" y="10938"/>
                  </a:cubicBezTo>
                  <a:close/>
                  <a:moveTo>
                    <a:pt x="1039407" y="10938"/>
                  </a:moveTo>
                  <a:cubicBezTo>
                    <a:pt x="1049362" y="10938"/>
                    <a:pt x="1057432" y="19007"/>
                    <a:pt x="1057432" y="28962"/>
                  </a:cubicBezTo>
                  <a:cubicBezTo>
                    <a:pt x="1057432" y="38917"/>
                    <a:pt x="1049362" y="46987"/>
                    <a:pt x="1039407" y="46987"/>
                  </a:cubicBezTo>
                  <a:cubicBezTo>
                    <a:pt x="1029453" y="46987"/>
                    <a:pt x="1021383" y="38917"/>
                    <a:pt x="1021383" y="28962"/>
                  </a:cubicBezTo>
                  <a:cubicBezTo>
                    <a:pt x="1021383" y="19007"/>
                    <a:pt x="1029453" y="10938"/>
                    <a:pt x="1039407" y="10938"/>
                  </a:cubicBezTo>
                  <a:close/>
                  <a:moveTo>
                    <a:pt x="312422" y="10938"/>
                  </a:moveTo>
                  <a:cubicBezTo>
                    <a:pt x="322377" y="10938"/>
                    <a:pt x="330447" y="19007"/>
                    <a:pt x="330447" y="28962"/>
                  </a:cubicBezTo>
                  <a:cubicBezTo>
                    <a:pt x="330447" y="38917"/>
                    <a:pt x="322377" y="46987"/>
                    <a:pt x="312422" y="46987"/>
                  </a:cubicBezTo>
                  <a:cubicBezTo>
                    <a:pt x="302468" y="46987"/>
                    <a:pt x="294398" y="38917"/>
                    <a:pt x="294398" y="28962"/>
                  </a:cubicBezTo>
                  <a:cubicBezTo>
                    <a:pt x="294398" y="19007"/>
                    <a:pt x="302468" y="10938"/>
                    <a:pt x="312422" y="10938"/>
                  </a:cubicBezTo>
                  <a:close/>
                  <a:moveTo>
                    <a:pt x="3839198" y="4930"/>
                  </a:moveTo>
                  <a:cubicBezTo>
                    <a:pt x="3849153" y="4930"/>
                    <a:pt x="3857223" y="13000"/>
                    <a:pt x="3857223" y="22954"/>
                  </a:cubicBezTo>
                  <a:cubicBezTo>
                    <a:pt x="3857223" y="32909"/>
                    <a:pt x="3849153" y="40979"/>
                    <a:pt x="3839198" y="40979"/>
                  </a:cubicBezTo>
                  <a:cubicBezTo>
                    <a:pt x="3829244" y="40979"/>
                    <a:pt x="3821174" y="32909"/>
                    <a:pt x="3821174" y="22954"/>
                  </a:cubicBezTo>
                  <a:cubicBezTo>
                    <a:pt x="3821174" y="13000"/>
                    <a:pt x="3829244" y="4930"/>
                    <a:pt x="3839198" y="4930"/>
                  </a:cubicBezTo>
                  <a:close/>
                  <a:moveTo>
                    <a:pt x="3388588" y="4930"/>
                  </a:moveTo>
                  <a:cubicBezTo>
                    <a:pt x="3398543" y="4930"/>
                    <a:pt x="3406613" y="13000"/>
                    <a:pt x="3406613" y="22954"/>
                  </a:cubicBezTo>
                  <a:cubicBezTo>
                    <a:pt x="3406613" y="32909"/>
                    <a:pt x="3398543" y="40979"/>
                    <a:pt x="3388588" y="40979"/>
                  </a:cubicBezTo>
                  <a:cubicBezTo>
                    <a:pt x="3378634" y="40979"/>
                    <a:pt x="3370564" y="32909"/>
                    <a:pt x="3370564" y="22954"/>
                  </a:cubicBezTo>
                  <a:cubicBezTo>
                    <a:pt x="3370564" y="13000"/>
                    <a:pt x="3378634" y="4930"/>
                    <a:pt x="3388588" y="4930"/>
                  </a:cubicBezTo>
                  <a:close/>
                  <a:moveTo>
                    <a:pt x="5171526" y="0"/>
                  </a:moveTo>
                  <a:lnTo>
                    <a:pt x="5198514" y="0"/>
                  </a:lnTo>
                  <a:lnTo>
                    <a:pt x="5203045" y="10937"/>
                  </a:lnTo>
                  <a:cubicBezTo>
                    <a:pt x="5203045" y="20892"/>
                    <a:pt x="5194975" y="28962"/>
                    <a:pt x="5185020" y="28962"/>
                  </a:cubicBezTo>
                  <a:cubicBezTo>
                    <a:pt x="5175066" y="28962"/>
                    <a:pt x="5166996" y="20892"/>
                    <a:pt x="5166996" y="10937"/>
                  </a:cubicBezTo>
                  <a:close/>
                  <a:moveTo>
                    <a:pt x="4908761" y="0"/>
                  </a:moveTo>
                  <a:lnTo>
                    <a:pt x="4932564" y="0"/>
                  </a:lnTo>
                  <a:lnTo>
                    <a:pt x="4920662" y="4930"/>
                  </a:lnTo>
                  <a:close/>
                  <a:moveTo>
                    <a:pt x="3701458" y="0"/>
                  </a:moveTo>
                  <a:lnTo>
                    <a:pt x="3736613" y="0"/>
                  </a:lnTo>
                  <a:lnTo>
                    <a:pt x="3731781" y="11667"/>
                  </a:lnTo>
                  <a:cubicBezTo>
                    <a:pt x="3728519" y="14929"/>
                    <a:pt x="3724013" y="16946"/>
                    <a:pt x="3719035" y="16946"/>
                  </a:cubicBezTo>
                  <a:cubicBezTo>
                    <a:pt x="3714058" y="16946"/>
                    <a:pt x="3709552" y="14929"/>
                    <a:pt x="3706290" y="11667"/>
                  </a:cubicBezTo>
                  <a:close/>
                  <a:moveTo>
                    <a:pt x="3058255" y="0"/>
                  </a:moveTo>
                  <a:lnTo>
                    <a:pt x="3082058" y="0"/>
                  </a:lnTo>
                  <a:lnTo>
                    <a:pt x="3070156" y="4930"/>
                  </a:lnTo>
                  <a:close/>
                  <a:moveTo>
                    <a:pt x="2908383" y="0"/>
                  </a:moveTo>
                  <a:lnTo>
                    <a:pt x="2943539" y="0"/>
                  </a:lnTo>
                  <a:lnTo>
                    <a:pt x="2938707" y="11667"/>
                  </a:lnTo>
                  <a:cubicBezTo>
                    <a:pt x="2935445" y="14929"/>
                    <a:pt x="2930939" y="16946"/>
                    <a:pt x="2925961" y="16946"/>
                  </a:cubicBezTo>
                  <a:cubicBezTo>
                    <a:pt x="2920984" y="16946"/>
                    <a:pt x="2916477" y="14929"/>
                    <a:pt x="2913216" y="11667"/>
                  </a:cubicBezTo>
                  <a:close/>
                  <a:moveTo>
                    <a:pt x="2794230" y="0"/>
                  </a:moveTo>
                  <a:lnTo>
                    <a:pt x="2829385" y="0"/>
                  </a:lnTo>
                  <a:lnTo>
                    <a:pt x="2824553" y="11667"/>
                  </a:lnTo>
                  <a:cubicBezTo>
                    <a:pt x="2821291" y="14929"/>
                    <a:pt x="2816785" y="16946"/>
                    <a:pt x="2811807" y="16946"/>
                  </a:cubicBezTo>
                  <a:cubicBezTo>
                    <a:pt x="2806830" y="16946"/>
                    <a:pt x="2802324" y="14929"/>
                    <a:pt x="2799062" y="11667"/>
                  </a:cubicBezTo>
                  <a:close/>
                  <a:moveTo>
                    <a:pt x="2675662" y="0"/>
                  </a:moveTo>
                  <a:lnTo>
                    <a:pt x="2707627" y="0"/>
                  </a:lnTo>
                  <a:lnTo>
                    <a:pt x="2709669" y="4930"/>
                  </a:lnTo>
                  <a:cubicBezTo>
                    <a:pt x="2709669" y="14884"/>
                    <a:pt x="2701599" y="22954"/>
                    <a:pt x="2691644" y="22954"/>
                  </a:cubicBezTo>
                  <a:cubicBezTo>
                    <a:pt x="2681690" y="22954"/>
                    <a:pt x="2673620" y="14884"/>
                    <a:pt x="2673620" y="4930"/>
                  </a:cubicBezTo>
                  <a:close/>
                  <a:moveTo>
                    <a:pt x="2543483" y="0"/>
                  </a:moveTo>
                  <a:lnTo>
                    <a:pt x="2575448" y="0"/>
                  </a:lnTo>
                  <a:lnTo>
                    <a:pt x="2577490" y="4930"/>
                  </a:lnTo>
                  <a:cubicBezTo>
                    <a:pt x="2577490" y="14884"/>
                    <a:pt x="2569420" y="22954"/>
                    <a:pt x="2559465" y="22954"/>
                  </a:cubicBezTo>
                  <a:cubicBezTo>
                    <a:pt x="2549510" y="22954"/>
                    <a:pt x="2541441" y="14884"/>
                    <a:pt x="2541441" y="4930"/>
                  </a:cubicBezTo>
                  <a:close/>
                  <a:moveTo>
                    <a:pt x="2047297" y="0"/>
                  </a:moveTo>
                  <a:lnTo>
                    <a:pt x="2074285" y="0"/>
                  </a:lnTo>
                  <a:lnTo>
                    <a:pt x="2078815" y="10937"/>
                  </a:lnTo>
                  <a:cubicBezTo>
                    <a:pt x="2078815" y="20892"/>
                    <a:pt x="2070745" y="28962"/>
                    <a:pt x="2060790" y="28962"/>
                  </a:cubicBezTo>
                  <a:cubicBezTo>
                    <a:pt x="2050836" y="28962"/>
                    <a:pt x="2042766" y="20892"/>
                    <a:pt x="2042766" y="10937"/>
                  </a:cubicBezTo>
                  <a:close/>
                  <a:moveTo>
                    <a:pt x="1932017" y="0"/>
                  </a:moveTo>
                  <a:lnTo>
                    <a:pt x="1937222" y="0"/>
                  </a:lnTo>
                  <a:lnTo>
                    <a:pt x="1947365" y="4201"/>
                  </a:lnTo>
                  <a:cubicBezTo>
                    <a:pt x="1950627" y="7463"/>
                    <a:pt x="1952644" y="11969"/>
                    <a:pt x="1952644" y="16946"/>
                  </a:cubicBezTo>
                  <a:cubicBezTo>
                    <a:pt x="1952644" y="26901"/>
                    <a:pt x="1944574" y="34971"/>
                    <a:pt x="1934619" y="34971"/>
                  </a:cubicBezTo>
                  <a:cubicBezTo>
                    <a:pt x="1924665" y="34971"/>
                    <a:pt x="1916595" y="26901"/>
                    <a:pt x="1916595" y="16946"/>
                  </a:cubicBezTo>
                  <a:cubicBezTo>
                    <a:pt x="1916595" y="11969"/>
                    <a:pt x="1918613" y="7463"/>
                    <a:pt x="1921875" y="4201"/>
                  </a:cubicBezTo>
                  <a:close/>
                  <a:moveTo>
                    <a:pt x="1694741" y="0"/>
                  </a:moveTo>
                  <a:lnTo>
                    <a:pt x="1729896" y="0"/>
                  </a:lnTo>
                  <a:lnTo>
                    <a:pt x="1725064" y="11667"/>
                  </a:lnTo>
                  <a:cubicBezTo>
                    <a:pt x="1721802" y="14929"/>
                    <a:pt x="1717296" y="16946"/>
                    <a:pt x="1712318" y="16946"/>
                  </a:cubicBezTo>
                  <a:cubicBezTo>
                    <a:pt x="1707341" y="16946"/>
                    <a:pt x="1702835" y="14929"/>
                    <a:pt x="1699574" y="11667"/>
                  </a:cubicBezTo>
                  <a:close/>
                  <a:moveTo>
                    <a:pt x="1586594" y="0"/>
                  </a:moveTo>
                  <a:lnTo>
                    <a:pt x="1621749" y="0"/>
                  </a:lnTo>
                  <a:lnTo>
                    <a:pt x="1616917" y="11667"/>
                  </a:lnTo>
                  <a:cubicBezTo>
                    <a:pt x="1613655" y="14929"/>
                    <a:pt x="1609149" y="16946"/>
                    <a:pt x="1604171" y="16946"/>
                  </a:cubicBezTo>
                  <a:cubicBezTo>
                    <a:pt x="1599194" y="16946"/>
                    <a:pt x="1594688" y="14929"/>
                    <a:pt x="1591427" y="11667"/>
                  </a:cubicBezTo>
                  <a:close/>
                  <a:moveTo>
                    <a:pt x="1328245" y="0"/>
                  </a:moveTo>
                  <a:lnTo>
                    <a:pt x="1363400" y="0"/>
                  </a:lnTo>
                  <a:lnTo>
                    <a:pt x="1358568" y="11667"/>
                  </a:lnTo>
                  <a:cubicBezTo>
                    <a:pt x="1355306" y="14929"/>
                    <a:pt x="1350800" y="16946"/>
                    <a:pt x="1345823" y="16946"/>
                  </a:cubicBezTo>
                  <a:cubicBezTo>
                    <a:pt x="1340846" y="16946"/>
                    <a:pt x="1336340" y="14929"/>
                    <a:pt x="1333078" y="11667"/>
                  </a:cubicBezTo>
                  <a:close/>
                  <a:moveTo>
                    <a:pt x="636977" y="0"/>
                  </a:moveTo>
                  <a:lnTo>
                    <a:pt x="660780" y="0"/>
                  </a:lnTo>
                  <a:lnTo>
                    <a:pt x="648878" y="4930"/>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AADD9643-5489-42CB-9762-FBAC2AAE9FB9}"/>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0" y="2390523"/>
              <a:ext cx="611491" cy="1421482"/>
            </a:xfrm>
            <a:custGeom>
              <a:avLst/>
              <a:gdLst>
                <a:gd name="connsiteX0" fmla="*/ 0 w 611491"/>
                <a:gd name="connsiteY0" fmla="*/ 0 h 1429512"/>
                <a:gd name="connsiteX1" fmla="*/ 62526 w 611491"/>
                <a:gd name="connsiteY1" fmla="*/ 22473 h 1429512"/>
                <a:gd name="connsiteX2" fmla="*/ 241043 w 611491"/>
                <a:gd name="connsiteY2" fmla="*/ 176817 h 1429512"/>
                <a:gd name="connsiteX3" fmla="*/ 497720 w 611491"/>
                <a:gd name="connsiteY3" fmla="*/ 299929 h 1429512"/>
                <a:gd name="connsiteX4" fmla="*/ 610380 w 611491"/>
                <a:gd name="connsiteY4" fmla="*/ 577513 h 1429512"/>
                <a:gd name="connsiteX5" fmla="*/ 458232 w 611491"/>
                <a:gd name="connsiteY5" fmla="*/ 845805 h 1429512"/>
                <a:gd name="connsiteX6" fmla="*/ 455909 w 611491"/>
                <a:gd name="connsiteY6" fmla="*/ 848128 h 1429512"/>
                <a:gd name="connsiteX7" fmla="*/ 407128 w 611491"/>
                <a:gd name="connsiteY7" fmla="*/ 956142 h 1429512"/>
                <a:gd name="connsiteX8" fmla="*/ 396675 w 611491"/>
                <a:gd name="connsiteY8" fmla="*/ 993308 h 1429512"/>
                <a:gd name="connsiteX9" fmla="*/ 230590 w 611491"/>
                <a:gd name="connsiteY9" fmla="*/ 1283668 h 1429512"/>
                <a:gd name="connsiteX10" fmla="*/ 7730 w 611491"/>
                <a:gd name="connsiteY10" fmla="*/ 1427579 h 1429512"/>
                <a:gd name="connsiteX11" fmla="*/ 0 w 611491"/>
                <a:gd name="connsiteY11" fmla="*/ 1429512 h 1429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1491" h="1429512">
                  <a:moveTo>
                    <a:pt x="0" y="0"/>
                  </a:moveTo>
                  <a:lnTo>
                    <a:pt x="62526" y="22473"/>
                  </a:lnTo>
                  <a:cubicBezTo>
                    <a:pt x="133465" y="57262"/>
                    <a:pt x="193134" y="114099"/>
                    <a:pt x="241043" y="176817"/>
                  </a:cubicBezTo>
                  <a:cubicBezTo>
                    <a:pt x="333958" y="204691"/>
                    <a:pt x="425711" y="231405"/>
                    <a:pt x="497720" y="299929"/>
                  </a:cubicBezTo>
                  <a:cubicBezTo>
                    <a:pt x="569730" y="369616"/>
                    <a:pt x="619671" y="476468"/>
                    <a:pt x="610380" y="577513"/>
                  </a:cubicBezTo>
                  <a:cubicBezTo>
                    <a:pt x="601088" y="676235"/>
                    <a:pt x="515142" y="767989"/>
                    <a:pt x="458232" y="845805"/>
                  </a:cubicBezTo>
                  <a:cubicBezTo>
                    <a:pt x="457070" y="846967"/>
                    <a:pt x="457070" y="848128"/>
                    <a:pt x="455909" y="848128"/>
                  </a:cubicBezTo>
                  <a:cubicBezTo>
                    <a:pt x="432680" y="880648"/>
                    <a:pt x="416420" y="916653"/>
                    <a:pt x="407128" y="956142"/>
                  </a:cubicBezTo>
                  <a:cubicBezTo>
                    <a:pt x="403644" y="968918"/>
                    <a:pt x="401321" y="980532"/>
                    <a:pt x="396675" y="993308"/>
                  </a:cubicBezTo>
                  <a:cubicBezTo>
                    <a:pt x="362994" y="1101322"/>
                    <a:pt x="308406" y="1201205"/>
                    <a:pt x="230590" y="1283668"/>
                  </a:cubicBezTo>
                  <a:cubicBezTo>
                    <a:pt x="170921" y="1347256"/>
                    <a:pt x="92143" y="1398432"/>
                    <a:pt x="7730" y="1427579"/>
                  </a:cubicBezTo>
                  <a:lnTo>
                    <a:pt x="0" y="1429512"/>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Freeform: Shape 20">
              <a:extLst>
                <a:ext uri="{FF2B5EF4-FFF2-40B4-BE49-F238E27FC236}">
                  <a16:creationId xmlns:a16="http://schemas.microsoft.com/office/drawing/2014/main" id="{09A2C16E-2745-4E3D-BECC-D66755221E3B}"/>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3792772" y="0"/>
              <a:ext cx="2423863" cy="1343767"/>
            </a:xfrm>
            <a:custGeom>
              <a:avLst/>
              <a:gdLst>
                <a:gd name="connsiteX0" fmla="*/ 37089 w 3015964"/>
                <a:gd name="connsiteY0" fmla="*/ 0 h 1681468"/>
                <a:gd name="connsiteX1" fmla="*/ 3014022 w 3015964"/>
                <a:gd name="connsiteY1" fmla="*/ 0 h 1681468"/>
                <a:gd name="connsiteX2" fmla="*/ 3015964 w 3015964"/>
                <a:gd name="connsiteY2" fmla="*/ 52718 h 1681468"/>
                <a:gd name="connsiteX3" fmla="*/ 2982682 w 3015964"/>
                <a:gd name="connsiteY3" fmla="*/ 249186 h 1681468"/>
                <a:gd name="connsiteX4" fmla="*/ 1789950 w 3015964"/>
                <a:gd name="connsiteY4" fmla="*/ 1181800 h 1681468"/>
                <a:gd name="connsiteX5" fmla="*/ 1536391 w 3015964"/>
                <a:gd name="connsiteY5" fmla="*/ 1275909 h 1681468"/>
                <a:gd name="connsiteX6" fmla="*/ 1257206 w 3015964"/>
                <a:gd name="connsiteY6" fmla="*/ 1431287 h 1681468"/>
                <a:gd name="connsiteX7" fmla="*/ 990871 w 3015964"/>
                <a:gd name="connsiteY7" fmla="*/ 1669291 h 1681468"/>
                <a:gd name="connsiteX8" fmla="*/ 584900 w 3015964"/>
                <a:gd name="connsiteY8" fmla="*/ 1589975 h 1681468"/>
                <a:gd name="connsiteX9" fmla="*/ 32440 w 3015964"/>
                <a:gd name="connsiteY9" fmla="*/ 985257 h 1681468"/>
                <a:gd name="connsiteX10" fmla="*/ 98094 w 3015964"/>
                <a:gd name="connsiteY10" fmla="*/ 314136 h 1681468"/>
                <a:gd name="connsiteX11" fmla="*/ 37491 w 3015964"/>
                <a:gd name="connsiteY11" fmla="*/ 8555 h 168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15964" h="1681468">
                  <a:moveTo>
                    <a:pt x="37089" y="0"/>
                  </a:moveTo>
                  <a:lnTo>
                    <a:pt x="3014022" y="0"/>
                  </a:lnTo>
                  <a:lnTo>
                    <a:pt x="3015964" y="52718"/>
                  </a:lnTo>
                  <a:cubicBezTo>
                    <a:pt x="3014020" y="116767"/>
                    <a:pt x="3003328" y="182440"/>
                    <a:pt x="2982682" y="249186"/>
                  </a:cubicBezTo>
                  <a:cubicBezTo>
                    <a:pt x="2816250" y="780974"/>
                    <a:pt x="2269424" y="1021163"/>
                    <a:pt x="1789950" y="1181800"/>
                  </a:cubicBezTo>
                  <a:cubicBezTo>
                    <a:pt x="1704900" y="1210572"/>
                    <a:pt x="1618927" y="1242781"/>
                    <a:pt x="1536391" y="1275909"/>
                  </a:cubicBezTo>
                  <a:cubicBezTo>
                    <a:pt x="1442962" y="1315327"/>
                    <a:pt x="1325233" y="1362965"/>
                    <a:pt x="1257206" y="1431287"/>
                  </a:cubicBezTo>
                  <a:cubicBezTo>
                    <a:pt x="1165891" y="1524673"/>
                    <a:pt x="1138606" y="1633376"/>
                    <a:pt x="990871" y="1669291"/>
                  </a:cubicBezTo>
                  <a:cubicBezTo>
                    <a:pt x="855624" y="1706711"/>
                    <a:pt x="704676" y="1651532"/>
                    <a:pt x="584900" y="1589975"/>
                  </a:cubicBezTo>
                  <a:cubicBezTo>
                    <a:pt x="340993" y="1469377"/>
                    <a:pt x="110379" y="1251058"/>
                    <a:pt x="32440" y="985257"/>
                  </a:cubicBezTo>
                  <a:cubicBezTo>
                    <a:pt x="-35009" y="762780"/>
                    <a:pt x="10420" y="524511"/>
                    <a:pt x="98094" y="314136"/>
                  </a:cubicBezTo>
                  <a:cubicBezTo>
                    <a:pt x="73927" y="211903"/>
                    <a:pt x="49528" y="110530"/>
                    <a:pt x="37491" y="855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Freeform: Shape 21">
              <a:extLst>
                <a:ext uri="{FF2B5EF4-FFF2-40B4-BE49-F238E27FC236}">
                  <a16:creationId xmlns:a16="http://schemas.microsoft.com/office/drawing/2014/main" id="{52E5A063-571D-4461-9869-B3E93F6E69DD}"/>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10946850" y="0"/>
              <a:ext cx="1242102" cy="2620884"/>
            </a:xfrm>
            <a:custGeom>
              <a:avLst/>
              <a:gdLst>
                <a:gd name="connsiteX0" fmla="*/ 48089 w 1242102"/>
                <a:gd name="connsiteY0" fmla="*/ 0 h 2635689"/>
                <a:gd name="connsiteX1" fmla="*/ 1242102 w 1242102"/>
                <a:gd name="connsiteY1" fmla="*/ 0 h 2635689"/>
                <a:gd name="connsiteX2" fmla="*/ 1242102 w 1242102"/>
                <a:gd name="connsiteY2" fmla="*/ 2546285 h 2635689"/>
                <a:gd name="connsiteX3" fmla="*/ 1169982 w 1242102"/>
                <a:gd name="connsiteY3" fmla="*/ 2578052 h 2635689"/>
                <a:gd name="connsiteX4" fmla="*/ 289259 w 1242102"/>
                <a:gd name="connsiteY4" fmla="*/ 2399682 h 2635689"/>
                <a:gd name="connsiteX5" fmla="*/ 77957 w 1242102"/>
                <a:gd name="connsiteY5" fmla="*/ 900439 h 2635689"/>
                <a:gd name="connsiteX6" fmla="*/ 123236 w 1242102"/>
                <a:gd name="connsiteY6" fmla="*/ 633796 h 2635689"/>
                <a:gd name="connsiteX7" fmla="*/ 128267 w 1242102"/>
                <a:gd name="connsiteY7" fmla="*/ 314326 h 2635689"/>
                <a:gd name="connsiteX8" fmla="*/ 44729 w 1242102"/>
                <a:gd name="connsiteY8" fmla="*/ 16426 h 263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2102" h="2635689">
                  <a:moveTo>
                    <a:pt x="48089" y="0"/>
                  </a:moveTo>
                  <a:lnTo>
                    <a:pt x="1242102" y="0"/>
                  </a:lnTo>
                  <a:lnTo>
                    <a:pt x="1242102" y="2546285"/>
                  </a:lnTo>
                  <a:lnTo>
                    <a:pt x="1169982" y="2578052"/>
                  </a:lnTo>
                  <a:cubicBezTo>
                    <a:pt x="865271" y="2683266"/>
                    <a:pt x="526660" y="2655949"/>
                    <a:pt x="289259" y="2399682"/>
                  </a:cubicBezTo>
                  <a:cubicBezTo>
                    <a:pt x="-88067" y="1989654"/>
                    <a:pt x="-22664" y="1395994"/>
                    <a:pt x="77957" y="900439"/>
                  </a:cubicBezTo>
                  <a:cubicBezTo>
                    <a:pt x="95565" y="812397"/>
                    <a:pt x="110658" y="721838"/>
                    <a:pt x="123236" y="633796"/>
                  </a:cubicBezTo>
                  <a:cubicBezTo>
                    <a:pt x="135813" y="533175"/>
                    <a:pt x="153422" y="407400"/>
                    <a:pt x="128267" y="314326"/>
                  </a:cubicBezTo>
                  <a:cubicBezTo>
                    <a:pt x="97452" y="204273"/>
                    <a:pt x="31970" y="130812"/>
                    <a:pt x="44729" y="16426"/>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Freeform: Shape 22">
              <a:extLst>
                <a:ext uri="{FF2B5EF4-FFF2-40B4-BE49-F238E27FC236}">
                  <a16:creationId xmlns:a16="http://schemas.microsoft.com/office/drawing/2014/main" id="{366019AD-E33B-4DBF-BAD3-AE3611603168}"/>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0" y="0"/>
              <a:ext cx="1577788" cy="980141"/>
            </a:xfrm>
            <a:custGeom>
              <a:avLst/>
              <a:gdLst>
                <a:gd name="connsiteX0" fmla="*/ 117137 w 1471018"/>
                <a:gd name="connsiteY0" fmla="*/ 759920 h 795676"/>
                <a:gd name="connsiteX1" fmla="*/ 130429 w 1471018"/>
                <a:gd name="connsiteY1" fmla="*/ 768654 h 795676"/>
                <a:gd name="connsiteX2" fmla="*/ 124353 w 1471018"/>
                <a:gd name="connsiteY2" fmla="*/ 792959 h 795676"/>
                <a:gd name="connsiteX3" fmla="*/ 100048 w 1471018"/>
                <a:gd name="connsiteY3" fmla="*/ 786883 h 795676"/>
                <a:gd name="connsiteX4" fmla="*/ 106124 w 1471018"/>
                <a:gd name="connsiteY4" fmla="*/ 762578 h 795676"/>
                <a:gd name="connsiteX5" fmla="*/ 117137 w 1471018"/>
                <a:gd name="connsiteY5" fmla="*/ 759920 h 795676"/>
                <a:gd name="connsiteX6" fmla="*/ 220419 w 1471018"/>
                <a:gd name="connsiteY6" fmla="*/ 753844 h 795676"/>
                <a:gd name="connsiteX7" fmla="*/ 233710 w 1471018"/>
                <a:gd name="connsiteY7" fmla="*/ 762578 h 795676"/>
                <a:gd name="connsiteX8" fmla="*/ 227634 w 1471018"/>
                <a:gd name="connsiteY8" fmla="*/ 786883 h 795676"/>
                <a:gd name="connsiteX9" fmla="*/ 203329 w 1471018"/>
                <a:gd name="connsiteY9" fmla="*/ 780807 h 795676"/>
                <a:gd name="connsiteX10" fmla="*/ 209405 w 1471018"/>
                <a:gd name="connsiteY10" fmla="*/ 756502 h 795676"/>
                <a:gd name="connsiteX11" fmla="*/ 220419 w 1471018"/>
                <a:gd name="connsiteY11" fmla="*/ 753844 h 795676"/>
                <a:gd name="connsiteX12" fmla="*/ 25999 w 1471018"/>
                <a:gd name="connsiteY12" fmla="*/ 741691 h 795676"/>
                <a:gd name="connsiteX13" fmla="*/ 39290 w 1471018"/>
                <a:gd name="connsiteY13" fmla="*/ 750425 h 795676"/>
                <a:gd name="connsiteX14" fmla="*/ 33214 w 1471018"/>
                <a:gd name="connsiteY14" fmla="*/ 774730 h 795676"/>
                <a:gd name="connsiteX15" fmla="*/ 8909 w 1471018"/>
                <a:gd name="connsiteY15" fmla="*/ 768654 h 795676"/>
                <a:gd name="connsiteX16" fmla="*/ 14985 w 1471018"/>
                <a:gd name="connsiteY16" fmla="*/ 744349 h 795676"/>
                <a:gd name="connsiteX17" fmla="*/ 25999 w 1471018"/>
                <a:gd name="connsiteY17" fmla="*/ 741691 h 795676"/>
                <a:gd name="connsiteX18" fmla="*/ 329796 w 1471018"/>
                <a:gd name="connsiteY18" fmla="*/ 735615 h 795676"/>
                <a:gd name="connsiteX19" fmla="*/ 343088 w 1471018"/>
                <a:gd name="connsiteY19" fmla="*/ 744349 h 795676"/>
                <a:gd name="connsiteX20" fmla="*/ 337012 w 1471018"/>
                <a:gd name="connsiteY20" fmla="*/ 768654 h 795676"/>
                <a:gd name="connsiteX21" fmla="*/ 312707 w 1471018"/>
                <a:gd name="connsiteY21" fmla="*/ 762578 h 795676"/>
                <a:gd name="connsiteX22" fmla="*/ 318783 w 1471018"/>
                <a:gd name="connsiteY22" fmla="*/ 738273 h 795676"/>
                <a:gd name="connsiteX23" fmla="*/ 329796 w 1471018"/>
                <a:gd name="connsiteY23" fmla="*/ 735615 h 795676"/>
                <a:gd name="connsiteX24" fmla="*/ 442198 w 1471018"/>
                <a:gd name="connsiteY24" fmla="*/ 702197 h 795676"/>
                <a:gd name="connsiteX25" fmla="*/ 455488 w 1471018"/>
                <a:gd name="connsiteY25" fmla="*/ 710931 h 795676"/>
                <a:gd name="connsiteX26" fmla="*/ 449413 w 1471018"/>
                <a:gd name="connsiteY26" fmla="*/ 735236 h 795676"/>
                <a:gd name="connsiteX27" fmla="*/ 425110 w 1471018"/>
                <a:gd name="connsiteY27" fmla="*/ 729160 h 795676"/>
                <a:gd name="connsiteX28" fmla="*/ 431186 w 1471018"/>
                <a:gd name="connsiteY28" fmla="*/ 704855 h 795676"/>
                <a:gd name="connsiteX29" fmla="*/ 442198 w 1471018"/>
                <a:gd name="connsiteY29" fmla="*/ 702197 h 795676"/>
                <a:gd name="connsiteX30" fmla="*/ 542453 w 1471018"/>
                <a:gd name="connsiteY30" fmla="*/ 668778 h 795676"/>
                <a:gd name="connsiteX31" fmla="*/ 555745 w 1471018"/>
                <a:gd name="connsiteY31" fmla="*/ 677512 h 795676"/>
                <a:gd name="connsiteX32" fmla="*/ 549669 w 1471018"/>
                <a:gd name="connsiteY32" fmla="*/ 701817 h 795676"/>
                <a:gd name="connsiteX33" fmla="*/ 525364 w 1471018"/>
                <a:gd name="connsiteY33" fmla="*/ 695741 h 795676"/>
                <a:gd name="connsiteX34" fmla="*/ 531440 w 1471018"/>
                <a:gd name="connsiteY34" fmla="*/ 671436 h 795676"/>
                <a:gd name="connsiteX35" fmla="*/ 542453 w 1471018"/>
                <a:gd name="connsiteY35" fmla="*/ 668778 h 795676"/>
                <a:gd name="connsiteX36" fmla="*/ 132328 w 1471018"/>
                <a:gd name="connsiteY36" fmla="*/ 650549 h 795676"/>
                <a:gd name="connsiteX37" fmla="*/ 145620 w 1471018"/>
                <a:gd name="connsiteY37" fmla="*/ 659283 h 795676"/>
                <a:gd name="connsiteX38" fmla="*/ 139544 w 1471018"/>
                <a:gd name="connsiteY38" fmla="*/ 683588 h 795676"/>
                <a:gd name="connsiteX39" fmla="*/ 115239 w 1471018"/>
                <a:gd name="connsiteY39" fmla="*/ 677512 h 795676"/>
                <a:gd name="connsiteX40" fmla="*/ 121315 w 1471018"/>
                <a:gd name="connsiteY40" fmla="*/ 653207 h 795676"/>
                <a:gd name="connsiteX41" fmla="*/ 132328 w 1471018"/>
                <a:gd name="connsiteY41" fmla="*/ 650549 h 795676"/>
                <a:gd name="connsiteX42" fmla="*/ 642709 w 1471018"/>
                <a:gd name="connsiteY42" fmla="*/ 641435 h 795676"/>
                <a:gd name="connsiteX43" fmla="*/ 656001 w 1471018"/>
                <a:gd name="connsiteY43" fmla="*/ 650169 h 795676"/>
                <a:gd name="connsiteX44" fmla="*/ 649925 w 1471018"/>
                <a:gd name="connsiteY44" fmla="*/ 674474 h 795676"/>
                <a:gd name="connsiteX45" fmla="*/ 625620 w 1471018"/>
                <a:gd name="connsiteY45" fmla="*/ 668398 h 795676"/>
                <a:gd name="connsiteX46" fmla="*/ 631696 w 1471018"/>
                <a:gd name="connsiteY46" fmla="*/ 644093 h 795676"/>
                <a:gd name="connsiteX47" fmla="*/ 642709 w 1471018"/>
                <a:gd name="connsiteY47" fmla="*/ 641435 h 795676"/>
                <a:gd name="connsiteX48" fmla="*/ 235618 w 1471018"/>
                <a:gd name="connsiteY48" fmla="*/ 641435 h 795676"/>
                <a:gd name="connsiteX49" fmla="*/ 248910 w 1471018"/>
                <a:gd name="connsiteY49" fmla="*/ 650169 h 795676"/>
                <a:gd name="connsiteX50" fmla="*/ 242833 w 1471018"/>
                <a:gd name="connsiteY50" fmla="*/ 674474 h 795676"/>
                <a:gd name="connsiteX51" fmla="*/ 218529 w 1471018"/>
                <a:gd name="connsiteY51" fmla="*/ 668398 h 795676"/>
                <a:gd name="connsiteX52" fmla="*/ 224605 w 1471018"/>
                <a:gd name="connsiteY52" fmla="*/ 644093 h 795676"/>
                <a:gd name="connsiteX53" fmla="*/ 235618 w 1471018"/>
                <a:gd name="connsiteY53" fmla="*/ 641435 h 795676"/>
                <a:gd name="connsiteX54" fmla="*/ 338904 w 1471018"/>
                <a:gd name="connsiteY54" fmla="*/ 629283 h 795676"/>
                <a:gd name="connsiteX55" fmla="*/ 352196 w 1471018"/>
                <a:gd name="connsiteY55" fmla="*/ 638017 h 795676"/>
                <a:gd name="connsiteX56" fmla="*/ 346120 w 1471018"/>
                <a:gd name="connsiteY56" fmla="*/ 662322 h 795676"/>
                <a:gd name="connsiteX57" fmla="*/ 321815 w 1471018"/>
                <a:gd name="connsiteY57" fmla="*/ 656246 h 795676"/>
                <a:gd name="connsiteX58" fmla="*/ 327891 w 1471018"/>
                <a:gd name="connsiteY58" fmla="*/ 631941 h 795676"/>
                <a:gd name="connsiteX59" fmla="*/ 338904 w 1471018"/>
                <a:gd name="connsiteY59" fmla="*/ 629283 h 795676"/>
                <a:gd name="connsiteX60" fmla="*/ 32070 w 1471018"/>
                <a:gd name="connsiteY60" fmla="*/ 601940 h 795676"/>
                <a:gd name="connsiteX61" fmla="*/ 45361 w 1471018"/>
                <a:gd name="connsiteY61" fmla="*/ 610674 h 795676"/>
                <a:gd name="connsiteX62" fmla="*/ 39285 w 1471018"/>
                <a:gd name="connsiteY62" fmla="*/ 634979 h 795676"/>
                <a:gd name="connsiteX63" fmla="*/ 14981 w 1471018"/>
                <a:gd name="connsiteY63" fmla="*/ 628903 h 795676"/>
                <a:gd name="connsiteX64" fmla="*/ 21056 w 1471018"/>
                <a:gd name="connsiteY64" fmla="*/ 604598 h 795676"/>
                <a:gd name="connsiteX65" fmla="*/ 32070 w 1471018"/>
                <a:gd name="connsiteY65" fmla="*/ 601940 h 795676"/>
                <a:gd name="connsiteX66" fmla="*/ 752079 w 1471018"/>
                <a:gd name="connsiteY66" fmla="*/ 586750 h 795676"/>
                <a:gd name="connsiteX67" fmla="*/ 765371 w 1471018"/>
                <a:gd name="connsiteY67" fmla="*/ 595484 h 795676"/>
                <a:gd name="connsiteX68" fmla="*/ 759295 w 1471018"/>
                <a:gd name="connsiteY68" fmla="*/ 619789 h 795676"/>
                <a:gd name="connsiteX69" fmla="*/ 734990 w 1471018"/>
                <a:gd name="connsiteY69" fmla="*/ 613713 h 795676"/>
                <a:gd name="connsiteX70" fmla="*/ 741066 w 1471018"/>
                <a:gd name="connsiteY70" fmla="*/ 589408 h 795676"/>
                <a:gd name="connsiteX71" fmla="*/ 752079 w 1471018"/>
                <a:gd name="connsiteY71" fmla="*/ 586750 h 795676"/>
                <a:gd name="connsiteX72" fmla="*/ 436123 w 1471018"/>
                <a:gd name="connsiteY72" fmla="*/ 583712 h 795676"/>
                <a:gd name="connsiteX73" fmla="*/ 449413 w 1471018"/>
                <a:gd name="connsiteY73" fmla="*/ 592446 h 795676"/>
                <a:gd name="connsiteX74" fmla="*/ 443339 w 1471018"/>
                <a:gd name="connsiteY74" fmla="*/ 616751 h 795676"/>
                <a:gd name="connsiteX75" fmla="*/ 419039 w 1471018"/>
                <a:gd name="connsiteY75" fmla="*/ 610675 h 795676"/>
                <a:gd name="connsiteX76" fmla="*/ 425114 w 1471018"/>
                <a:gd name="connsiteY76" fmla="*/ 586370 h 795676"/>
                <a:gd name="connsiteX77" fmla="*/ 436123 w 1471018"/>
                <a:gd name="connsiteY77" fmla="*/ 583712 h 795676"/>
                <a:gd name="connsiteX78" fmla="*/ 548529 w 1471018"/>
                <a:gd name="connsiteY78" fmla="*/ 556370 h 795676"/>
                <a:gd name="connsiteX79" fmla="*/ 561821 w 1471018"/>
                <a:gd name="connsiteY79" fmla="*/ 565104 h 795676"/>
                <a:gd name="connsiteX80" fmla="*/ 555745 w 1471018"/>
                <a:gd name="connsiteY80" fmla="*/ 589409 h 795676"/>
                <a:gd name="connsiteX81" fmla="*/ 531440 w 1471018"/>
                <a:gd name="connsiteY81" fmla="*/ 583333 h 795676"/>
                <a:gd name="connsiteX82" fmla="*/ 537516 w 1471018"/>
                <a:gd name="connsiteY82" fmla="*/ 559028 h 795676"/>
                <a:gd name="connsiteX83" fmla="*/ 548529 w 1471018"/>
                <a:gd name="connsiteY83" fmla="*/ 556370 h 795676"/>
                <a:gd name="connsiteX84" fmla="*/ 852335 w 1471018"/>
                <a:gd name="connsiteY84" fmla="*/ 550293 h 795676"/>
                <a:gd name="connsiteX85" fmla="*/ 865627 w 1471018"/>
                <a:gd name="connsiteY85" fmla="*/ 559027 h 795676"/>
                <a:gd name="connsiteX86" fmla="*/ 859551 w 1471018"/>
                <a:gd name="connsiteY86" fmla="*/ 583332 h 795676"/>
                <a:gd name="connsiteX87" fmla="*/ 835246 w 1471018"/>
                <a:gd name="connsiteY87" fmla="*/ 577256 h 795676"/>
                <a:gd name="connsiteX88" fmla="*/ 841322 w 1471018"/>
                <a:gd name="connsiteY88" fmla="*/ 552951 h 795676"/>
                <a:gd name="connsiteX89" fmla="*/ 852335 w 1471018"/>
                <a:gd name="connsiteY89" fmla="*/ 550293 h 795676"/>
                <a:gd name="connsiteX90" fmla="*/ 667013 w 1471018"/>
                <a:gd name="connsiteY90" fmla="*/ 532065 h 795676"/>
                <a:gd name="connsiteX91" fmla="*/ 680305 w 1471018"/>
                <a:gd name="connsiteY91" fmla="*/ 540799 h 795676"/>
                <a:gd name="connsiteX92" fmla="*/ 674229 w 1471018"/>
                <a:gd name="connsiteY92" fmla="*/ 565104 h 795676"/>
                <a:gd name="connsiteX93" fmla="*/ 649924 w 1471018"/>
                <a:gd name="connsiteY93" fmla="*/ 559028 h 795676"/>
                <a:gd name="connsiteX94" fmla="*/ 656000 w 1471018"/>
                <a:gd name="connsiteY94" fmla="*/ 534723 h 795676"/>
                <a:gd name="connsiteX95" fmla="*/ 667013 w 1471018"/>
                <a:gd name="connsiteY95" fmla="*/ 532065 h 795676"/>
                <a:gd name="connsiteX96" fmla="*/ 126251 w 1471018"/>
                <a:gd name="connsiteY96" fmla="*/ 532065 h 795676"/>
                <a:gd name="connsiteX97" fmla="*/ 139543 w 1471018"/>
                <a:gd name="connsiteY97" fmla="*/ 540799 h 795676"/>
                <a:gd name="connsiteX98" fmla="*/ 133467 w 1471018"/>
                <a:gd name="connsiteY98" fmla="*/ 565104 h 795676"/>
                <a:gd name="connsiteX99" fmla="*/ 109162 w 1471018"/>
                <a:gd name="connsiteY99" fmla="*/ 559028 h 795676"/>
                <a:gd name="connsiteX100" fmla="*/ 115238 w 1471018"/>
                <a:gd name="connsiteY100" fmla="*/ 534723 h 795676"/>
                <a:gd name="connsiteX101" fmla="*/ 126251 w 1471018"/>
                <a:gd name="connsiteY101" fmla="*/ 532065 h 795676"/>
                <a:gd name="connsiteX102" fmla="*/ 226503 w 1471018"/>
                <a:gd name="connsiteY102" fmla="*/ 529027 h 795676"/>
                <a:gd name="connsiteX103" fmla="*/ 239794 w 1471018"/>
                <a:gd name="connsiteY103" fmla="*/ 537761 h 795676"/>
                <a:gd name="connsiteX104" fmla="*/ 233718 w 1471018"/>
                <a:gd name="connsiteY104" fmla="*/ 562066 h 795676"/>
                <a:gd name="connsiteX105" fmla="*/ 209414 w 1471018"/>
                <a:gd name="connsiteY105" fmla="*/ 555990 h 795676"/>
                <a:gd name="connsiteX106" fmla="*/ 215490 w 1471018"/>
                <a:gd name="connsiteY106" fmla="*/ 531685 h 795676"/>
                <a:gd name="connsiteX107" fmla="*/ 226503 w 1471018"/>
                <a:gd name="connsiteY107" fmla="*/ 529027 h 795676"/>
                <a:gd name="connsiteX108" fmla="*/ 332836 w 1471018"/>
                <a:gd name="connsiteY108" fmla="*/ 519913 h 795676"/>
                <a:gd name="connsiteX109" fmla="*/ 346128 w 1471018"/>
                <a:gd name="connsiteY109" fmla="*/ 528647 h 795676"/>
                <a:gd name="connsiteX110" fmla="*/ 340052 w 1471018"/>
                <a:gd name="connsiteY110" fmla="*/ 552952 h 795676"/>
                <a:gd name="connsiteX111" fmla="*/ 315748 w 1471018"/>
                <a:gd name="connsiteY111" fmla="*/ 546876 h 795676"/>
                <a:gd name="connsiteX112" fmla="*/ 321823 w 1471018"/>
                <a:gd name="connsiteY112" fmla="*/ 522571 h 795676"/>
                <a:gd name="connsiteX113" fmla="*/ 332836 w 1471018"/>
                <a:gd name="connsiteY113" fmla="*/ 519913 h 795676"/>
                <a:gd name="connsiteX114" fmla="*/ 7768 w 1471018"/>
                <a:gd name="connsiteY114" fmla="*/ 507761 h 795676"/>
                <a:gd name="connsiteX115" fmla="*/ 21060 w 1471018"/>
                <a:gd name="connsiteY115" fmla="*/ 516495 h 795676"/>
                <a:gd name="connsiteX116" fmla="*/ 14984 w 1471018"/>
                <a:gd name="connsiteY116" fmla="*/ 540800 h 795676"/>
                <a:gd name="connsiteX117" fmla="*/ 2831 w 1471018"/>
                <a:gd name="connsiteY117" fmla="*/ 543458 h 795676"/>
                <a:gd name="connsiteX118" fmla="*/ 0 w 1471018"/>
                <a:gd name="connsiteY118" fmla="*/ 541423 h 795676"/>
                <a:gd name="connsiteX119" fmla="*/ 0 w 1471018"/>
                <a:gd name="connsiteY119" fmla="*/ 509636 h 795676"/>
                <a:gd name="connsiteX120" fmla="*/ 946515 w 1471018"/>
                <a:gd name="connsiteY120" fmla="*/ 486494 h 795676"/>
                <a:gd name="connsiteX121" fmla="*/ 959807 w 1471018"/>
                <a:gd name="connsiteY121" fmla="*/ 495228 h 795676"/>
                <a:gd name="connsiteX122" fmla="*/ 953731 w 1471018"/>
                <a:gd name="connsiteY122" fmla="*/ 519533 h 795676"/>
                <a:gd name="connsiteX123" fmla="*/ 929426 w 1471018"/>
                <a:gd name="connsiteY123" fmla="*/ 513457 h 795676"/>
                <a:gd name="connsiteX124" fmla="*/ 935502 w 1471018"/>
                <a:gd name="connsiteY124" fmla="*/ 489152 h 795676"/>
                <a:gd name="connsiteX125" fmla="*/ 946515 w 1471018"/>
                <a:gd name="connsiteY125" fmla="*/ 486494 h 795676"/>
                <a:gd name="connsiteX126" fmla="*/ 457386 w 1471018"/>
                <a:gd name="connsiteY126" fmla="*/ 483456 h 795676"/>
                <a:gd name="connsiteX127" fmla="*/ 470679 w 1471018"/>
                <a:gd name="connsiteY127" fmla="*/ 492190 h 795676"/>
                <a:gd name="connsiteX128" fmla="*/ 464601 w 1471018"/>
                <a:gd name="connsiteY128" fmla="*/ 516495 h 795676"/>
                <a:gd name="connsiteX129" fmla="*/ 440300 w 1471018"/>
                <a:gd name="connsiteY129" fmla="*/ 510419 h 795676"/>
                <a:gd name="connsiteX130" fmla="*/ 446374 w 1471018"/>
                <a:gd name="connsiteY130" fmla="*/ 486114 h 795676"/>
                <a:gd name="connsiteX131" fmla="*/ 457386 w 1471018"/>
                <a:gd name="connsiteY131" fmla="*/ 483456 h 795676"/>
                <a:gd name="connsiteX132" fmla="*/ 821954 w 1471018"/>
                <a:gd name="connsiteY132" fmla="*/ 456114 h 795676"/>
                <a:gd name="connsiteX133" fmla="*/ 835246 w 1471018"/>
                <a:gd name="connsiteY133" fmla="*/ 464848 h 795676"/>
                <a:gd name="connsiteX134" fmla="*/ 829170 w 1471018"/>
                <a:gd name="connsiteY134" fmla="*/ 489153 h 795676"/>
                <a:gd name="connsiteX135" fmla="*/ 804865 w 1471018"/>
                <a:gd name="connsiteY135" fmla="*/ 483077 h 795676"/>
                <a:gd name="connsiteX136" fmla="*/ 810941 w 1471018"/>
                <a:gd name="connsiteY136" fmla="*/ 458772 h 795676"/>
                <a:gd name="connsiteX137" fmla="*/ 821954 w 1471018"/>
                <a:gd name="connsiteY137" fmla="*/ 456114 h 795676"/>
                <a:gd name="connsiteX138" fmla="*/ 584986 w 1471018"/>
                <a:gd name="connsiteY138" fmla="*/ 456114 h 795676"/>
                <a:gd name="connsiteX139" fmla="*/ 598278 w 1471018"/>
                <a:gd name="connsiteY139" fmla="*/ 464848 h 795676"/>
                <a:gd name="connsiteX140" fmla="*/ 592202 w 1471018"/>
                <a:gd name="connsiteY140" fmla="*/ 489153 h 795676"/>
                <a:gd name="connsiteX141" fmla="*/ 567897 w 1471018"/>
                <a:gd name="connsiteY141" fmla="*/ 483077 h 795676"/>
                <a:gd name="connsiteX142" fmla="*/ 573973 w 1471018"/>
                <a:gd name="connsiteY142" fmla="*/ 458772 h 795676"/>
                <a:gd name="connsiteX143" fmla="*/ 584986 w 1471018"/>
                <a:gd name="connsiteY143" fmla="*/ 456114 h 795676"/>
                <a:gd name="connsiteX144" fmla="*/ 718660 w 1471018"/>
                <a:gd name="connsiteY144" fmla="*/ 443961 h 795676"/>
                <a:gd name="connsiteX145" fmla="*/ 731952 w 1471018"/>
                <a:gd name="connsiteY145" fmla="*/ 452695 h 795676"/>
                <a:gd name="connsiteX146" fmla="*/ 725876 w 1471018"/>
                <a:gd name="connsiteY146" fmla="*/ 477000 h 795676"/>
                <a:gd name="connsiteX147" fmla="*/ 701571 w 1471018"/>
                <a:gd name="connsiteY147" fmla="*/ 470924 h 795676"/>
                <a:gd name="connsiteX148" fmla="*/ 707647 w 1471018"/>
                <a:gd name="connsiteY148" fmla="*/ 446619 h 795676"/>
                <a:gd name="connsiteX149" fmla="*/ 718660 w 1471018"/>
                <a:gd name="connsiteY149" fmla="*/ 443961 h 795676"/>
                <a:gd name="connsiteX150" fmla="*/ 1016390 w 1471018"/>
                <a:gd name="connsiteY150" fmla="*/ 425733 h 795676"/>
                <a:gd name="connsiteX151" fmla="*/ 1029681 w 1471018"/>
                <a:gd name="connsiteY151" fmla="*/ 434467 h 795676"/>
                <a:gd name="connsiteX152" fmla="*/ 1023605 w 1471018"/>
                <a:gd name="connsiteY152" fmla="*/ 458772 h 795676"/>
                <a:gd name="connsiteX153" fmla="*/ 999301 w 1471018"/>
                <a:gd name="connsiteY153" fmla="*/ 452696 h 795676"/>
                <a:gd name="connsiteX154" fmla="*/ 1005377 w 1471018"/>
                <a:gd name="connsiteY154" fmla="*/ 428391 h 795676"/>
                <a:gd name="connsiteX155" fmla="*/ 1016390 w 1471018"/>
                <a:gd name="connsiteY155" fmla="*/ 425733 h 795676"/>
                <a:gd name="connsiteX156" fmla="*/ 250806 w 1471018"/>
                <a:gd name="connsiteY156" fmla="*/ 416619 h 795676"/>
                <a:gd name="connsiteX157" fmla="*/ 264098 w 1471018"/>
                <a:gd name="connsiteY157" fmla="*/ 425353 h 795676"/>
                <a:gd name="connsiteX158" fmla="*/ 258022 w 1471018"/>
                <a:gd name="connsiteY158" fmla="*/ 449658 h 795676"/>
                <a:gd name="connsiteX159" fmla="*/ 233717 w 1471018"/>
                <a:gd name="connsiteY159" fmla="*/ 443582 h 795676"/>
                <a:gd name="connsiteX160" fmla="*/ 239793 w 1471018"/>
                <a:gd name="connsiteY160" fmla="*/ 419277 h 795676"/>
                <a:gd name="connsiteX161" fmla="*/ 250806 w 1471018"/>
                <a:gd name="connsiteY161" fmla="*/ 416619 h 795676"/>
                <a:gd name="connsiteX162" fmla="*/ 144467 w 1471018"/>
                <a:gd name="connsiteY162" fmla="*/ 416619 h 795676"/>
                <a:gd name="connsiteX163" fmla="*/ 157759 w 1471018"/>
                <a:gd name="connsiteY163" fmla="*/ 425353 h 795676"/>
                <a:gd name="connsiteX164" fmla="*/ 151683 w 1471018"/>
                <a:gd name="connsiteY164" fmla="*/ 449658 h 795676"/>
                <a:gd name="connsiteX165" fmla="*/ 127378 w 1471018"/>
                <a:gd name="connsiteY165" fmla="*/ 443582 h 795676"/>
                <a:gd name="connsiteX166" fmla="*/ 133454 w 1471018"/>
                <a:gd name="connsiteY166" fmla="*/ 419277 h 795676"/>
                <a:gd name="connsiteX167" fmla="*/ 144467 w 1471018"/>
                <a:gd name="connsiteY167" fmla="*/ 416619 h 795676"/>
                <a:gd name="connsiteX168" fmla="*/ 29033 w 1471018"/>
                <a:gd name="connsiteY168" fmla="*/ 416619 h 795676"/>
                <a:gd name="connsiteX169" fmla="*/ 42324 w 1471018"/>
                <a:gd name="connsiteY169" fmla="*/ 425353 h 795676"/>
                <a:gd name="connsiteX170" fmla="*/ 36248 w 1471018"/>
                <a:gd name="connsiteY170" fmla="*/ 449658 h 795676"/>
                <a:gd name="connsiteX171" fmla="*/ 11944 w 1471018"/>
                <a:gd name="connsiteY171" fmla="*/ 443582 h 795676"/>
                <a:gd name="connsiteX172" fmla="*/ 18020 w 1471018"/>
                <a:gd name="connsiteY172" fmla="*/ 419277 h 795676"/>
                <a:gd name="connsiteX173" fmla="*/ 29033 w 1471018"/>
                <a:gd name="connsiteY173" fmla="*/ 416619 h 795676"/>
                <a:gd name="connsiteX174" fmla="*/ 360172 w 1471018"/>
                <a:gd name="connsiteY174" fmla="*/ 410543 h 795676"/>
                <a:gd name="connsiteX175" fmla="*/ 373464 w 1471018"/>
                <a:gd name="connsiteY175" fmla="*/ 419277 h 795676"/>
                <a:gd name="connsiteX176" fmla="*/ 367388 w 1471018"/>
                <a:gd name="connsiteY176" fmla="*/ 443582 h 795676"/>
                <a:gd name="connsiteX177" fmla="*/ 343083 w 1471018"/>
                <a:gd name="connsiteY177" fmla="*/ 437506 h 795676"/>
                <a:gd name="connsiteX178" fmla="*/ 349159 w 1471018"/>
                <a:gd name="connsiteY178" fmla="*/ 413201 h 795676"/>
                <a:gd name="connsiteX179" fmla="*/ 360172 w 1471018"/>
                <a:gd name="connsiteY179" fmla="*/ 410543 h 795676"/>
                <a:gd name="connsiteX180" fmla="*/ 1110570 w 1471018"/>
                <a:gd name="connsiteY180" fmla="*/ 389276 h 795676"/>
                <a:gd name="connsiteX181" fmla="*/ 1123862 w 1471018"/>
                <a:gd name="connsiteY181" fmla="*/ 398010 h 795676"/>
                <a:gd name="connsiteX182" fmla="*/ 1117786 w 1471018"/>
                <a:gd name="connsiteY182" fmla="*/ 422315 h 795676"/>
                <a:gd name="connsiteX183" fmla="*/ 1093481 w 1471018"/>
                <a:gd name="connsiteY183" fmla="*/ 416239 h 795676"/>
                <a:gd name="connsiteX184" fmla="*/ 1099557 w 1471018"/>
                <a:gd name="connsiteY184" fmla="*/ 391934 h 795676"/>
                <a:gd name="connsiteX185" fmla="*/ 1110570 w 1471018"/>
                <a:gd name="connsiteY185" fmla="*/ 389276 h 795676"/>
                <a:gd name="connsiteX186" fmla="*/ 490806 w 1471018"/>
                <a:gd name="connsiteY186" fmla="*/ 383200 h 795676"/>
                <a:gd name="connsiteX187" fmla="*/ 504098 w 1471018"/>
                <a:gd name="connsiteY187" fmla="*/ 391934 h 795676"/>
                <a:gd name="connsiteX188" fmla="*/ 498022 w 1471018"/>
                <a:gd name="connsiteY188" fmla="*/ 416239 h 795676"/>
                <a:gd name="connsiteX189" fmla="*/ 473717 w 1471018"/>
                <a:gd name="connsiteY189" fmla="*/ 410163 h 795676"/>
                <a:gd name="connsiteX190" fmla="*/ 479793 w 1471018"/>
                <a:gd name="connsiteY190" fmla="*/ 385858 h 795676"/>
                <a:gd name="connsiteX191" fmla="*/ 490806 w 1471018"/>
                <a:gd name="connsiteY191" fmla="*/ 383200 h 795676"/>
                <a:gd name="connsiteX192" fmla="*/ 900944 w 1471018"/>
                <a:gd name="connsiteY192" fmla="*/ 380162 h 795676"/>
                <a:gd name="connsiteX193" fmla="*/ 914236 w 1471018"/>
                <a:gd name="connsiteY193" fmla="*/ 388896 h 795676"/>
                <a:gd name="connsiteX194" fmla="*/ 908160 w 1471018"/>
                <a:gd name="connsiteY194" fmla="*/ 413201 h 795676"/>
                <a:gd name="connsiteX195" fmla="*/ 883855 w 1471018"/>
                <a:gd name="connsiteY195" fmla="*/ 407125 h 795676"/>
                <a:gd name="connsiteX196" fmla="*/ 889931 w 1471018"/>
                <a:gd name="connsiteY196" fmla="*/ 382820 h 795676"/>
                <a:gd name="connsiteX197" fmla="*/ 900944 w 1471018"/>
                <a:gd name="connsiteY197" fmla="*/ 380162 h 795676"/>
                <a:gd name="connsiteX198" fmla="*/ 618404 w 1471018"/>
                <a:gd name="connsiteY198" fmla="*/ 361934 h 795676"/>
                <a:gd name="connsiteX199" fmla="*/ 631696 w 1471018"/>
                <a:gd name="connsiteY199" fmla="*/ 370668 h 795676"/>
                <a:gd name="connsiteX200" fmla="*/ 625620 w 1471018"/>
                <a:gd name="connsiteY200" fmla="*/ 394973 h 795676"/>
                <a:gd name="connsiteX201" fmla="*/ 601315 w 1471018"/>
                <a:gd name="connsiteY201" fmla="*/ 388897 h 795676"/>
                <a:gd name="connsiteX202" fmla="*/ 607391 w 1471018"/>
                <a:gd name="connsiteY202" fmla="*/ 364592 h 795676"/>
                <a:gd name="connsiteX203" fmla="*/ 618404 w 1471018"/>
                <a:gd name="connsiteY203" fmla="*/ 361934 h 795676"/>
                <a:gd name="connsiteX204" fmla="*/ 749041 w 1471018"/>
                <a:gd name="connsiteY204" fmla="*/ 355858 h 795676"/>
                <a:gd name="connsiteX205" fmla="*/ 762333 w 1471018"/>
                <a:gd name="connsiteY205" fmla="*/ 364592 h 795676"/>
                <a:gd name="connsiteX206" fmla="*/ 756257 w 1471018"/>
                <a:gd name="connsiteY206" fmla="*/ 388897 h 795676"/>
                <a:gd name="connsiteX207" fmla="*/ 731952 w 1471018"/>
                <a:gd name="connsiteY207" fmla="*/ 382821 h 795676"/>
                <a:gd name="connsiteX208" fmla="*/ 738028 w 1471018"/>
                <a:gd name="connsiteY208" fmla="*/ 358516 h 795676"/>
                <a:gd name="connsiteX209" fmla="*/ 749041 w 1471018"/>
                <a:gd name="connsiteY209" fmla="*/ 355858 h 795676"/>
                <a:gd name="connsiteX210" fmla="*/ 10801 w 1471018"/>
                <a:gd name="connsiteY210" fmla="*/ 334591 h 795676"/>
                <a:gd name="connsiteX211" fmla="*/ 24093 w 1471018"/>
                <a:gd name="connsiteY211" fmla="*/ 343325 h 795676"/>
                <a:gd name="connsiteX212" fmla="*/ 18017 w 1471018"/>
                <a:gd name="connsiteY212" fmla="*/ 367630 h 795676"/>
                <a:gd name="connsiteX213" fmla="*/ 5865 w 1471018"/>
                <a:gd name="connsiteY213" fmla="*/ 370288 h 795676"/>
                <a:gd name="connsiteX214" fmla="*/ 0 w 1471018"/>
                <a:gd name="connsiteY214" fmla="*/ 366073 h 795676"/>
                <a:gd name="connsiteX215" fmla="*/ 0 w 1471018"/>
                <a:gd name="connsiteY215" fmla="*/ 337198 h 795676"/>
                <a:gd name="connsiteX216" fmla="*/ 1213864 w 1471018"/>
                <a:gd name="connsiteY216" fmla="*/ 313325 h 795676"/>
                <a:gd name="connsiteX217" fmla="*/ 1227156 w 1471018"/>
                <a:gd name="connsiteY217" fmla="*/ 322059 h 795676"/>
                <a:gd name="connsiteX218" fmla="*/ 1221080 w 1471018"/>
                <a:gd name="connsiteY218" fmla="*/ 346364 h 795676"/>
                <a:gd name="connsiteX219" fmla="*/ 1196775 w 1471018"/>
                <a:gd name="connsiteY219" fmla="*/ 340288 h 795676"/>
                <a:gd name="connsiteX220" fmla="*/ 1202851 w 1471018"/>
                <a:gd name="connsiteY220" fmla="*/ 315983 h 795676"/>
                <a:gd name="connsiteX221" fmla="*/ 1213864 w 1471018"/>
                <a:gd name="connsiteY221" fmla="*/ 313325 h 795676"/>
                <a:gd name="connsiteX222" fmla="*/ 211313 w 1471018"/>
                <a:gd name="connsiteY222" fmla="*/ 313325 h 795676"/>
                <a:gd name="connsiteX223" fmla="*/ 224605 w 1471018"/>
                <a:gd name="connsiteY223" fmla="*/ 322059 h 795676"/>
                <a:gd name="connsiteX224" fmla="*/ 218529 w 1471018"/>
                <a:gd name="connsiteY224" fmla="*/ 346364 h 795676"/>
                <a:gd name="connsiteX225" fmla="*/ 194224 w 1471018"/>
                <a:gd name="connsiteY225" fmla="*/ 340288 h 795676"/>
                <a:gd name="connsiteX226" fmla="*/ 200300 w 1471018"/>
                <a:gd name="connsiteY226" fmla="*/ 315983 h 795676"/>
                <a:gd name="connsiteX227" fmla="*/ 211313 w 1471018"/>
                <a:gd name="connsiteY227" fmla="*/ 313325 h 795676"/>
                <a:gd name="connsiteX228" fmla="*/ 314600 w 1471018"/>
                <a:gd name="connsiteY228" fmla="*/ 301172 h 795676"/>
                <a:gd name="connsiteX229" fmla="*/ 327892 w 1471018"/>
                <a:gd name="connsiteY229" fmla="*/ 309906 h 795676"/>
                <a:gd name="connsiteX230" fmla="*/ 321816 w 1471018"/>
                <a:gd name="connsiteY230" fmla="*/ 334211 h 795676"/>
                <a:gd name="connsiteX231" fmla="*/ 297511 w 1471018"/>
                <a:gd name="connsiteY231" fmla="*/ 328135 h 795676"/>
                <a:gd name="connsiteX232" fmla="*/ 303587 w 1471018"/>
                <a:gd name="connsiteY232" fmla="*/ 303830 h 795676"/>
                <a:gd name="connsiteX233" fmla="*/ 314600 w 1471018"/>
                <a:gd name="connsiteY233" fmla="*/ 301172 h 795676"/>
                <a:gd name="connsiteX234" fmla="*/ 982972 w 1471018"/>
                <a:gd name="connsiteY234" fmla="*/ 298134 h 795676"/>
                <a:gd name="connsiteX235" fmla="*/ 996264 w 1471018"/>
                <a:gd name="connsiteY235" fmla="*/ 306868 h 795676"/>
                <a:gd name="connsiteX236" fmla="*/ 990188 w 1471018"/>
                <a:gd name="connsiteY236" fmla="*/ 331173 h 795676"/>
                <a:gd name="connsiteX237" fmla="*/ 965883 w 1471018"/>
                <a:gd name="connsiteY237" fmla="*/ 325097 h 795676"/>
                <a:gd name="connsiteX238" fmla="*/ 971959 w 1471018"/>
                <a:gd name="connsiteY238" fmla="*/ 300792 h 795676"/>
                <a:gd name="connsiteX239" fmla="*/ 982972 w 1471018"/>
                <a:gd name="connsiteY239" fmla="*/ 298134 h 795676"/>
                <a:gd name="connsiteX240" fmla="*/ 417898 w 1471018"/>
                <a:gd name="connsiteY240" fmla="*/ 298134 h 795676"/>
                <a:gd name="connsiteX241" fmla="*/ 431187 w 1471018"/>
                <a:gd name="connsiteY241" fmla="*/ 306868 h 795676"/>
                <a:gd name="connsiteX242" fmla="*/ 425112 w 1471018"/>
                <a:gd name="connsiteY242" fmla="*/ 331173 h 795676"/>
                <a:gd name="connsiteX243" fmla="*/ 400806 w 1471018"/>
                <a:gd name="connsiteY243" fmla="*/ 325097 h 795676"/>
                <a:gd name="connsiteX244" fmla="*/ 406884 w 1471018"/>
                <a:gd name="connsiteY244" fmla="*/ 300792 h 795676"/>
                <a:gd name="connsiteX245" fmla="*/ 417898 w 1471018"/>
                <a:gd name="connsiteY245" fmla="*/ 298134 h 795676"/>
                <a:gd name="connsiteX246" fmla="*/ 858411 w 1471018"/>
                <a:gd name="connsiteY246" fmla="*/ 295096 h 795676"/>
                <a:gd name="connsiteX247" fmla="*/ 871703 w 1471018"/>
                <a:gd name="connsiteY247" fmla="*/ 303830 h 795676"/>
                <a:gd name="connsiteX248" fmla="*/ 865627 w 1471018"/>
                <a:gd name="connsiteY248" fmla="*/ 328135 h 795676"/>
                <a:gd name="connsiteX249" fmla="*/ 841322 w 1471018"/>
                <a:gd name="connsiteY249" fmla="*/ 322059 h 795676"/>
                <a:gd name="connsiteX250" fmla="*/ 847398 w 1471018"/>
                <a:gd name="connsiteY250" fmla="*/ 297754 h 795676"/>
                <a:gd name="connsiteX251" fmla="*/ 858411 w 1471018"/>
                <a:gd name="connsiteY251" fmla="*/ 295096 h 795676"/>
                <a:gd name="connsiteX252" fmla="*/ 1095380 w 1471018"/>
                <a:gd name="connsiteY252" fmla="*/ 292058 h 795676"/>
                <a:gd name="connsiteX253" fmla="*/ 1108672 w 1471018"/>
                <a:gd name="connsiteY253" fmla="*/ 300792 h 795676"/>
                <a:gd name="connsiteX254" fmla="*/ 1102596 w 1471018"/>
                <a:gd name="connsiteY254" fmla="*/ 325097 h 795676"/>
                <a:gd name="connsiteX255" fmla="*/ 1078291 w 1471018"/>
                <a:gd name="connsiteY255" fmla="*/ 319021 h 795676"/>
                <a:gd name="connsiteX256" fmla="*/ 1084367 w 1471018"/>
                <a:gd name="connsiteY256" fmla="*/ 294716 h 795676"/>
                <a:gd name="connsiteX257" fmla="*/ 1095380 w 1471018"/>
                <a:gd name="connsiteY257" fmla="*/ 292058 h 795676"/>
                <a:gd name="connsiteX258" fmla="*/ 108024 w 1471018"/>
                <a:gd name="connsiteY258" fmla="*/ 289020 h 795676"/>
                <a:gd name="connsiteX259" fmla="*/ 121316 w 1471018"/>
                <a:gd name="connsiteY259" fmla="*/ 297754 h 795676"/>
                <a:gd name="connsiteX260" fmla="*/ 115240 w 1471018"/>
                <a:gd name="connsiteY260" fmla="*/ 322059 h 795676"/>
                <a:gd name="connsiteX261" fmla="*/ 90935 w 1471018"/>
                <a:gd name="connsiteY261" fmla="*/ 315983 h 795676"/>
                <a:gd name="connsiteX262" fmla="*/ 97011 w 1471018"/>
                <a:gd name="connsiteY262" fmla="*/ 291678 h 795676"/>
                <a:gd name="connsiteX263" fmla="*/ 108024 w 1471018"/>
                <a:gd name="connsiteY263" fmla="*/ 289020 h 795676"/>
                <a:gd name="connsiteX264" fmla="*/ 533338 w 1471018"/>
                <a:gd name="connsiteY264" fmla="*/ 270792 h 795676"/>
                <a:gd name="connsiteX265" fmla="*/ 546630 w 1471018"/>
                <a:gd name="connsiteY265" fmla="*/ 279526 h 795676"/>
                <a:gd name="connsiteX266" fmla="*/ 540554 w 1471018"/>
                <a:gd name="connsiteY266" fmla="*/ 303831 h 795676"/>
                <a:gd name="connsiteX267" fmla="*/ 516251 w 1471018"/>
                <a:gd name="connsiteY267" fmla="*/ 297755 h 795676"/>
                <a:gd name="connsiteX268" fmla="*/ 522328 w 1471018"/>
                <a:gd name="connsiteY268" fmla="*/ 273450 h 795676"/>
                <a:gd name="connsiteX269" fmla="*/ 533338 w 1471018"/>
                <a:gd name="connsiteY269" fmla="*/ 270792 h 795676"/>
                <a:gd name="connsiteX270" fmla="*/ 633594 w 1471018"/>
                <a:gd name="connsiteY270" fmla="*/ 261678 h 795676"/>
                <a:gd name="connsiteX271" fmla="*/ 646886 w 1471018"/>
                <a:gd name="connsiteY271" fmla="*/ 270412 h 795676"/>
                <a:gd name="connsiteX272" fmla="*/ 640810 w 1471018"/>
                <a:gd name="connsiteY272" fmla="*/ 294717 h 795676"/>
                <a:gd name="connsiteX273" fmla="*/ 616505 w 1471018"/>
                <a:gd name="connsiteY273" fmla="*/ 288641 h 795676"/>
                <a:gd name="connsiteX274" fmla="*/ 622581 w 1471018"/>
                <a:gd name="connsiteY274" fmla="*/ 264336 h 795676"/>
                <a:gd name="connsiteX275" fmla="*/ 633594 w 1471018"/>
                <a:gd name="connsiteY275" fmla="*/ 261678 h 795676"/>
                <a:gd name="connsiteX276" fmla="*/ 746003 w 1471018"/>
                <a:gd name="connsiteY276" fmla="*/ 258640 h 795676"/>
                <a:gd name="connsiteX277" fmla="*/ 759295 w 1471018"/>
                <a:gd name="connsiteY277" fmla="*/ 267374 h 795676"/>
                <a:gd name="connsiteX278" fmla="*/ 753219 w 1471018"/>
                <a:gd name="connsiteY278" fmla="*/ 291679 h 795676"/>
                <a:gd name="connsiteX279" fmla="*/ 728914 w 1471018"/>
                <a:gd name="connsiteY279" fmla="*/ 285603 h 795676"/>
                <a:gd name="connsiteX280" fmla="*/ 734990 w 1471018"/>
                <a:gd name="connsiteY280" fmla="*/ 261298 h 795676"/>
                <a:gd name="connsiteX281" fmla="*/ 746003 w 1471018"/>
                <a:gd name="connsiteY281" fmla="*/ 258640 h 795676"/>
                <a:gd name="connsiteX282" fmla="*/ 1301968 w 1471018"/>
                <a:gd name="connsiteY282" fmla="*/ 225221 h 795676"/>
                <a:gd name="connsiteX283" fmla="*/ 1315260 w 1471018"/>
                <a:gd name="connsiteY283" fmla="*/ 233955 h 795676"/>
                <a:gd name="connsiteX284" fmla="*/ 1309184 w 1471018"/>
                <a:gd name="connsiteY284" fmla="*/ 258260 h 795676"/>
                <a:gd name="connsiteX285" fmla="*/ 1284879 w 1471018"/>
                <a:gd name="connsiteY285" fmla="*/ 252184 h 795676"/>
                <a:gd name="connsiteX286" fmla="*/ 1290955 w 1471018"/>
                <a:gd name="connsiteY286" fmla="*/ 227879 h 795676"/>
                <a:gd name="connsiteX287" fmla="*/ 1301968 w 1471018"/>
                <a:gd name="connsiteY287" fmla="*/ 225221 h 795676"/>
                <a:gd name="connsiteX288" fmla="*/ 7756 w 1471018"/>
                <a:gd name="connsiteY288" fmla="*/ 225221 h 795676"/>
                <a:gd name="connsiteX289" fmla="*/ 21048 w 1471018"/>
                <a:gd name="connsiteY289" fmla="*/ 233955 h 795676"/>
                <a:gd name="connsiteX290" fmla="*/ 14972 w 1471018"/>
                <a:gd name="connsiteY290" fmla="*/ 258260 h 795676"/>
                <a:gd name="connsiteX291" fmla="*/ 2819 w 1471018"/>
                <a:gd name="connsiteY291" fmla="*/ 260918 h 795676"/>
                <a:gd name="connsiteX292" fmla="*/ 0 w 1471018"/>
                <a:gd name="connsiteY292" fmla="*/ 258892 h 795676"/>
                <a:gd name="connsiteX293" fmla="*/ 0 w 1471018"/>
                <a:gd name="connsiteY293" fmla="*/ 227093 h 795676"/>
                <a:gd name="connsiteX294" fmla="*/ 180938 w 1471018"/>
                <a:gd name="connsiteY294" fmla="*/ 210031 h 795676"/>
                <a:gd name="connsiteX295" fmla="*/ 194229 w 1471018"/>
                <a:gd name="connsiteY295" fmla="*/ 218765 h 795676"/>
                <a:gd name="connsiteX296" fmla="*/ 188153 w 1471018"/>
                <a:gd name="connsiteY296" fmla="*/ 243070 h 795676"/>
                <a:gd name="connsiteX297" fmla="*/ 163849 w 1471018"/>
                <a:gd name="connsiteY297" fmla="*/ 236994 h 795676"/>
                <a:gd name="connsiteX298" fmla="*/ 169925 w 1471018"/>
                <a:gd name="connsiteY298" fmla="*/ 212689 h 795676"/>
                <a:gd name="connsiteX299" fmla="*/ 180938 w 1471018"/>
                <a:gd name="connsiteY299" fmla="*/ 210031 h 795676"/>
                <a:gd name="connsiteX300" fmla="*/ 1183484 w 1471018"/>
                <a:gd name="connsiteY300" fmla="*/ 203954 h 795676"/>
                <a:gd name="connsiteX301" fmla="*/ 1196776 w 1471018"/>
                <a:gd name="connsiteY301" fmla="*/ 212688 h 795676"/>
                <a:gd name="connsiteX302" fmla="*/ 1190700 w 1471018"/>
                <a:gd name="connsiteY302" fmla="*/ 236993 h 795676"/>
                <a:gd name="connsiteX303" fmla="*/ 1166395 w 1471018"/>
                <a:gd name="connsiteY303" fmla="*/ 230917 h 795676"/>
                <a:gd name="connsiteX304" fmla="*/ 1172471 w 1471018"/>
                <a:gd name="connsiteY304" fmla="*/ 206612 h 795676"/>
                <a:gd name="connsiteX305" fmla="*/ 1183484 w 1471018"/>
                <a:gd name="connsiteY305" fmla="*/ 203954 h 795676"/>
                <a:gd name="connsiteX306" fmla="*/ 946515 w 1471018"/>
                <a:gd name="connsiteY306" fmla="*/ 197878 h 795676"/>
                <a:gd name="connsiteX307" fmla="*/ 959807 w 1471018"/>
                <a:gd name="connsiteY307" fmla="*/ 206612 h 795676"/>
                <a:gd name="connsiteX308" fmla="*/ 953731 w 1471018"/>
                <a:gd name="connsiteY308" fmla="*/ 230917 h 795676"/>
                <a:gd name="connsiteX309" fmla="*/ 929426 w 1471018"/>
                <a:gd name="connsiteY309" fmla="*/ 224841 h 795676"/>
                <a:gd name="connsiteX310" fmla="*/ 935502 w 1471018"/>
                <a:gd name="connsiteY310" fmla="*/ 200536 h 795676"/>
                <a:gd name="connsiteX311" fmla="*/ 946515 w 1471018"/>
                <a:gd name="connsiteY311" fmla="*/ 197878 h 795676"/>
                <a:gd name="connsiteX312" fmla="*/ 466501 w 1471018"/>
                <a:gd name="connsiteY312" fmla="*/ 197878 h 795676"/>
                <a:gd name="connsiteX313" fmla="*/ 479793 w 1471018"/>
                <a:gd name="connsiteY313" fmla="*/ 206612 h 795676"/>
                <a:gd name="connsiteX314" fmla="*/ 473717 w 1471018"/>
                <a:gd name="connsiteY314" fmla="*/ 230917 h 795676"/>
                <a:gd name="connsiteX315" fmla="*/ 449412 w 1471018"/>
                <a:gd name="connsiteY315" fmla="*/ 224841 h 795676"/>
                <a:gd name="connsiteX316" fmla="*/ 455486 w 1471018"/>
                <a:gd name="connsiteY316" fmla="*/ 200536 h 795676"/>
                <a:gd name="connsiteX317" fmla="*/ 466501 w 1471018"/>
                <a:gd name="connsiteY317" fmla="*/ 197878 h 795676"/>
                <a:gd name="connsiteX318" fmla="*/ 323717 w 1471018"/>
                <a:gd name="connsiteY318" fmla="*/ 197878 h 795676"/>
                <a:gd name="connsiteX319" fmla="*/ 337009 w 1471018"/>
                <a:gd name="connsiteY319" fmla="*/ 206612 h 795676"/>
                <a:gd name="connsiteX320" fmla="*/ 330933 w 1471018"/>
                <a:gd name="connsiteY320" fmla="*/ 230917 h 795676"/>
                <a:gd name="connsiteX321" fmla="*/ 306628 w 1471018"/>
                <a:gd name="connsiteY321" fmla="*/ 224841 h 795676"/>
                <a:gd name="connsiteX322" fmla="*/ 312704 w 1471018"/>
                <a:gd name="connsiteY322" fmla="*/ 200536 h 795676"/>
                <a:gd name="connsiteX323" fmla="*/ 323717 w 1471018"/>
                <a:gd name="connsiteY323" fmla="*/ 197878 h 795676"/>
                <a:gd name="connsiteX324" fmla="*/ 1074113 w 1471018"/>
                <a:gd name="connsiteY324" fmla="*/ 188764 h 795676"/>
                <a:gd name="connsiteX325" fmla="*/ 1087405 w 1471018"/>
                <a:gd name="connsiteY325" fmla="*/ 197498 h 795676"/>
                <a:gd name="connsiteX326" fmla="*/ 1081329 w 1471018"/>
                <a:gd name="connsiteY326" fmla="*/ 221803 h 795676"/>
                <a:gd name="connsiteX327" fmla="*/ 1057024 w 1471018"/>
                <a:gd name="connsiteY327" fmla="*/ 215727 h 795676"/>
                <a:gd name="connsiteX328" fmla="*/ 1063100 w 1471018"/>
                <a:gd name="connsiteY328" fmla="*/ 191422 h 795676"/>
                <a:gd name="connsiteX329" fmla="*/ 1074113 w 1471018"/>
                <a:gd name="connsiteY329" fmla="*/ 188764 h 795676"/>
                <a:gd name="connsiteX330" fmla="*/ 846259 w 1471018"/>
                <a:gd name="connsiteY330" fmla="*/ 188764 h 795676"/>
                <a:gd name="connsiteX331" fmla="*/ 859551 w 1471018"/>
                <a:gd name="connsiteY331" fmla="*/ 197498 h 795676"/>
                <a:gd name="connsiteX332" fmla="*/ 853475 w 1471018"/>
                <a:gd name="connsiteY332" fmla="*/ 221803 h 795676"/>
                <a:gd name="connsiteX333" fmla="*/ 829170 w 1471018"/>
                <a:gd name="connsiteY333" fmla="*/ 215727 h 795676"/>
                <a:gd name="connsiteX334" fmla="*/ 835246 w 1471018"/>
                <a:gd name="connsiteY334" fmla="*/ 191422 h 795676"/>
                <a:gd name="connsiteX335" fmla="*/ 846259 w 1471018"/>
                <a:gd name="connsiteY335" fmla="*/ 188764 h 795676"/>
                <a:gd name="connsiteX336" fmla="*/ 694356 w 1471018"/>
                <a:gd name="connsiteY336" fmla="*/ 164460 h 795676"/>
                <a:gd name="connsiteX337" fmla="*/ 707648 w 1471018"/>
                <a:gd name="connsiteY337" fmla="*/ 173194 h 795676"/>
                <a:gd name="connsiteX338" fmla="*/ 701572 w 1471018"/>
                <a:gd name="connsiteY338" fmla="*/ 197499 h 795676"/>
                <a:gd name="connsiteX339" fmla="*/ 677267 w 1471018"/>
                <a:gd name="connsiteY339" fmla="*/ 191423 h 795676"/>
                <a:gd name="connsiteX340" fmla="*/ 683343 w 1471018"/>
                <a:gd name="connsiteY340" fmla="*/ 167118 h 795676"/>
                <a:gd name="connsiteX341" fmla="*/ 694356 w 1471018"/>
                <a:gd name="connsiteY341" fmla="*/ 164460 h 795676"/>
                <a:gd name="connsiteX342" fmla="*/ 77635 w 1471018"/>
                <a:gd name="connsiteY342" fmla="*/ 152307 h 795676"/>
                <a:gd name="connsiteX343" fmla="*/ 90926 w 1471018"/>
                <a:gd name="connsiteY343" fmla="*/ 161041 h 795676"/>
                <a:gd name="connsiteX344" fmla="*/ 84851 w 1471018"/>
                <a:gd name="connsiteY344" fmla="*/ 185346 h 795676"/>
                <a:gd name="connsiteX345" fmla="*/ 60546 w 1471018"/>
                <a:gd name="connsiteY345" fmla="*/ 179270 h 795676"/>
                <a:gd name="connsiteX346" fmla="*/ 66622 w 1471018"/>
                <a:gd name="connsiteY346" fmla="*/ 154965 h 795676"/>
                <a:gd name="connsiteX347" fmla="*/ 77635 w 1471018"/>
                <a:gd name="connsiteY347" fmla="*/ 152307 h 795676"/>
                <a:gd name="connsiteX348" fmla="*/ 1377919 w 1471018"/>
                <a:gd name="connsiteY348" fmla="*/ 146231 h 795676"/>
                <a:gd name="connsiteX349" fmla="*/ 1391211 w 1471018"/>
                <a:gd name="connsiteY349" fmla="*/ 154965 h 795676"/>
                <a:gd name="connsiteX350" fmla="*/ 1385135 w 1471018"/>
                <a:gd name="connsiteY350" fmla="*/ 179270 h 795676"/>
                <a:gd name="connsiteX351" fmla="*/ 1360830 w 1471018"/>
                <a:gd name="connsiteY351" fmla="*/ 173194 h 795676"/>
                <a:gd name="connsiteX352" fmla="*/ 1366906 w 1471018"/>
                <a:gd name="connsiteY352" fmla="*/ 148889 h 795676"/>
                <a:gd name="connsiteX353" fmla="*/ 1377919 w 1471018"/>
                <a:gd name="connsiteY353" fmla="*/ 146231 h 795676"/>
                <a:gd name="connsiteX354" fmla="*/ 588024 w 1471018"/>
                <a:gd name="connsiteY354" fmla="*/ 143193 h 795676"/>
                <a:gd name="connsiteX355" fmla="*/ 601316 w 1471018"/>
                <a:gd name="connsiteY355" fmla="*/ 151927 h 795676"/>
                <a:gd name="connsiteX356" fmla="*/ 595240 w 1471018"/>
                <a:gd name="connsiteY356" fmla="*/ 176232 h 795676"/>
                <a:gd name="connsiteX357" fmla="*/ 570935 w 1471018"/>
                <a:gd name="connsiteY357" fmla="*/ 170156 h 795676"/>
                <a:gd name="connsiteX358" fmla="*/ 577011 w 1471018"/>
                <a:gd name="connsiteY358" fmla="*/ 145851 h 795676"/>
                <a:gd name="connsiteX359" fmla="*/ 588024 w 1471018"/>
                <a:gd name="connsiteY359" fmla="*/ 143193 h 795676"/>
                <a:gd name="connsiteX360" fmla="*/ 241687 w 1471018"/>
                <a:gd name="connsiteY360" fmla="*/ 128003 h 795676"/>
                <a:gd name="connsiteX361" fmla="*/ 254979 w 1471018"/>
                <a:gd name="connsiteY361" fmla="*/ 136737 h 795676"/>
                <a:gd name="connsiteX362" fmla="*/ 248903 w 1471018"/>
                <a:gd name="connsiteY362" fmla="*/ 161042 h 795676"/>
                <a:gd name="connsiteX363" fmla="*/ 224598 w 1471018"/>
                <a:gd name="connsiteY363" fmla="*/ 154966 h 795676"/>
                <a:gd name="connsiteX364" fmla="*/ 230674 w 1471018"/>
                <a:gd name="connsiteY364" fmla="*/ 130661 h 795676"/>
                <a:gd name="connsiteX365" fmla="*/ 241687 w 1471018"/>
                <a:gd name="connsiteY365" fmla="*/ 128003 h 795676"/>
                <a:gd name="connsiteX366" fmla="*/ 1259435 w 1471018"/>
                <a:gd name="connsiteY366" fmla="*/ 124965 h 795676"/>
                <a:gd name="connsiteX367" fmla="*/ 1272727 w 1471018"/>
                <a:gd name="connsiteY367" fmla="*/ 133699 h 795676"/>
                <a:gd name="connsiteX368" fmla="*/ 1266651 w 1471018"/>
                <a:gd name="connsiteY368" fmla="*/ 158004 h 795676"/>
                <a:gd name="connsiteX369" fmla="*/ 1242346 w 1471018"/>
                <a:gd name="connsiteY369" fmla="*/ 151928 h 795676"/>
                <a:gd name="connsiteX370" fmla="*/ 1248422 w 1471018"/>
                <a:gd name="connsiteY370" fmla="*/ 127623 h 795676"/>
                <a:gd name="connsiteX371" fmla="*/ 1259435 w 1471018"/>
                <a:gd name="connsiteY371" fmla="*/ 124965 h 795676"/>
                <a:gd name="connsiteX372" fmla="*/ 399672 w 1471018"/>
                <a:gd name="connsiteY372" fmla="*/ 118889 h 795676"/>
                <a:gd name="connsiteX373" fmla="*/ 412966 w 1471018"/>
                <a:gd name="connsiteY373" fmla="*/ 127623 h 795676"/>
                <a:gd name="connsiteX374" fmla="*/ 406890 w 1471018"/>
                <a:gd name="connsiteY374" fmla="*/ 151928 h 795676"/>
                <a:gd name="connsiteX375" fmla="*/ 382584 w 1471018"/>
                <a:gd name="connsiteY375" fmla="*/ 145852 h 795676"/>
                <a:gd name="connsiteX376" fmla="*/ 388658 w 1471018"/>
                <a:gd name="connsiteY376" fmla="*/ 121547 h 795676"/>
                <a:gd name="connsiteX377" fmla="*/ 399672 w 1471018"/>
                <a:gd name="connsiteY377" fmla="*/ 118889 h 795676"/>
                <a:gd name="connsiteX378" fmla="*/ 1004238 w 1471018"/>
                <a:gd name="connsiteY378" fmla="*/ 112813 h 795676"/>
                <a:gd name="connsiteX379" fmla="*/ 1017530 w 1471018"/>
                <a:gd name="connsiteY379" fmla="*/ 121547 h 795676"/>
                <a:gd name="connsiteX380" fmla="*/ 1011454 w 1471018"/>
                <a:gd name="connsiteY380" fmla="*/ 145852 h 795676"/>
                <a:gd name="connsiteX381" fmla="*/ 987149 w 1471018"/>
                <a:gd name="connsiteY381" fmla="*/ 139776 h 795676"/>
                <a:gd name="connsiteX382" fmla="*/ 993225 w 1471018"/>
                <a:gd name="connsiteY382" fmla="*/ 115471 h 795676"/>
                <a:gd name="connsiteX383" fmla="*/ 1004238 w 1471018"/>
                <a:gd name="connsiteY383" fmla="*/ 112813 h 795676"/>
                <a:gd name="connsiteX384" fmla="*/ 800688 w 1471018"/>
                <a:gd name="connsiteY384" fmla="*/ 97622 h 795676"/>
                <a:gd name="connsiteX385" fmla="*/ 813980 w 1471018"/>
                <a:gd name="connsiteY385" fmla="*/ 106356 h 795676"/>
                <a:gd name="connsiteX386" fmla="*/ 807904 w 1471018"/>
                <a:gd name="connsiteY386" fmla="*/ 130661 h 795676"/>
                <a:gd name="connsiteX387" fmla="*/ 783599 w 1471018"/>
                <a:gd name="connsiteY387" fmla="*/ 124585 h 795676"/>
                <a:gd name="connsiteX388" fmla="*/ 789675 w 1471018"/>
                <a:gd name="connsiteY388" fmla="*/ 100280 h 795676"/>
                <a:gd name="connsiteX389" fmla="*/ 800688 w 1471018"/>
                <a:gd name="connsiteY389" fmla="*/ 97622 h 795676"/>
                <a:gd name="connsiteX390" fmla="*/ 1128799 w 1471018"/>
                <a:gd name="connsiteY390" fmla="*/ 85470 h 795676"/>
                <a:gd name="connsiteX391" fmla="*/ 1142090 w 1471018"/>
                <a:gd name="connsiteY391" fmla="*/ 94204 h 795676"/>
                <a:gd name="connsiteX392" fmla="*/ 1136014 w 1471018"/>
                <a:gd name="connsiteY392" fmla="*/ 118509 h 795676"/>
                <a:gd name="connsiteX393" fmla="*/ 1111709 w 1471018"/>
                <a:gd name="connsiteY393" fmla="*/ 112433 h 795676"/>
                <a:gd name="connsiteX394" fmla="*/ 1117785 w 1471018"/>
                <a:gd name="connsiteY394" fmla="*/ 88128 h 795676"/>
                <a:gd name="connsiteX395" fmla="*/ 1128799 w 1471018"/>
                <a:gd name="connsiteY395" fmla="*/ 85470 h 795676"/>
                <a:gd name="connsiteX396" fmla="*/ 515112 w 1471018"/>
                <a:gd name="connsiteY396" fmla="*/ 85470 h 795676"/>
                <a:gd name="connsiteX397" fmla="*/ 528402 w 1471018"/>
                <a:gd name="connsiteY397" fmla="*/ 94204 h 795676"/>
                <a:gd name="connsiteX398" fmla="*/ 522328 w 1471018"/>
                <a:gd name="connsiteY398" fmla="*/ 118509 h 795676"/>
                <a:gd name="connsiteX399" fmla="*/ 498023 w 1471018"/>
                <a:gd name="connsiteY399" fmla="*/ 112433 h 795676"/>
                <a:gd name="connsiteX400" fmla="*/ 504099 w 1471018"/>
                <a:gd name="connsiteY400" fmla="*/ 88128 h 795676"/>
                <a:gd name="connsiteX401" fmla="*/ 515112 w 1471018"/>
                <a:gd name="connsiteY401" fmla="*/ 85470 h 795676"/>
                <a:gd name="connsiteX402" fmla="*/ 682203 w 1471018"/>
                <a:gd name="connsiteY402" fmla="*/ 73318 h 795676"/>
                <a:gd name="connsiteX403" fmla="*/ 695495 w 1471018"/>
                <a:gd name="connsiteY403" fmla="*/ 82052 h 795676"/>
                <a:gd name="connsiteX404" fmla="*/ 689419 w 1471018"/>
                <a:gd name="connsiteY404" fmla="*/ 106357 h 795676"/>
                <a:gd name="connsiteX405" fmla="*/ 665114 w 1471018"/>
                <a:gd name="connsiteY405" fmla="*/ 100281 h 795676"/>
                <a:gd name="connsiteX406" fmla="*/ 671190 w 1471018"/>
                <a:gd name="connsiteY406" fmla="*/ 75976 h 795676"/>
                <a:gd name="connsiteX407" fmla="*/ 682203 w 1471018"/>
                <a:gd name="connsiteY407" fmla="*/ 73318 h 795676"/>
                <a:gd name="connsiteX408" fmla="*/ 159669 w 1471018"/>
                <a:gd name="connsiteY408" fmla="*/ 67242 h 795676"/>
                <a:gd name="connsiteX409" fmla="*/ 172960 w 1471018"/>
                <a:gd name="connsiteY409" fmla="*/ 75976 h 795676"/>
                <a:gd name="connsiteX410" fmla="*/ 166884 w 1471018"/>
                <a:gd name="connsiteY410" fmla="*/ 100281 h 795676"/>
                <a:gd name="connsiteX411" fmla="*/ 142579 w 1471018"/>
                <a:gd name="connsiteY411" fmla="*/ 94205 h 795676"/>
                <a:gd name="connsiteX412" fmla="*/ 148655 w 1471018"/>
                <a:gd name="connsiteY412" fmla="*/ 69900 h 795676"/>
                <a:gd name="connsiteX413" fmla="*/ 159669 w 1471018"/>
                <a:gd name="connsiteY413" fmla="*/ 67242 h 795676"/>
                <a:gd name="connsiteX414" fmla="*/ 1453871 w 1471018"/>
                <a:gd name="connsiteY414" fmla="*/ 58127 h 795676"/>
                <a:gd name="connsiteX415" fmla="*/ 1467163 w 1471018"/>
                <a:gd name="connsiteY415" fmla="*/ 66861 h 795676"/>
                <a:gd name="connsiteX416" fmla="*/ 1461087 w 1471018"/>
                <a:gd name="connsiteY416" fmla="*/ 91166 h 795676"/>
                <a:gd name="connsiteX417" fmla="*/ 1436782 w 1471018"/>
                <a:gd name="connsiteY417" fmla="*/ 85090 h 795676"/>
                <a:gd name="connsiteX418" fmla="*/ 1442858 w 1471018"/>
                <a:gd name="connsiteY418" fmla="*/ 60785 h 795676"/>
                <a:gd name="connsiteX419" fmla="*/ 1453871 w 1471018"/>
                <a:gd name="connsiteY419" fmla="*/ 58127 h 795676"/>
                <a:gd name="connsiteX420" fmla="*/ 47254 w 1471018"/>
                <a:gd name="connsiteY420" fmla="*/ 58127 h 795676"/>
                <a:gd name="connsiteX421" fmla="*/ 60546 w 1471018"/>
                <a:gd name="connsiteY421" fmla="*/ 66861 h 795676"/>
                <a:gd name="connsiteX422" fmla="*/ 54470 w 1471018"/>
                <a:gd name="connsiteY422" fmla="*/ 91166 h 795676"/>
                <a:gd name="connsiteX423" fmla="*/ 30165 w 1471018"/>
                <a:gd name="connsiteY423" fmla="*/ 85090 h 795676"/>
                <a:gd name="connsiteX424" fmla="*/ 36241 w 1471018"/>
                <a:gd name="connsiteY424" fmla="*/ 60785 h 795676"/>
                <a:gd name="connsiteX425" fmla="*/ 47254 w 1471018"/>
                <a:gd name="connsiteY425" fmla="*/ 58127 h 795676"/>
                <a:gd name="connsiteX426" fmla="*/ 314611 w 1471018"/>
                <a:gd name="connsiteY426" fmla="*/ 55089 h 795676"/>
                <a:gd name="connsiteX427" fmla="*/ 327903 w 1471018"/>
                <a:gd name="connsiteY427" fmla="*/ 63823 h 795676"/>
                <a:gd name="connsiteX428" fmla="*/ 321827 w 1471018"/>
                <a:gd name="connsiteY428" fmla="*/ 88128 h 795676"/>
                <a:gd name="connsiteX429" fmla="*/ 297522 w 1471018"/>
                <a:gd name="connsiteY429" fmla="*/ 82052 h 795676"/>
                <a:gd name="connsiteX430" fmla="*/ 303598 w 1471018"/>
                <a:gd name="connsiteY430" fmla="*/ 57747 h 795676"/>
                <a:gd name="connsiteX431" fmla="*/ 314611 w 1471018"/>
                <a:gd name="connsiteY431" fmla="*/ 55089 h 795676"/>
                <a:gd name="connsiteX432" fmla="*/ 885754 w 1471018"/>
                <a:gd name="connsiteY432" fmla="*/ 52051 h 795676"/>
                <a:gd name="connsiteX433" fmla="*/ 899046 w 1471018"/>
                <a:gd name="connsiteY433" fmla="*/ 60785 h 795676"/>
                <a:gd name="connsiteX434" fmla="*/ 892970 w 1471018"/>
                <a:gd name="connsiteY434" fmla="*/ 85090 h 795676"/>
                <a:gd name="connsiteX435" fmla="*/ 868665 w 1471018"/>
                <a:gd name="connsiteY435" fmla="*/ 79014 h 795676"/>
                <a:gd name="connsiteX436" fmla="*/ 874741 w 1471018"/>
                <a:gd name="connsiteY436" fmla="*/ 54709 h 795676"/>
                <a:gd name="connsiteX437" fmla="*/ 885754 w 1471018"/>
                <a:gd name="connsiteY437" fmla="*/ 52051 h 795676"/>
                <a:gd name="connsiteX438" fmla="*/ 1341464 w 1471018"/>
                <a:gd name="connsiteY438" fmla="*/ 39899 h 795676"/>
                <a:gd name="connsiteX439" fmla="*/ 1354755 w 1471018"/>
                <a:gd name="connsiteY439" fmla="*/ 48633 h 795676"/>
                <a:gd name="connsiteX440" fmla="*/ 1348679 w 1471018"/>
                <a:gd name="connsiteY440" fmla="*/ 72938 h 795676"/>
                <a:gd name="connsiteX441" fmla="*/ 1324374 w 1471018"/>
                <a:gd name="connsiteY441" fmla="*/ 66862 h 795676"/>
                <a:gd name="connsiteX442" fmla="*/ 1330450 w 1471018"/>
                <a:gd name="connsiteY442" fmla="*/ 42557 h 795676"/>
                <a:gd name="connsiteX443" fmla="*/ 1341464 w 1471018"/>
                <a:gd name="connsiteY443" fmla="*/ 39899 h 795676"/>
                <a:gd name="connsiteX444" fmla="*/ 1204751 w 1471018"/>
                <a:gd name="connsiteY444" fmla="*/ 27747 h 795676"/>
                <a:gd name="connsiteX445" fmla="*/ 1218042 w 1471018"/>
                <a:gd name="connsiteY445" fmla="*/ 36481 h 795676"/>
                <a:gd name="connsiteX446" fmla="*/ 1211966 w 1471018"/>
                <a:gd name="connsiteY446" fmla="*/ 60786 h 795676"/>
                <a:gd name="connsiteX447" fmla="*/ 1187661 w 1471018"/>
                <a:gd name="connsiteY447" fmla="*/ 54710 h 795676"/>
                <a:gd name="connsiteX448" fmla="*/ 1193737 w 1471018"/>
                <a:gd name="connsiteY448" fmla="*/ 30405 h 795676"/>
                <a:gd name="connsiteX449" fmla="*/ 1204751 w 1471018"/>
                <a:gd name="connsiteY449" fmla="*/ 27747 h 795676"/>
                <a:gd name="connsiteX450" fmla="*/ 979933 w 1471018"/>
                <a:gd name="connsiteY450" fmla="*/ 21671 h 795676"/>
                <a:gd name="connsiteX451" fmla="*/ 993225 w 1471018"/>
                <a:gd name="connsiteY451" fmla="*/ 30405 h 795676"/>
                <a:gd name="connsiteX452" fmla="*/ 987149 w 1471018"/>
                <a:gd name="connsiteY452" fmla="*/ 54710 h 795676"/>
                <a:gd name="connsiteX453" fmla="*/ 962844 w 1471018"/>
                <a:gd name="connsiteY453" fmla="*/ 48634 h 795676"/>
                <a:gd name="connsiteX454" fmla="*/ 968920 w 1471018"/>
                <a:gd name="connsiteY454" fmla="*/ 24329 h 795676"/>
                <a:gd name="connsiteX455" fmla="*/ 979933 w 1471018"/>
                <a:gd name="connsiteY455" fmla="*/ 21671 h 795676"/>
                <a:gd name="connsiteX456" fmla="*/ 451312 w 1471018"/>
                <a:gd name="connsiteY456" fmla="*/ 8759 h 795676"/>
                <a:gd name="connsiteX457" fmla="*/ 464603 w 1471018"/>
                <a:gd name="connsiteY457" fmla="*/ 21291 h 795676"/>
                <a:gd name="connsiteX458" fmla="*/ 458526 w 1471018"/>
                <a:gd name="connsiteY458" fmla="*/ 45596 h 795676"/>
                <a:gd name="connsiteX459" fmla="*/ 434225 w 1471018"/>
                <a:gd name="connsiteY459" fmla="*/ 39520 h 795676"/>
                <a:gd name="connsiteX460" fmla="*/ 440301 w 1471018"/>
                <a:gd name="connsiteY460" fmla="*/ 12177 h 795676"/>
                <a:gd name="connsiteX461" fmla="*/ 451312 w 1471018"/>
                <a:gd name="connsiteY461" fmla="*/ 8759 h 795676"/>
                <a:gd name="connsiteX462" fmla="*/ 1049824 w 1471018"/>
                <a:gd name="connsiteY462" fmla="*/ 0 h 795676"/>
                <a:gd name="connsiteX463" fmla="*/ 1083563 w 1471018"/>
                <a:gd name="connsiteY463" fmla="*/ 0 h 795676"/>
                <a:gd name="connsiteX464" fmla="*/ 1083987 w 1471018"/>
                <a:gd name="connsiteY464" fmla="*/ 2304 h 795676"/>
                <a:gd name="connsiteX465" fmla="*/ 1075253 w 1471018"/>
                <a:gd name="connsiteY465" fmla="*/ 12178 h 795676"/>
                <a:gd name="connsiteX466" fmla="*/ 1050948 w 1471018"/>
                <a:gd name="connsiteY466" fmla="*/ 6102 h 795676"/>
                <a:gd name="connsiteX467" fmla="*/ 773962 w 1471018"/>
                <a:gd name="connsiteY467" fmla="*/ 0 h 795676"/>
                <a:gd name="connsiteX468" fmla="*/ 806875 w 1471018"/>
                <a:gd name="connsiteY468" fmla="*/ 0 h 795676"/>
                <a:gd name="connsiteX469" fmla="*/ 798790 w 1471018"/>
                <a:gd name="connsiteY469" fmla="*/ 9140 h 795676"/>
                <a:gd name="connsiteX470" fmla="*/ 774485 w 1471018"/>
                <a:gd name="connsiteY470" fmla="*/ 3064 h 795676"/>
                <a:gd name="connsiteX471" fmla="*/ 659033 w 1471018"/>
                <a:gd name="connsiteY471" fmla="*/ 0 h 795676"/>
                <a:gd name="connsiteX472" fmla="*/ 688741 w 1471018"/>
                <a:gd name="connsiteY472" fmla="*/ 0 h 795676"/>
                <a:gd name="connsiteX473" fmla="*/ 683343 w 1471018"/>
                <a:gd name="connsiteY473" fmla="*/ 6102 h 795676"/>
                <a:gd name="connsiteX474" fmla="*/ 659038 w 1471018"/>
                <a:gd name="connsiteY474" fmla="*/ 26 h 795676"/>
                <a:gd name="connsiteX475" fmla="*/ 558807 w 1471018"/>
                <a:gd name="connsiteY475" fmla="*/ 0 h 795676"/>
                <a:gd name="connsiteX476" fmla="*/ 589125 w 1471018"/>
                <a:gd name="connsiteY476" fmla="*/ 0 h 795676"/>
                <a:gd name="connsiteX477" fmla="*/ 589163 w 1471018"/>
                <a:gd name="connsiteY477" fmla="*/ 25 h 795676"/>
                <a:gd name="connsiteX478" fmla="*/ 583087 w 1471018"/>
                <a:gd name="connsiteY478" fmla="*/ 24330 h 795676"/>
                <a:gd name="connsiteX479" fmla="*/ 558782 w 1471018"/>
                <a:gd name="connsiteY479" fmla="*/ 18254 h 795676"/>
                <a:gd name="connsiteX480" fmla="*/ 556124 w 1471018"/>
                <a:gd name="connsiteY480" fmla="*/ 2683 h 795676"/>
                <a:gd name="connsiteX481" fmla="*/ 189731 w 1471018"/>
                <a:gd name="connsiteY481" fmla="*/ 0 h 795676"/>
                <a:gd name="connsiteX482" fmla="*/ 223240 w 1471018"/>
                <a:gd name="connsiteY482" fmla="*/ 0 h 795676"/>
                <a:gd name="connsiteX483" fmla="*/ 224224 w 1471018"/>
                <a:gd name="connsiteY483" fmla="*/ 5342 h 795676"/>
                <a:gd name="connsiteX484" fmla="*/ 215490 w 1471018"/>
                <a:gd name="connsiteY484" fmla="*/ 15216 h 795676"/>
                <a:gd name="connsiteX485" fmla="*/ 191185 w 1471018"/>
                <a:gd name="connsiteY485" fmla="*/ 9140 h 795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Lst>
              <a:rect l="l" t="t" r="r" b="b"/>
              <a:pathLst>
                <a:path w="1471018" h="795676">
                  <a:moveTo>
                    <a:pt x="117137" y="759920"/>
                  </a:moveTo>
                  <a:cubicBezTo>
                    <a:pt x="121315" y="761059"/>
                    <a:pt x="125872" y="764097"/>
                    <a:pt x="130429" y="768654"/>
                  </a:cubicBezTo>
                  <a:cubicBezTo>
                    <a:pt x="139543" y="777769"/>
                    <a:pt x="133467" y="786883"/>
                    <a:pt x="124353" y="792959"/>
                  </a:cubicBezTo>
                  <a:cubicBezTo>
                    <a:pt x="118277" y="795997"/>
                    <a:pt x="106124" y="799035"/>
                    <a:pt x="100048" y="786883"/>
                  </a:cubicBezTo>
                  <a:cubicBezTo>
                    <a:pt x="93972" y="771692"/>
                    <a:pt x="97010" y="765616"/>
                    <a:pt x="106124" y="762578"/>
                  </a:cubicBezTo>
                  <a:cubicBezTo>
                    <a:pt x="109162" y="759540"/>
                    <a:pt x="112960" y="758781"/>
                    <a:pt x="117137" y="759920"/>
                  </a:cubicBezTo>
                  <a:close/>
                  <a:moveTo>
                    <a:pt x="220419" y="753844"/>
                  </a:moveTo>
                  <a:cubicBezTo>
                    <a:pt x="224596" y="754983"/>
                    <a:pt x="229153" y="758021"/>
                    <a:pt x="233710" y="762578"/>
                  </a:cubicBezTo>
                  <a:cubicBezTo>
                    <a:pt x="242824" y="771692"/>
                    <a:pt x="236748" y="780807"/>
                    <a:pt x="227634" y="786883"/>
                  </a:cubicBezTo>
                  <a:cubicBezTo>
                    <a:pt x="221557" y="789921"/>
                    <a:pt x="209405" y="792959"/>
                    <a:pt x="203329" y="780807"/>
                  </a:cubicBezTo>
                  <a:cubicBezTo>
                    <a:pt x="197253" y="768654"/>
                    <a:pt x="197253" y="762578"/>
                    <a:pt x="209405" y="756502"/>
                  </a:cubicBezTo>
                  <a:cubicBezTo>
                    <a:pt x="212443" y="753464"/>
                    <a:pt x="216241" y="752705"/>
                    <a:pt x="220419" y="753844"/>
                  </a:cubicBezTo>
                  <a:close/>
                  <a:moveTo>
                    <a:pt x="25999" y="741691"/>
                  </a:moveTo>
                  <a:cubicBezTo>
                    <a:pt x="30176" y="742830"/>
                    <a:pt x="34733" y="745868"/>
                    <a:pt x="39290" y="750425"/>
                  </a:cubicBezTo>
                  <a:cubicBezTo>
                    <a:pt x="48404" y="759540"/>
                    <a:pt x="42328" y="768654"/>
                    <a:pt x="33214" y="774730"/>
                  </a:cubicBezTo>
                  <a:cubicBezTo>
                    <a:pt x="27138" y="777768"/>
                    <a:pt x="14985" y="780806"/>
                    <a:pt x="8909" y="768654"/>
                  </a:cubicBezTo>
                  <a:cubicBezTo>
                    <a:pt x="2834" y="756501"/>
                    <a:pt x="5872" y="750425"/>
                    <a:pt x="14985" y="744349"/>
                  </a:cubicBezTo>
                  <a:cubicBezTo>
                    <a:pt x="18023" y="741311"/>
                    <a:pt x="21821" y="740552"/>
                    <a:pt x="25999" y="741691"/>
                  </a:cubicBezTo>
                  <a:close/>
                  <a:moveTo>
                    <a:pt x="329796" y="735615"/>
                  </a:moveTo>
                  <a:cubicBezTo>
                    <a:pt x="333974" y="736754"/>
                    <a:pt x="338531" y="739792"/>
                    <a:pt x="343088" y="744349"/>
                  </a:cubicBezTo>
                  <a:cubicBezTo>
                    <a:pt x="352202" y="753463"/>
                    <a:pt x="346126" y="762578"/>
                    <a:pt x="337012" y="768654"/>
                  </a:cubicBezTo>
                  <a:cubicBezTo>
                    <a:pt x="330935" y="771692"/>
                    <a:pt x="318783" y="774730"/>
                    <a:pt x="312707" y="762578"/>
                  </a:cubicBezTo>
                  <a:cubicBezTo>
                    <a:pt x="306631" y="747387"/>
                    <a:pt x="306631" y="741311"/>
                    <a:pt x="318783" y="738273"/>
                  </a:cubicBezTo>
                  <a:cubicBezTo>
                    <a:pt x="321821" y="735235"/>
                    <a:pt x="325619" y="734476"/>
                    <a:pt x="329796" y="735615"/>
                  </a:cubicBezTo>
                  <a:close/>
                  <a:moveTo>
                    <a:pt x="442198" y="702197"/>
                  </a:moveTo>
                  <a:cubicBezTo>
                    <a:pt x="446375" y="703336"/>
                    <a:pt x="450932" y="706374"/>
                    <a:pt x="455488" y="710931"/>
                  </a:cubicBezTo>
                  <a:cubicBezTo>
                    <a:pt x="464602" y="720045"/>
                    <a:pt x="458526" y="729160"/>
                    <a:pt x="449413" y="735236"/>
                  </a:cubicBezTo>
                  <a:cubicBezTo>
                    <a:pt x="443338" y="738274"/>
                    <a:pt x="431186" y="741312"/>
                    <a:pt x="425110" y="729160"/>
                  </a:cubicBezTo>
                  <a:cubicBezTo>
                    <a:pt x="419035" y="717007"/>
                    <a:pt x="422073" y="710931"/>
                    <a:pt x="431186" y="704855"/>
                  </a:cubicBezTo>
                  <a:cubicBezTo>
                    <a:pt x="434224" y="701817"/>
                    <a:pt x="438021" y="701058"/>
                    <a:pt x="442198" y="702197"/>
                  </a:cubicBezTo>
                  <a:close/>
                  <a:moveTo>
                    <a:pt x="542453" y="668778"/>
                  </a:moveTo>
                  <a:cubicBezTo>
                    <a:pt x="546631" y="669917"/>
                    <a:pt x="551188" y="672955"/>
                    <a:pt x="555745" y="677512"/>
                  </a:cubicBezTo>
                  <a:cubicBezTo>
                    <a:pt x="564859" y="686627"/>
                    <a:pt x="558783" y="695741"/>
                    <a:pt x="549669" y="701817"/>
                  </a:cubicBezTo>
                  <a:cubicBezTo>
                    <a:pt x="543593" y="704855"/>
                    <a:pt x="531440" y="707893"/>
                    <a:pt x="525364" y="695741"/>
                  </a:cubicBezTo>
                  <a:cubicBezTo>
                    <a:pt x="519291" y="683589"/>
                    <a:pt x="522328" y="677512"/>
                    <a:pt x="531440" y="671436"/>
                  </a:cubicBezTo>
                  <a:cubicBezTo>
                    <a:pt x="534478" y="668398"/>
                    <a:pt x="538276" y="667639"/>
                    <a:pt x="542453" y="668778"/>
                  </a:cubicBezTo>
                  <a:close/>
                  <a:moveTo>
                    <a:pt x="132328" y="650549"/>
                  </a:moveTo>
                  <a:cubicBezTo>
                    <a:pt x="136506" y="651688"/>
                    <a:pt x="141063" y="654726"/>
                    <a:pt x="145620" y="659283"/>
                  </a:cubicBezTo>
                  <a:cubicBezTo>
                    <a:pt x="154734" y="668398"/>
                    <a:pt x="148658" y="677512"/>
                    <a:pt x="139544" y="683588"/>
                  </a:cubicBezTo>
                  <a:cubicBezTo>
                    <a:pt x="133468" y="686626"/>
                    <a:pt x="121315" y="689664"/>
                    <a:pt x="115239" y="677512"/>
                  </a:cubicBezTo>
                  <a:cubicBezTo>
                    <a:pt x="109163" y="662321"/>
                    <a:pt x="112201" y="656245"/>
                    <a:pt x="121315" y="653207"/>
                  </a:cubicBezTo>
                  <a:cubicBezTo>
                    <a:pt x="124353" y="650169"/>
                    <a:pt x="128151" y="649410"/>
                    <a:pt x="132328" y="650549"/>
                  </a:cubicBezTo>
                  <a:close/>
                  <a:moveTo>
                    <a:pt x="642709" y="641435"/>
                  </a:moveTo>
                  <a:cubicBezTo>
                    <a:pt x="646887" y="642574"/>
                    <a:pt x="651444" y="645612"/>
                    <a:pt x="656001" y="650169"/>
                  </a:cubicBezTo>
                  <a:cubicBezTo>
                    <a:pt x="665115" y="659283"/>
                    <a:pt x="659039" y="668398"/>
                    <a:pt x="649925" y="674474"/>
                  </a:cubicBezTo>
                  <a:cubicBezTo>
                    <a:pt x="643849" y="677512"/>
                    <a:pt x="631696" y="680550"/>
                    <a:pt x="625620" y="668398"/>
                  </a:cubicBezTo>
                  <a:cubicBezTo>
                    <a:pt x="619544" y="653207"/>
                    <a:pt x="622582" y="647131"/>
                    <a:pt x="631696" y="644093"/>
                  </a:cubicBezTo>
                  <a:cubicBezTo>
                    <a:pt x="634734" y="641055"/>
                    <a:pt x="638532" y="640296"/>
                    <a:pt x="642709" y="641435"/>
                  </a:cubicBezTo>
                  <a:close/>
                  <a:moveTo>
                    <a:pt x="235618" y="641435"/>
                  </a:moveTo>
                  <a:cubicBezTo>
                    <a:pt x="239795" y="642574"/>
                    <a:pt x="244352" y="645612"/>
                    <a:pt x="248910" y="650169"/>
                  </a:cubicBezTo>
                  <a:cubicBezTo>
                    <a:pt x="258024" y="659283"/>
                    <a:pt x="251948" y="668398"/>
                    <a:pt x="242833" y="674474"/>
                  </a:cubicBezTo>
                  <a:cubicBezTo>
                    <a:pt x="236757" y="677512"/>
                    <a:pt x="224605" y="680550"/>
                    <a:pt x="218529" y="668398"/>
                  </a:cubicBezTo>
                  <a:cubicBezTo>
                    <a:pt x="215491" y="656245"/>
                    <a:pt x="215491" y="647131"/>
                    <a:pt x="224605" y="644093"/>
                  </a:cubicBezTo>
                  <a:cubicBezTo>
                    <a:pt x="227643" y="641055"/>
                    <a:pt x="231440" y="640296"/>
                    <a:pt x="235618" y="641435"/>
                  </a:cubicBezTo>
                  <a:close/>
                  <a:moveTo>
                    <a:pt x="338904" y="629283"/>
                  </a:moveTo>
                  <a:cubicBezTo>
                    <a:pt x="343081" y="630422"/>
                    <a:pt x="347639" y="633460"/>
                    <a:pt x="352196" y="638017"/>
                  </a:cubicBezTo>
                  <a:cubicBezTo>
                    <a:pt x="361310" y="647131"/>
                    <a:pt x="355234" y="656246"/>
                    <a:pt x="346120" y="662322"/>
                  </a:cubicBezTo>
                  <a:cubicBezTo>
                    <a:pt x="340044" y="665360"/>
                    <a:pt x="327891" y="668398"/>
                    <a:pt x="321815" y="656246"/>
                  </a:cubicBezTo>
                  <a:cubicBezTo>
                    <a:pt x="315739" y="641055"/>
                    <a:pt x="318777" y="634979"/>
                    <a:pt x="327891" y="631941"/>
                  </a:cubicBezTo>
                  <a:cubicBezTo>
                    <a:pt x="330929" y="628903"/>
                    <a:pt x="334726" y="628144"/>
                    <a:pt x="338904" y="629283"/>
                  </a:cubicBezTo>
                  <a:close/>
                  <a:moveTo>
                    <a:pt x="32070" y="601940"/>
                  </a:moveTo>
                  <a:cubicBezTo>
                    <a:pt x="36247" y="603079"/>
                    <a:pt x="40804" y="606117"/>
                    <a:pt x="45361" y="610674"/>
                  </a:cubicBezTo>
                  <a:cubicBezTo>
                    <a:pt x="54475" y="619788"/>
                    <a:pt x="48399" y="628903"/>
                    <a:pt x="39285" y="634979"/>
                  </a:cubicBezTo>
                  <a:cubicBezTo>
                    <a:pt x="33209" y="638017"/>
                    <a:pt x="21056" y="641055"/>
                    <a:pt x="14981" y="628903"/>
                  </a:cubicBezTo>
                  <a:cubicBezTo>
                    <a:pt x="8905" y="616750"/>
                    <a:pt x="11943" y="607636"/>
                    <a:pt x="21056" y="604598"/>
                  </a:cubicBezTo>
                  <a:cubicBezTo>
                    <a:pt x="24094" y="601560"/>
                    <a:pt x="27892" y="600801"/>
                    <a:pt x="32070" y="601940"/>
                  </a:cubicBezTo>
                  <a:close/>
                  <a:moveTo>
                    <a:pt x="752079" y="586750"/>
                  </a:moveTo>
                  <a:cubicBezTo>
                    <a:pt x="756257" y="587889"/>
                    <a:pt x="760814" y="590927"/>
                    <a:pt x="765371" y="595484"/>
                  </a:cubicBezTo>
                  <a:cubicBezTo>
                    <a:pt x="774485" y="604598"/>
                    <a:pt x="768409" y="613713"/>
                    <a:pt x="759295" y="619789"/>
                  </a:cubicBezTo>
                  <a:cubicBezTo>
                    <a:pt x="753218" y="622827"/>
                    <a:pt x="741066" y="625865"/>
                    <a:pt x="734990" y="613713"/>
                  </a:cubicBezTo>
                  <a:cubicBezTo>
                    <a:pt x="728914" y="601560"/>
                    <a:pt x="731952" y="595484"/>
                    <a:pt x="741066" y="589408"/>
                  </a:cubicBezTo>
                  <a:cubicBezTo>
                    <a:pt x="744104" y="586370"/>
                    <a:pt x="747902" y="585611"/>
                    <a:pt x="752079" y="586750"/>
                  </a:cubicBezTo>
                  <a:close/>
                  <a:moveTo>
                    <a:pt x="436123" y="583712"/>
                  </a:moveTo>
                  <a:cubicBezTo>
                    <a:pt x="440300" y="584851"/>
                    <a:pt x="444857" y="587889"/>
                    <a:pt x="449413" y="592446"/>
                  </a:cubicBezTo>
                  <a:cubicBezTo>
                    <a:pt x="458525" y="601560"/>
                    <a:pt x="452450" y="610675"/>
                    <a:pt x="443339" y="616751"/>
                  </a:cubicBezTo>
                  <a:cubicBezTo>
                    <a:pt x="437263" y="619789"/>
                    <a:pt x="425114" y="622827"/>
                    <a:pt x="419039" y="610675"/>
                  </a:cubicBezTo>
                  <a:cubicBezTo>
                    <a:pt x="416003" y="598522"/>
                    <a:pt x="416003" y="592446"/>
                    <a:pt x="425114" y="586370"/>
                  </a:cubicBezTo>
                  <a:cubicBezTo>
                    <a:pt x="428151" y="583332"/>
                    <a:pt x="431946" y="582573"/>
                    <a:pt x="436123" y="583712"/>
                  </a:cubicBezTo>
                  <a:close/>
                  <a:moveTo>
                    <a:pt x="548529" y="556370"/>
                  </a:moveTo>
                  <a:cubicBezTo>
                    <a:pt x="552707" y="557509"/>
                    <a:pt x="557264" y="560547"/>
                    <a:pt x="561821" y="565104"/>
                  </a:cubicBezTo>
                  <a:cubicBezTo>
                    <a:pt x="570935" y="574218"/>
                    <a:pt x="564859" y="583333"/>
                    <a:pt x="555745" y="589409"/>
                  </a:cubicBezTo>
                  <a:cubicBezTo>
                    <a:pt x="549669" y="592447"/>
                    <a:pt x="537516" y="595485"/>
                    <a:pt x="531440" y="583333"/>
                  </a:cubicBezTo>
                  <a:cubicBezTo>
                    <a:pt x="525364" y="571180"/>
                    <a:pt x="528402" y="565104"/>
                    <a:pt x="537516" y="559028"/>
                  </a:cubicBezTo>
                  <a:cubicBezTo>
                    <a:pt x="540554" y="555990"/>
                    <a:pt x="544352" y="555231"/>
                    <a:pt x="548529" y="556370"/>
                  </a:cubicBezTo>
                  <a:close/>
                  <a:moveTo>
                    <a:pt x="852335" y="550293"/>
                  </a:moveTo>
                  <a:cubicBezTo>
                    <a:pt x="856513" y="551432"/>
                    <a:pt x="861070" y="554470"/>
                    <a:pt x="865627" y="559027"/>
                  </a:cubicBezTo>
                  <a:cubicBezTo>
                    <a:pt x="874741" y="568141"/>
                    <a:pt x="868665" y="577256"/>
                    <a:pt x="859551" y="583332"/>
                  </a:cubicBezTo>
                  <a:cubicBezTo>
                    <a:pt x="853475" y="586370"/>
                    <a:pt x="841322" y="589408"/>
                    <a:pt x="835246" y="577256"/>
                  </a:cubicBezTo>
                  <a:cubicBezTo>
                    <a:pt x="829170" y="565103"/>
                    <a:pt x="832208" y="559027"/>
                    <a:pt x="841322" y="552951"/>
                  </a:cubicBezTo>
                  <a:cubicBezTo>
                    <a:pt x="844360" y="549913"/>
                    <a:pt x="848158" y="549154"/>
                    <a:pt x="852335" y="550293"/>
                  </a:cubicBezTo>
                  <a:close/>
                  <a:moveTo>
                    <a:pt x="667013" y="532065"/>
                  </a:moveTo>
                  <a:cubicBezTo>
                    <a:pt x="671191" y="533204"/>
                    <a:pt x="675748" y="536242"/>
                    <a:pt x="680305" y="540799"/>
                  </a:cubicBezTo>
                  <a:cubicBezTo>
                    <a:pt x="689419" y="549914"/>
                    <a:pt x="683343" y="559028"/>
                    <a:pt x="674229" y="565104"/>
                  </a:cubicBezTo>
                  <a:cubicBezTo>
                    <a:pt x="668153" y="568142"/>
                    <a:pt x="656000" y="571180"/>
                    <a:pt x="649924" y="559028"/>
                  </a:cubicBezTo>
                  <a:cubicBezTo>
                    <a:pt x="643848" y="546876"/>
                    <a:pt x="646886" y="540799"/>
                    <a:pt x="656000" y="534723"/>
                  </a:cubicBezTo>
                  <a:cubicBezTo>
                    <a:pt x="659038" y="531685"/>
                    <a:pt x="662836" y="530926"/>
                    <a:pt x="667013" y="532065"/>
                  </a:cubicBezTo>
                  <a:close/>
                  <a:moveTo>
                    <a:pt x="126251" y="532065"/>
                  </a:moveTo>
                  <a:cubicBezTo>
                    <a:pt x="130428" y="533204"/>
                    <a:pt x="134985" y="536242"/>
                    <a:pt x="139543" y="540799"/>
                  </a:cubicBezTo>
                  <a:cubicBezTo>
                    <a:pt x="148657" y="549914"/>
                    <a:pt x="142581" y="559028"/>
                    <a:pt x="133467" y="565104"/>
                  </a:cubicBezTo>
                  <a:cubicBezTo>
                    <a:pt x="127390" y="568142"/>
                    <a:pt x="115238" y="571180"/>
                    <a:pt x="109162" y="559028"/>
                  </a:cubicBezTo>
                  <a:cubicBezTo>
                    <a:pt x="103086" y="546876"/>
                    <a:pt x="103086" y="540799"/>
                    <a:pt x="115238" y="534723"/>
                  </a:cubicBezTo>
                  <a:cubicBezTo>
                    <a:pt x="118276" y="531685"/>
                    <a:pt x="122073" y="530926"/>
                    <a:pt x="126251" y="532065"/>
                  </a:cubicBezTo>
                  <a:close/>
                  <a:moveTo>
                    <a:pt x="226503" y="529027"/>
                  </a:moveTo>
                  <a:cubicBezTo>
                    <a:pt x="230680" y="530166"/>
                    <a:pt x="235237" y="533204"/>
                    <a:pt x="239794" y="537761"/>
                  </a:cubicBezTo>
                  <a:cubicBezTo>
                    <a:pt x="248908" y="546876"/>
                    <a:pt x="242832" y="555990"/>
                    <a:pt x="233718" y="562066"/>
                  </a:cubicBezTo>
                  <a:cubicBezTo>
                    <a:pt x="227641" y="565104"/>
                    <a:pt x="215490" y="568142"/>
                    <a:pt x="209414" y="555990"/>
                  </a:cubicBezTo>
                  <a:cubicBezTo>
                    <a:pt x="203338" y="540799"/>
                    <a:pt x="203338" y="534723"/>
                    <a:pt x="215490" y="531685"/>
                  </a:cubicBezTo>
                  <a:cubicBezTo>
                    <a:pt x="218528" y="528647"/>
                    <a:pt x="222325" y="527888"/>
                    <a:pt x="226503" y="529027"/>
                  </a:cubicBezTo>
                  <a:close/>
                  <a:moveTo>
                    <a:pt x="332836" y="519913"/>
                  </a:moveTo>
                  <a:cubicBezTo>
                    <a:pt x="337014" y="521052"/>
                    <a:pt x="341571" y="524090"/>
                    <a:pt x="346128" y="528647"/>
                  </a:cubicBezTo>
                  <a:cubicBezTo>
                    <a:pt x="355242" y="537761"/>
                    <a:pt x="349166" y="546876"/>
                    <a:pt x="340052" y="552952"/>
                  </a:cubicBezTo>
                  <a:cubicBezTo>
                    <a:pt x="333976" y="555990"/>
                    <a:pt x="321823" y="559028"/>
                    <a:pt x="315748" y="546876"/>
                  </a:cubicBezTo>
                  <a:cubicBezTo>
                    <a:pt x="309671" y="531685"/>
                    <a:pt x="312709" y="525609"/>
                    <a:pt x="321823" y="522571"/>
                  </a:cubicBezTo>
                  <a:cubicBezTo>
                    <a:pt x="324861" y="519533"/>
                    <a:pt x="328659" y="518774"/>
                    <a:pt x="332836" y="519913"/>
                  </a:cubicBezTo>
                  <a:close/>
                  <a:moveTo>
                    <a:pt x="7768" y="507761"/>
                  </a:moveTo>
                  <a:cubicBezTo>
                    <a:pt x="11946" y="508900"/>
                    <a:pt x="16503" y="511938"/>
                    <a:pt x="21060" y="516495"/>
                  </a:cubicBezTo>
                  <a:cubicBezTo>
                    <a:pt x="30174" y="525609"/>
                    <a:pt x="24098" y="534724"/>
                    <a:pt x="14984" y="540800"/>
                  </a:cubicBezTo>
                  <a:cubicBezTo>
                    <a:pt x="11946" y="542319"/>
                    <a:pt x="7388" y="543838"/>
                    <a:pt x="2831" y="543458"/>
                  </a:cubicBezTo>
                  <a:lnTo>
                    <a:pt x="0" y="541423"/>
                  </a:lnTo>
                  <a:lnTo>
                    <a:pt x="0" y="509636"/>
                  </a:lnTo>
                  <a:close/>
                  <a:moveTo>
                    <a:pt x="946515" y="486494"/>
                  </a:moveTo>
                  <a:cubicBezTo>
                    <a:pt x="950693" y="487633"/>
                    <a:pt x="955250" y="490671"/>
                    <a:pt x="959807" y="495228"/>
                  </a:cubicBezTo>
                  <a:cubicBezTo>
                    <a:pt x="968921" y="504343"/>
                    <a:pt x="962845" y="513457"/>
                    <a:pt x="953731" y="519533"/>
                  </a:cubicBezTo>
                  <a:cubicBezTo>
                    <a:pt x="947655" y="522571"/>
                    <a:pt x="935502" y="525609"/>
                    <a:pt x="929426" y="513457"/>
                  </a:cubicBezTo>
                  <a:cubicBezTo>
                    <a:pt x="923350" y="501305"/>
                    <a:pt x="926388" y="492190"/>
                    <a:pt x="935502" y="489152"/>
                  </a:cubicBezTo>
                  <a:cubicBezTo>
                    <a:pt x="938540" y="486114"/>
                    <a:pt x="942338" y="485355"/>
                    <a:pt x="946515" y="486494"/>
                  </a:cubicBezTo>
                  <a:close/>
                  <a:moveTo>
                    <a:pt x="457386" y="483456"/>
                  </a:moveTo>
                  <a:cubicBezTo>
                    <a:pt x="461563" y="484595"/>
                    <a:pt x="466121" y="487633"/>
                    <a:pt x="470679" y="492190"/>
                  </a:cubicBezTo>
                  <a:cubicBezTo>
                    <a:pt x="479793" y="501305"/>
                    <a:pt x="473717" y="510419"/>
                    <a:pt x="464601" y="516495"/>
                  </a:cubicBezTo>
                  <a:cubicBezTo>
                    <a:pt x="458525" y="519533"/>
                    <a:pt x="446374" y="522571"/>
                    <a:pt x="440300" y="510419"/>
                  </a:cubicBezTo>
                  <a:cubicBezTo>
                    <a:pt x="437261" y="495228"/>
                    <a:pt x="437261" y="489152"/>
                    <a:pt x="446374" y="486114"/>
                  </a:cubicBezTo>
                  <a:cubicBezTo>
                    <a:pt x="449412" y="483076"/>
                    <a:pt x="453209" y="482317"/>
                    <a:pt x="457386" y="483456"/>
                  </a:cubicBezTo>
                  <a:close/>
                  <a:moveTo>
                    <a:pt x="821954" y="456114"/>
                  </a:moveTo>
                  <a:cubicBezTo>
                    <a:pt x="826132" y="457253"/>
                    <a:pt x="830689" y="460291"/>
                    <a:pt x="835246" y="464848"/>
                  </a:cubicBezTo>
                  <a:cubicBezTo>
                    <a:pt x="844360" y="473963"/>
                    <a:pt x="838284" y="483077"/>
                    <a:pt x="829170" y="489153"/>
                  </a:cubicBezTo>
                  <a:cubicBezTo>
                    <a:pt x="823094" y="492191"/>
                    <a:pt x="810941" y="495229"/>
                    <a:pt x="804865" y="483077"/>
                  </a:cubicBezTo>
                  <a:cubicBezTo>
                    <a:pt x="798789" y="470925"/>
                    <a:pt x="801827" y="464848"/>
                    <a:pt x="810941" y="458772"/>
                  </a:cubicBezTo>
                  <a:cubicBezTo>
                    <a:pt x="813979" y="455734"/>
                    <a:pt x="817777" y="454975"/>
                    <a:pt x="821954" y="456114"/>
                  </a:cubicBezTo>
                  <a:close/>
                  <a:moveTo>
                    <a:pt x="584986" y="456114"/>
                  </a:moveTo>
                  <a:cubicBezTo>
                    <a:pt x="589164" y="457253"/>
                    <a:pt x="593721" y="460291"/>
                    <a:pt x="598278" y="464848"/>
                  </a:cubicBezTo>
                  <a:cubicBezTo>
                    <a:pt x="607392" y="473963"/>
                    <a:pt x="601316" y="483077"/>
                    <a:pt x="592202" y="489153"/>
                  </a:cubicBezTo>
                  <a:cubicBezTo>
                    <a:pt x="586125" y="492191"/>
                    <a:pt x="573973" y="495229"/>
                    <a:pt x="567897" y="483077"/>
                  </a:cubicBezTo>
                  <a:cubicBezTo>
                    <a:pt x="561821" y="467886"/>
                    <a:pt x="564859" y="461810"/>
                    <a:pt x="573973" y="458772"/>
                  </a:cubicBezTo>
                  <a:cubicBezTo>
                    <a:pt x="577011" y="455734"/>
                    <a:pt x="580809" y="454975"/>
                    <a:pt x="584986" y="456114"/>
                  </a:cubicBezTo>
                  <a:close/>
                  <a:moveTo>
                    <a:pt x="718660" y="443961"/>
                  </a:moveTo>
                  <a:cubicBezTo>
                    <a:pt x="722838" y="445100"/>
                    <a:pt x="727395" y="448138"/>
                    <a:pt x="731952" y="452695"/>
                  </a:cubicBezTo>
                  <a:cubicBezTo>
                    <a:pt x="741066" y="461809"/>
                    <a:pt x="734990" y="470924"/>
                    <a:pt x="725876" y="477000"/>
                  </a:cubicBezTo>
                  <a:cubicBezTo>
                    <a:pt x="719800" y="480038"/>
                    <a:pt x="707647" y="483076"/>
                    <a:pt x="701571" y="470924"/>
                  </a:cubicBezTo>
                  <a:cubicBezTo>
                    <a:pt x="695495" y="458771"/>
                    <a:pt x="698533" y="449657"/>
                    <a:pt x="707647" y="446619"/>
                  </a:cubicBezTo>
                  <a:cubicBezTo>
                    <a:pt x="710685" y="443581"/>
                    <a:pt x="714483" y="442822"/>
                    <a:pt x="718660" y="443961"/>
                  </a:cubicBezTo>
                  <a:close/>
                  <a:moveTo>
                    <a:pt x="1016390" y="425733"/>
                  </a:moveTo>
                  <a:cubicBezTo>
                    <a:pt x="1020567" y="426872"/>
                    <a:pt x="1025124" y="429910"/>
                    <a:pt x="1029681" y="434467"/>
                  </a:cubicBezTo>
                  <a:cubicBezTo>
                    <a:pt x="1038796" y="443582"/>
                    <a:pt x="1032720" y="452696"/>
                    <a:pt x="1023605" y="458772"/>
                  </a:cubicBezTo>
                  <a:cubicBezTo>
                    <a:pt x="1017529" y="461810"/>
                    <a:pt x="1005377" y="464848"/>
                    <a:pt x="999301" y="452696"/>
                  </a:cubicBezTo>
                  <a:cubicBezTo>
                    <a:pt x="993225" y="437505"/>
                    <a:pt x="999301" y="434467"/>
                    <a:pt x="1005377" y="428391"/>
                  </a:cubicBezTo>
                  <a:cubicBezTo>
                    <a:pt x="1008415" y="425353"/>
                    <a:pt x="1012213" y="424594"/>
                    <a:pt x="1016390" y="425733"/>
                  </a:cubicBezTo>
                  <a:close/>
                  <a:moveTo>
                    <a:pt x="250806" y="416619"/>
                  </a:moveTo>
                  <a:cubicBezTo>
                    <a:pt x="254983" y="417758"/>
                    <a:pt x="259540" y="420796"/>
                    <a:pt x="264098" y="425353"/>
                  </a:cubicBezTo>
                  <a:cubicBezTo>
                    <a:pt x="273212" y="434467"/>
                    <a:pt x="267136" y="443582"/>
                    <a:pt x="258022" y="449658"/>
                  </a:cubicBezTo>
                  <a:cubicBezTo>
                    <a:pt x="251944" y="452696"/>
                    <a:pt x="239793" y="455734"/>
                    <a:pt x="233717" y="443582"/>
                  </a:cubicBezTo>
                  <a:cubicBezTo>
                    <a:pt x="227641" y="431429"/>
                    <a:pt x="230679" y="425353"/>
                    <a:pt x="239793" y="419277"/>
                  </a:cubicBezTo>
                  <a:cubicBezTo>
                    <a:pt x="242831" y="416239"/>
                    <a:pt x="246628" y="415480"/>
                    <a:pt x="250806" y="416619"/>
                  </a:cubicBezTo>
                  <a:close/>
                  <a:moveTo>
                    <a:pt x="144467" y="416619"/>
                  </a:moveTo>
                  <a:cubicBezTo>
                    <a:pt x="148645" y="417758"/>
                    <a:pt x="153202" y="420796"/>
                    <a:pt x="157759" y="425353"/>
                  </a:cubicBezTo>
                  <a:cubicBezTo>
                    <a:pt x="166873" y="434467"/>
                    <a:pt x="160797" y="443582"/>
                    <a:pt x="151683" y="449658"/>
                  </a:cubicBezTo>
                  <a:cubicBezTo>
                    <a:pt x="145606" y="452696"/>
                    <a:pt x="133454" y="455734"/>
                    <a:pt x="127378" y="443582"/>
                  </a:cubicBezTo>
                  <a:cubicBezTo>
                    <a:pt x="121302" y="431429"/>
                    <a:pt x="124340" y="425353"/>
                    <a:pt x="133454" y="419277"/>
                  </a:cubicBezTo>
                  <a:cubicBezTo>
                    <a:pt x="136492" y="416239"/>
                    <a:pt x="140290" y="415480"/>
                    <a:pt x="144467" y="416619"/>
                  </a:cubicBezTo>
                  <a:close/>
                  <a:moveTo>
                    <a:pt x="29033" y="416619"/>
                  </a:moveTo>
                  <a:cubicBezTo>
                    <a:pt x="33210" y="417758"/>
                    <a:pt x="37767" y="420796"/>
                    <a:pt x="42324" y="425353"/>
                  </a:cubicBezTo>
                  <a:cubicBezTo>
                    <a:pt x="51438" y="434467"/>
                    <a:pt x="45362" y="443582"/>
                    <a:pt x="36248" y="449658"/>
                  </a:cubicBezTo>
                  <a:cubicBezTo>
                    <a:pt x="30173" y="452696"/>
                    <a:pt x="18020" y="455734"/>
                    <a:pt x="11944" y="443582"/>
                  </a:cubicBezTo>
                  <a:cubicBezTo>
                    <a:pt x="5868" y="431429"/>
                    <a:pt x="8906" y="425353"/>
                    <a:pt x="18020" y="419277"/>
                  </a:cubicBezTo>
                  <a:cubicBezTo>
                    <a:pt x="21058" y="416239"/>
                    <a:pt x="24855" y="415480"/>
                    <a:pt x="29033" y="416619"/>
                  </a:cubicBezTo>
                  <a:close/>
                  <a:moveTo>
                    <a:pt x="360172" y="410543"/>
                  </a:moveTo>
                  <a:cubicBezTo>
                    <a:pt x="364349" y="411682"/>
                    <a:pt x="368907" y="414720"/>
                    <a:pt x="373464" y="419277"/>
                  </a:cubicBezTo>
                  <a:cubicBezTo>
                    <a:pt x="382577" y="428392"/>
                    <a:pt x="376502" y="437506"/>
                    <a:pt x="367388" y="443582"/>
                  </a:cubicBezTo>
                  <a:cubicBezTo>
                    <a:pt x="361312" y="446620"/>
                    <a:pt x="349159" y="449658"/>
                    <a:pt x="343083" y="437506"/>
                  </a:cubicBezTo>
                  <a:cubicBezTo>
                    <a:pt x="337007" y="425354"/>
                    <a:pt x="340045" y="419277"/>
                    <a:pt x="349159" y="413201"/>
                  </a:cubicBezTo>
                  <a:cubicBezTo>
                    <a:pt x="352197" y="410163"/>
                    <a:pt x="355995" y="409404"/>
                    <a:pt x="360172" y="410543"/>
                  </a:cubicBezTo>
                  <a:close/>
                  <a:moveTo>
                    <a:pt x="1110570" y="389276"/>
                  </a:moveTo>
                  <a:cubicBezTo>
                    <a:pt x="1114748" y="390415"/>
                    <a:pt x="1119305" y="393453"/>
                    <a:pt x="1123862" y="398010"/>
                  </a:cubicBezTo>
                  <a:cubicBezTo>
                    <a:pt x="1132976" y="407124"/>
                    <a:pt x="1126900" y="416239"/>
                    <a:pt x="1117786" y="422315"/>
                  </a:cubicBezTo>
                  <a:cubicBezTo>
                    <a:pt x="1111710" y="425353"/>
                    <a:pt x="1099557" y="428391"/>
                    <a:pt x="1093481" y="416239"/>
                  </a:cubicBezTo>
                  <a:cubicBezTo>
                    <a:pt x="1087405" y="401048"/>
                    <a:pt x="1090443" y="394972"/>
                    <a:pt x="1099557" y="391934"/>
                  </a:cubicBezTo>
                  <a:cubicBezTo>
                    <a:pt x="1102595" y="388896"/>
                    <a:pt x="1106393" y="388137"/>
                    <a:pt x="1110570" y="389276"/>
                  </a:cubicBezTo>
                  <a:close/>
                  <a:moveTo>
                    <a:pt x="490806" y="383200"/>
                  </a:moveTo>
                  <a:cubicBezTo>
                    <a:pt x="494984" y="384339"/>
                    <a:pt x="499541" y="387377"/>
                    <a:pt x="504098" y="391934"/>
                  </a:cubicBezTo>
                  <a:cubicBezTo>
                    <a:pt x="513212" y="401048"/>
                    <a:pt x="507136" y="410163"/>
                    <a:pt x="498022" y="416239"/>
                  </a:cubicBezTo>
                  <a:cubicBezTo>
                    <a:pt x="491946" y="419277"/>
                    <a:pt x="479793" y="422315"/>
                    <a:pt x="473717" y="410163"/>
                  </a:cubicBezTo>
                  <a:cubicBezTo>
                    <a:pt x="467641" y="394972"/>
                    <a:pt x="470679" y="388896"/>
                    <a:pt x="479793" y="385858"/>
                  </a:cubicBezTo>
                  <a:cubicBezTo>
                    <a:pt x="482831" y="382820"/>
                    <a:pt x="486629" y="382061"/>
                    <a:pt x="490806" y="383200"/>
                  </a:cubicBezTo>
                  <a:close/>
                  <a:moveTo>
                    <a:pt x="900944" y="380162"/>
                  </a:moveTo>
                  <a:cubicBezTo>
                    <a:pt x="905122" y="381301"/>
                    <a:pt x="909679" y="384339"/>
                    <a:pt x="914236" y="388896"/>
                  </a:cubicBezTo>
                  <a:cubicBezTo>
                    <a:pt x="923350" y="398011"/>
                    <a:pt x="917274" y="407125"/>
                    <a:pt x="908160" y="413201"/>
                  </a:cubicBezTo>
                  <a:cubicBezTo>
                    <a:pt x="902084" y="416239"/>
                    <a:pt x="889931" y="419277"/>
                    <a:pt x="883855" y="407125"/>
                  </a:cubicBezTo>
                  <a:cubicBezTo>
                    <a:pt x="877779" y="394973"/>
                    <a:pt x="880817" y="388896"/>
                    <a:pt x="889931" y="382820"/>
                  </a:cubicBezTo>
                  <a:cubicBezTo>
                    <a:pt x="892969" y="379782"/>
                    <a:pt x="896767" y="379023"/>
                    <a:pt x="900944" y="380162"/>
                  </a:cubicBezTo>
                  <a:close/>
                  <a:moveTo>
                    <a:pt x="618404" y="361934"/>
                  </a:moveTo>
                  <a:cubicBezTo>
                    <a:pt x="622582" y="363073"/>
                    <a:pt x="627139" y="366111"/>
                    <a:pt x="631696" y="370668"/>
                  </a:cubicBezTo>
                  <a:cubicBezTo>
                    <a:pt x="640810" y="379783"/>
                    <a:pt x="634734" y="388897"/>
                    <a:pt x="625620" y="394973"/>
                  </a:cubicBezTo>
                  <a:cubicBezTo>
                    <a:pt x="619544" y="398011"/>
                    <a:pt x="607391" y="401049"/>
                    <a:pt x="601315" y="388897"/>
                  </a:cubicBezTo>
                  <a:cubicBezTo>
                    <a:pt x="595239" y="376744"/>
                    <a:pt x="598277" y="370668"/>
                    <a:pt x="607391" y="364592"/>
                  </a:cubicBezTo>
                  <a:cubicBezTo>
                    <a:pt x="610429" y="361554"/>
                    <a:pt x="614227" y="360795"/>
                    <a:pt x="618404" y="361934"/>
                  </a:cubicBezTo>
                  <a:close/>
                  <a:moveTo>
                    <a:pt x="749041" y="355858"/>
                  </a:moveTo>
                  <a:cubicBezTo>
                    <a:pt x="753219" y="356997"/>
                    <a:pt x="757776" y="360035"/>
                    <a:pt x="762333" y="364592"/>
                  </a:cubicBezTo>
                  <a:cubicBezTo>
                    <a:pt x="771447" y="373706"/>
                    <a:pt x="765371" y="382821"/>
                    <a:pt x="756257" y="388897"/>
                  </a:cubicBezTo>
                  <a:cubicBezTo>
                    <a:pt x="750181" y="391935"/>
                    <a:pt x="738028" y="394973"/>
                    <a:pt x="731952" y="382821"/>
                  </a:cubicBezTo>
                  <a:cubicBezTo>
                    <a:pt x="725876" y="367630"/>
                    <a:pt x="728914" y="361554"/>
                    <a:pt x="738028" y="358516"/>
                  </a:cubicBezTo>
                  <a:cubicBezTo>
                    <a:pt x="741066" y="355478"/>
                    <a:pt x="744864" y="354719"/>
                    <a:pt x="749041" y="355858"/>
                  </a:cubicBezTo>
                  <a:close/>
                  <a:moveTo>
                    <a:pt x="10801" y="334591"/>
                  </a:moveTo>
                  <a:cubicBezTo>
                    <a:pt x="14978" y="335730"/>
                    <a:pt x="19536" y="338768"/>
                    <a:pt x="24093" y="343325"/>
                  </a:cubicBezTo>
                  <a:cubicBezTo>
                    <a:pt x="33207" y="352440"/>
                    <a:pt x="24093" y="364592"/>
                    <a:pt x="18017" y="367630"/>
                  </a:cubicBezTo>
                  <a:cubicBezTo>
                    <a:pt x="14979" y="369149"/>
                    <a:pt x="10422" y="370668"/>
                    <a:pt x="5865" y="370288"/>
                  </a:cubicBezTo>
                  <a:lnTo>
                    <a:pt x="0" y="366073"/>
                  </a:lnTo>
                  <a:lnTo>
                    <a:pt x="0" y="337198"/>
                  </a:lnTo>
                  <a:close/>
                  <a:moveTo>
                    <a:pt x="1213864" y="313325"/>
                  </a:moveTo>
                  <a:cubicBezTo>
                    <a:pt x="1218042" y="314464"/>
                    <a:pt x="1222599" y="317502"/>
                    <a:pt x="1227156" y="322059"/>
                  </a:cubicBezTo>
                  <a:cubicBezTo>
                    <a:pt x="1236270" y="331173"/>
                    <a:pt x="1230194" y="340288"/>
                    <a:pt x="1221080" y="346364"/>
                  </a:cubicBezTo>
                  <a:cubicBezTo>
                    <a:pt x="1215004" y="349402"/>
                    <a:pt x="1202851" y="352440"/>
                    <a:pt x="1196775" y="340288"/>
                  </a:cubicBezTo>
                  <a:cubicBezTo>
                    <a:pt x="1190699" y="325097"/>
                    <a:pt x="1193737" y="319021"/>
                    <a:pt x="1202851" y="315983"/>
                  </a:cubicBezTo>
                  <a:cubicBezTo>
                    <a:pt x="1205889" y="312945"/>
                    <a:pt x="1209687" y="312186"/>
                    <a:pt x="1213864" y="313325"/>
                  </a:cubicBezTo>
                  <a:close/>
                  <a:moveTo>
                    <a:pt x="211313" y="313325"/>
                  </a:moveTo>
                  <a:cubicBezTo>
                    <a:pt x="215491" y="314464"/>
                    <a:pt x="220048" y="317502"/>
                    <a:pt x="224605" y="322059"/>
                  </a:cubicBezTo>
                  <a:cubicBezTo>
                    <a:pt x="233719" y="331173"/>
                    <a:pt x="227643" y="340288"/>
                    <a:pt x="218529" y="346364"/>
                  </a:cubicBezTo>
                  <a:cubicBezTo>
                    <a:pt x="212453" y="349402"/>
                    <a:pt x="200300" y="352440"/>
                    <a:pt x="194224" y="340288"/>
                  </a:cubicBezTo>
                  <a:cubicBezTo>
                    <a:pt x="188148" y="328135"/>
                    <a:pt x="191186" y="322059"/>
                    <a:pt x="200300" y="315983"/>
                  </a:cubicBezTo>
                  <a:cubicBezTo>
                    <a:pt x="203338" y="312945"/>
                    <a:pt x="207136" y="312186"/>
                    <a:pt x="211313" y="313325"/>
                  </a:cubicBezTo>
                  <a:close/>
                  <a:moveTo>
                    <a:pt x="314600" y="301172"/>
                  </a:moveTo>
                  <a:cubicBezTo>
                    <a:pt x="318778" y="302311"/>
                    <a:pt x="323335" y="305349"/>
                    <a:pt x="327892" y="309906"/>
                  </a:cubicBezTo>
                  <a:cubicBezTo>
                    <a:pt x="337006" y="319021"/>
                    <a:pt x="330930" y="328135"/>
                    <a:pt x="321816" y="334211"/>
                  </a:cubicBezTo>
                  <a:cubicBezTo>
                    <a:pt x="315740" y="337249"/>
                    <a:pt x="303587" y="340287"/>
                    <a:pt x="297511" y="328135"/>
                  </a:cubicBezTo>
                  <a:cubicBezTo>
                    <a:pt x="291435" y="315982"/>
                    <a:pt x="294473" y="309906"/>
                    <a:pt x="303587" y="303830"/>
                  </a:cubicBezTo>
                  <a:cubicBezTo>
                    <a:pt x="306625" y="300792"/>
                    <a:pt x="310423" y="300033"/>
                    <a:pt x="314600" y="301172"/>
                  </a:cubicBezTo>
                  <a:close/>
                  <a:moveTo>
                    <a:pt x="982972" y="298134"/>
                  </a:moveTo>
                  <a:cubicBezTo>
                    <a:pt x="987150" y="299273"/>
                    <a:pt x="991707" y="302311"/>
                    <a:pt x="996264" y="306868"/>
                  </a:cubicBezTo>
                  <a:cubicBezTo>
                    <a:pt x="1005378" y="315982"/>
                    <a:pt x="999302" y="325097"/>
                    <a:pt x="990188" y="331173"/>
                  </a:cubicBezTo>
                  <a:cubicBezTo>
                    <a:pt x="984111" y="334211"/>
                    <a:pt x="971959" y="337249"/>
                    <a:pt x="965883" y="325097"/>
                  </a:cubicBezTo>
                  <a:cubicBezTo>
                    <a:pt x="959807" y="312944"/>
                    <a:pt x="962845" y="306868"/>
                    <a:pt x="971959" y="300792"/>
                  </a:cubicBezTo>
                  <a:cubicBezTo>
                    <a:pt x="974997" y="297754"/>
                    <a:pt x="978795" y="296995"/>
                    <a:pt x="982972" y="298134"/>
                  </a:cubicBezTo>
                  <a:close/>
                  <a:moveTo>
                    <a:pt x="417898" y="298134"/>
                  </a:moveTo>
                  <a:cubicBezTo>
                    <a:pt x="422075" y="299273"/>
                    <a:pt x="426630" y="302311"/>
                    <a:pt x="431187" y="306868"/>
                  </a:cubicBezTo>
                  <a:cubicBezTo>
                    <a:pt x="440300" y="315982"/>
                    <a:pt x="434224" y="325097"/>
                    <a:pt x="425112" y="331173"/>
                  </a:cubicBezTo>
                  <a:cubicBezTo>
                    <a:pt x="419036" y="334211"/>
                    <a:pt x="406884" y="337249"/>
                    <a:pt x="400806" y="325097"/>
                  </a:cubicBezTo>
                  <a:cubicBezTo>
                    <a:pt x="394729" y="312944"/>
                    <a:pt x="394729" y="306868"/>
                    <a:pt x="406884" y="300792"/>
                  </a:cubicBezTo>
                  <a:cubicBezTo>
                    <a:pt x="409923" y="297754"/>
                    <a:pt x="413721" y="296995"/>
                    <a:pt x="417898" y="298134"/>
                  </a:cubicBezTo>
                  <a:close/>
                  <a:moveTo>
                    <a:pt x="858411" y="295096"/>
                  </a:moveTo>
                  <a:cubicBezTo>
                    <a:pt x="862589" y="296235"/>
                    <a:pt x="867146" y="299273"/>
                    <a:pt x="871703" y="303830"/>
                  </a:cubicBezTo>
                  <a:cubicBezTo>
                    <a:pt x="880817" y="312944"/>
                    <a:pt x="874741" y="322059"/>
                    <a:pt x="865627" y="328135"/>
                  </a:cubicBezTo>
                  <a:cubicBezTo>
                    <a:pt x="859550" y="331173"/>
                    <a:pt x="847398" y="334211"/>
                    <a:pt x="841322" y="322059"/>
                  </a:cubicBezTo>
                  <a:cubicBezTo>
                    <a:pt x="835246" y="309906"/>
                    <a:pt x="838284" y="303830"/>
                    <a:pt x="847398" y="297754"/>
                  </a:cubicBezTo>
                  <a:cubicBezTo>
                    <a:pt x="850436" y="294716"/>
                    <a:pt x="854234" y="293957"/>
                    <a:pt x="858411" y="295096"/>
                  </a:cubicBezTo>
                  <a:close/>
                  <a:moveTo>
                    <a:pt x="1095380" y="292058"/>
                  </a:moveTo>
                  <a:cubicBezTo>
                    <a:pt x="1099558" y="293197"/>
                    <a:pt x="1104115" y="296235"/>
                    <a:pt x="1108672" y="300792"/>
                  </a:cubicBezTo>
                  <a:cubicBezTo>
                    <a:pt x="1117786" y="309906"/>
                    <a:pt x="1111710" y="319021"/>
                    <a:pt x="1102596" y="325097"/>
                  </a:cubicBezTo>
                  <a:cubicBezTo>
                    <a:pt x="1096520" y="328135"/>
                    <a:pt x="1084367" y="331173"/>
                    <a:pt x="1078291" y="319021"/>
                  </a:cubicBezTo>
                  <a:cubicBezTo>
                    <a:pt x="1072215" y="303830"/>
                    <a:pt x="1075253" y="297754"/>
                    <a:pt x="1084367" y="294716"/>
                  </a:cubicBezTo>
                  <a:cubicBezTo>
                    <a:pt x="1087405" y="291678"/>
                    <a:pt x="1091203" y="290919"/>
                    <a:pt x="1095380" y="292058"/>
                  </a:cubicBezTo>
                  <a:close/>
                  <a:moveTo>
                    <a:pt x="108024" y="289020"/>
                  </a:moveTo>
                  <a:cubicBezTo>
                    <a:pt x="112201" y="290159"/>
                    <a:pt x="116759" y="293197"/>
                    <a:pt x="121316" y="297754"/>
                  </a:cubicBezTo>
                  <a:cubicBezTo>
                    <a:pt x="130429" y="306868"/>
                    <a:pt x="124354" y="315983"/>
                    <a:pt x="115240" y="322059"/>
                  </a:cubicBezTo>
                  <a:cubicBezTo>
                    <a:pt x="109164" y="325097"/>
                    <a:pt x="97011" y="328135"/>
                    <a:pt x="90935" y="315983"/>
                  </a:cubicBezTo>
                  <a:cubicBezTo>
                    <a:pt x="84859" y="300792"/>
                    <a:pt x="87897" y="294716"/>
                    <a:pt x="97011" y="291678"/>
                  </a:cubicBezTo>
                  <a:cubicBezTo>
                    <a:pt x="100049" y="288640"/>
                    <a:pt x="103846" y="287881"/>
                    <a:pt x="108024" y="289020"/>
                  </a:cubicBezTo>
                  <a:close/>
                  <a:moveTo>
                    <a:pt x="533338" y="270792"/>
                  </a:moveTo>
                  <a:cubicBezTo>
                    <a:pt x="537516" y="271931"/>
                    <a:pt x="542073" y="274969"/>
                    <a:pt x="546630" y="279526"/>
                  </a:cubicBezTo>
                  <a:cubicBezTo>
                    <a:pt x="555744" y="288640"/>
                    <a:pt x="549668" y="297755"/>
                    <a:pt x="540554" y="303831"/>
                  </a:cubicBezTo>
                  <a:cubicBezTo>
                    <a:pt x="534478" y="306869"/>
                    <a:pt x="522328" y="309907"/>
                    <a:pt x="516251" y="297755"/>
                  </a:cubicBezTo>
                  <a:cubicBezTo>
                    <a:pt x="510175" y="285602"/>
                    <a:pt x="513213" y="276488"/>
                    <a:pt x="522328" y="273450"/>
                  </a:cubicBezTo>
                  <a:cubicBezTo>
                    <a:pt x="525363" y="270412"/>
                    <a:pt x="529161" y="269653"/>
                    <a:pt x="533338" y="270792"/>
                  </a:cubicBezTo>
                  <a:close/>
                  <a:moveTo>
                    <a:pt x="633594" y="261678"/>
                  </a:moveTo>
                  <a:cubicBezTo>
                    <a:pt x="637772" y="262817"/>
                    <a:pt x="642329" y="265855"/>
                    <a:pt x="646886" y="270412"/>
                  </a:cubicBezTo>
                  <a:cubicBezTo>
                    <a:pt x="656000" y="279526"/>
                    <a:pt x="646886" y="291679"/>
                    <a:pt x="640810" y="294717"/>
                  </a:cubicBezTo>
                  <a:cubicBezTo>
                    <a:pt x="634734" y="297755"/>
                    <a:pt x="622581" y="300793"/>
                    <a:pt x="616505" y="288641"/>
                  </a:cubicBezTo>
                  <a:cubicBezTo>
                    <a:pt x="610429" y="276488"/>
                    <a:pt x="613467" y="267374"/>
                    <a:pt x="622581" y="264336"/>
                  </a:cubicBezTo>
                  <a:cubicBezTo>
                    <a:pt x="625619" y="261298"/>
                    <a:pt x="629417" y="260539"/>
                    <a:pt x="633594" y="261678"/>
                  </a:cubicBezTo>
                  <a:close/>
                  <a:moveTo>
                    <a:pt x="746003" y="258640"/>
                  </a:moveTo>
                  <a:cubicBezTo>
                    <a:pt x="750181" y="259779"/>
                    <a:pt x="754738" y="262817"/>
                    <a:pt x="759295" y="267374"/>
                  </a:cubicBezTo>
                  <a:cubicBezTo>
                    <a:pt x="768409" y="276488"/>
                    <a:pt x="759295" y="288641"/>
                    <a:pt x="753219" y="291679"/>
                  </a:cubicBezTo>
                  <a:cubicBezTo>
                    <a:pt x="747143" y="294717"/>
                    <a:pt x="734990" y="297755"/>
                    <a:pt x="728914" y="285603"/>
                  </a:cubicBezTo>
                  <a:cubicBezTo>
                    <a:pt x="722838" y="270412"/>
                    <a:pt x="725876" y="264336"/>
                    <a:pt x="734990" y="261298"/>
                  </a:cubicBezTo>
                  <a:cubicBezTo>
                    <a:pt x="738028" y="258260"/>
                    <a:pt x="741826" y="257500"/>
                    <a:pt x="746003" y="258640"/>
                  </a:cubicBezTo>
                  <a:close/>
                  <a:moveTo>
                    <a:pt x="1301968" y="225221"/>
                  </a:moveTo>
                  <a:cubicBezTo>
                    <a:pt x="1306146" y="226360"/>
                    <a:pt x="1310703" y="229398"/>
                    <a:pt x="1315260" y="233955"/>
                  </a:cubicBezTo>
                  <a:cubicBezTo>
                    <a:pt x="1324374" y="243069"/>
                    <a:pt x="1315260" y="255222"/>
                    <a:pt x="1309184" y="258260"/>
                  </a:cubicBezTo>
                  <a:cubicBezTo>
                    <a:pt x="1303107" y="261298"/>
                    <a:pt x="1290955" y="264336"/>
                    <a:pt x="1284879" y="252184"/>
                  </a:cubicBezTo>
                  <a:cubicBezTo>
                    <a:pt x="1278803" y="240031"/>
                    <a:pt x="1281841" y="233955"/>
                    <a:pt x="1290955" y="227879"/>
                  </a:cubicBezTo>
                  <a:cubicBezTo>
                    <a:pt x="1293993" y="224841"/>
                    <a:pt x="1297791" y="224081"/>
                    <a:pt x="1301968" y="225221"/>
                  </a:cubicBezTo>
                  <a:close/>
                  <a:moveTo>
                    <a:pt x="7756" y="225221"/>
                  </a:moveTo>
                  <a:cubicBezTo>
                    <a:pt x="11933" y="226360"/>
                    <a:pt x="16491" y="229398"/>
                    <a:pt x="21048" y="233955"/>
                  </a:cubicBezTo>
                  <a:cubicBezTo>
                    <a:pt x="30162" y="243069"/>
                    <a:pt x="21048" y="255222"/>
                    <a:pt x="14972" y="258260"/>
                  </a:cubicBezTo>
                  <a:cubicBezTo>
                    <a:pt x="11934" y="259779"/>
                    <a:pt x="7376" y="261298"/>
                    <a:pt x="2819" y="260918"/>
                  </a:cubicBezTo>
                  <a:lnTo>
                    <a:pt x="0" y="258892"/>
                  </a:lnTo>
                  <a:lnTo>
                    <a:pt x="0" y="227093"/>
                  </a:lnTo>
                  <a:close/>
                  <a:moveTo>
                    <a:pt x="180938" y="210031"/>
                  </a:moveTo>
                  <a:cubicBezTo>
                    <a:pt x="185115" y="211170"/>
                    <a:pt x="189672" y="214208"/>
                    <a:pt x="194229" y="218765"/>
                  </a:cubicBezTo>
                  <a:cubicBezTo>
                    <a:pt x="203343" y="227879"/>
                    <a:pt x="194229" y="240032"/>
                    <a:pt x="188153" y="243070"/>
                  </a:cubicBezTo>
                  <a:cubicBezTo>
                    <a:pt x="182077" y="246108"/>
                    <a:pt x="169925" y="249146"/>
                    <a:pt x="163849" y="236994"/>
                  </a:cubicBezTo>
                  <a:cubicBezTo>
                    <a:pt x="157773" y="224841"/>
                    <a:pt x="160811" y="215727"/>
                    <a:pt x="169925" y="212689"/>
                  </a:cubicBezTo>
                  <a:cubicBezTo>
                    <a:pt x="172962" y="209651"/>
                    <a:pt x="176760" y="208891"/>
                    <a:pt x="180938" y="210031"/>
                  </a:cubicBezTo>
                  <a:close/>
                  <a:moveTo>
                    <a:pt x="1183484" y="203954"/>
                  </a:moveTo>
                  <a:cubicBezTo>
                    <a:pt x="1187662" y="205093"/>
                    <a:pt x="1192219" y="208131"/>
                    <a:pt x="1196776" y="212688"/>
                  </a:cubicBezTo>
                  <a:cubicBezTo>
                    <a:pt x="1205890" y="221802"/>
                    <a:pt x="1199814" y="230917"/>
                    <a:pt x="1190700" y="236993"/>
                  </a:cubicBezTo>
                  <a:cubicBezTo>
                    <a:pt x="1184624" y="240031"/>
                    <a:pt x="1172471" y="243069"/>
                    <a:pt x="1166395" y="230917"/>
                  </a:cubicBezTo>
                  <a:cubicBezTo>
                    <a:pt x="1160319" y="218764"/>
                    <a:pt x="1160319" y="212688"/>
                    <a:pt x="1172471" y="206612"/>
                  </a:cubicBezTo>
                  <a:cubicBezTo>
                    <a:pt x="1175509" y="203574"/>
                    <a:pt x="1179307" y="202814"/>
                    <a:pt x="1183484" y="203954"/>
                  </a:cubicBezTo>
                  <a:close/>
                  <a:moveTo>
                    <a:pt x="946515" y="197878"/>
                  </a:moveTo>
                  <a:cubicBezTo>
                    <a:pt x="950693" y="199017"/>
                    <a:pt x="955250" y="202055"/>
                    <a:pt x="959807" y="206612"/>
                  </a:cubicBezTo>
                  <a:cubicBezTo>
                    <a:pt x="968921" y="215726"/>
                    <a:pt x="962845" y="224841"/>
                    <a:pt x="953731" y="230917"/>
                  </a:cubicBezTo>
                  <a:cubicBezTo>
                    <a:pt x="947655" y="233955"/>
                    <a:pt x="935502" y="236993"/>
                    <a:pt x="929426" y="224841"/>
                  </a:cubicBezTo>
                  <a:cubicBezTo>
                    <a:pt x="923350" y="209650"/>
                    <a:pt x="926388" y="203574"/>
                    <a:pt x="935502" y="200536"/>
                  </a:cubicBezTo>
                  <a:cubicBezTo>
                    <a:pt x="938540" y="197498"/>
                    <a:pt x="942338" y="196739"/>
                    <a:pt x="946515" y="197878"/>
                  </a:cubicBezTo>
                  <a:close/>
                  <a:moveTo>
                    <a:pt x="466501" y="197878"/>
                  </a:moveTo>
                  <a:cubicBezTo>
                    <a:pt x="470678" y="199017"/>
                    <a:pt x="475236" y="202055"/>
                    <a:pt x="479793" y="206612"/>
                  </a:cubicBezTo>
                  <a:cubicBezTo>
                    <a:pt x="488908" y="215726"/>
                    <a:pt x="479793" y="227879"/>
                    <a:pt x="473717" y="230917"/>
                  </a:cubicBezTo>
                  <a:cubicBezTo>
                    <a:pt x="467641" y="233955"/>
                    <a:pt x="455486" y="236993"/>
                    <a:pt x="449412" y="224841"/>
                  </a:cubicBezTo>
                  <a:cubicBezTo>
                    <a:pt x="443337" y="212688"/>
                    <a:pt x="446374" y="206612"/>
                    <a:pt x="455486" y="200536"/>
                  </a:cubicBezTo>
                  <a:cubicBezTo>
                    <a:pt x="458524" y="197498"/>
                    <a:pt x="462322" y="196739"/>
                    <a:pt x="466501" y="197878"/>
                  </a:cubicBezTo>
                  <a:close/>
                  <a:moveTo>
                    <a:pt x="323717" y="197878"/>
                  </a:moveTo>
                  <a:cubicBezTo>
                    <a:pt x="327895" y="199017"/>
                    <a:pt x="332452" y="202055"/>
                    <a:pt x="337009" y="206612"/>
                  </a:cubicBezTo>
                  <a:cubicBezTo>
                    <a:pt x="346123" y="215726"/>
                    <a:pt x="337009" y="227879"/>
                    <a:pt x="330933" y="230917"/>
                  </a:cubicBezTo>
                  <a:cubicBezTo>
                    <a:pt x="324857" y="233955"/>
                    <a:pt x="312704" y="236993"/>
                    <a:pt x="306628" y="224841"/>
                  </a:cubicBezTo>
                  <a:cubicBezTo>
                    <a:pt x="300552" y="209650"/>
                    <a:pt x="303590" y="203574"/>
                    <a:pt x="312704" y="200536"/>
                  </a:cubicBezTo>
                  <a:cubicBezTo>
                    <a:pt x="315742" y="197498"/>
                    <a:pt x="319540" y="196739"/>
                    <a:pt x="323717" y="197878"/>
                  </a:cubicBezTo>
                  <a:close/>
                  <a:moveTo>
                    <a:pt x="1074113" y="188764"/>
                  </a:moveTo>
                  <a:cubicBezTo>
                    <a:pt x="1078291" y="189903"/>
                    <a:pt x="1082848" y="192941"/>
                    <a:pt x="1087405" y="197498"/>
                  </a:cubicBezTo>
                  <a:cubicBezTo>
                    <a:pt x="1096519" y="206612"/>
                    <a:pt x="1087405" y="218765"/>
                    <a:pt x="1081329" y="221803"/>
                  </a:cubicBezTo>
                  <a:cubicBezTo>
                    <a:pt x="1075252" y="224841"/>
                    <a:pt x="1063100" y="227879"/>
                    <a:pt x="1057024" y="215727"/>
                  </a:cubicBezTo>
                  <a:cubicBezTo>
                    <a:pt x="1050948" y="200536"/>
                    <a:pt x="1053986" y="194460"/>
                    <a:pt x="1063100" y="191422"/>
                  </a:cubicBezTo>
                  <a:cubicBezTo>
                    <a:pt x="1066138" y="188384"/>
                    <a:pt x="1069936" y="187625"/>
                    <a:pt x="1074113" y="188764"/>
                  </a:cubicBezTo>
                  <a:close/>
                  <a:moveTo>
                    <a:pt x="846259" y="188764"/>
                  </a:moveTo>
                  <a:cubicBezTo>
                    <a:pt x="850437" y="189903"/>
                    <a:pt x="854994" y="192941"/>
                    <a:pt x="859551" y="197498"/>
                  </a:cubicBezTo>
                  <a:cubicBezTo>
                    <a:pt x="868665" y="206612"/>
                    <a:pt x="862589" y="215727"/>
                    <a:pt x="853475" y="221803"/>
                  </a:cubicBezTo>
                  <a:cubicBezTo>
                    <a:pt x="847399" y="224841"/>
                    <a:pt x="835246" y="227879"/>
                    <a:pt x="829170" y="215727"/>
                  </a:cubicBezTo>
                  <a:cubicBezTo>
                    <a:pt x="823094" y="203574"/>
                    <a:pt x="826132" y="194460"/>
                    <a:pt x="835246" y="191422"/>
                  </a:cubicBezTo>
                  <a:cubicBezTo>
                    <a:pt x="838284" y="188384"/>
                    <a:pt x="842082" y="187624"/>
                    <a:pt x="846259" y="188764"/>
                  </a:cubicBezTo>
                  <a:close/>
                  <a:moveTo>
                    <a:pt x="694356" y="164460"/>
                  </a:moveTo>
                  <a:cubicBezTo>
                    <a:pt x="698534" y="165599"/>
                    <a:pt x="703091" y="168637"/>
                    <a:pt x="707648" y="173194"/>
                  </a:cubicBezTo>
                  <a:cubicBezTo>
                    <a:pt x="716762" y="182308"/>
                    <a:pt x="710686" y="191423"/>
                    <a:pt x="701572" y="197499"/>
                  </a:cubicBezTo>
                  <a:cubicBezTo>
                    <a:pt x="695496" y="200537"/>
                    <a:pt x="683343" y="203575"/>
                    <a:pt x="677267" y="191423"/>
                  </a:cubicBezTo>
                  <a:cubicBezTo>
                    <a:pt x="671191" y="179270"/>
                    <a:pt x="674229" y="173194"/>
                    <a:pt x="683343" y="167118"/>
                  </a:cubicBezTo>
                  <a:cubicBezTo>
                    <a:pt x="686381" y="164080"/>
                    <a:pt x="690179" y="163321"/>
                    <a:pt x="694356" y="164460"/>
                  </a:cubicBezTo>
                  <a:close/>
                  <a:moveTo>
                    <a:pt x="77635" y="152307"/>
                  </a:moveTo>
                  <a:cubicBezTo>
                    <a:pt x="81812" y="153446"/>
                    <a:pt x="86370" y="156484"/>
                    <a:pt x="90926" y="161041"/>
                  </a:cubicBezTo>
                  <a:cubicBezTo>
                    <a:pt x="100040" y="170155"/>
                    <a:pt x="93964" y="179270"/>
                    <a:pt x="84851" y="185346"/>
                  </a:cubicBezTo>
                  <a:cubicBezTo>
                    <a:pt x="78775" y="188384"/>
                    <a:pt x="66622" y="191422"/>
                    <a:pt x="60546" y="179270"/>
                  </a:cubicBezTo>
                  <a:cubicBezTo>
                    <a:pt x="54470" y="167117"/>
                    <a:pt x="57508" y="158003"/>
                    <a:pt x="66622" y="154965"/>
                  </a:cubicBezTo>
                  <a:cubicBezTo>
                    <a:pt x="69660" y="151927"/>
                    <a:pt x="73457" y="151167"/>
                    <a:pt x="77635" y="152307"/>
                  </a:cubicBezTo>
                  <a:close/>
                  <a:moveTo>
                    <a:pt x="1377919" y="146231"/>
                  </a:moveTo>
                  <a:cubicBezTo>
                    <a:pt x="1382097" y="147370"/>
                    <a:pt x="1386654" y="150408"/>
                    <a:pt x="1391211" y="154965"/>
                  </a:cubicBezTo>
                  <a:cubicBezTo>
                    <a:pt x="1400325" y="164079"/>
                    <a:pt x="1394249" y="173194"/>
                    <a:pt x="1385135" y="179270"/>
                  </a:cubicBezTo>
                  <a:cubicBezTo>
                    <a:pt x="1379058" y="182308"/>
                    <a:pt x="1366906" y="185346"/>
                    <a:pt x="1360830" y="173194"/>
                  </a:cubicBezTo>
                  <a:cubicBezTo>
                    <a:pt x="1354754" y="161041"/>
                    <a:pt x="1357792" y="154965"/>
                    <a:pt x="1366906" y="148889"/>
                  </a:cubicBezTo>
                  <a:cubicBezTo>
                    <a:pt x="1369944" y="145851"/>
                    <a:pt x="1373742" y="145092"/>
                    <a:pt x="1377919" y="146231"/>
                  </a:cubicBezTo>
                  <a:close/>
                  <a:moveTo>
                    <a:pt x="588024" y="143193"/>
                  </a:moveTo>
                  <a:cubicBezTo>
                    <a:pt x="592202" y="144332"/>
                    <a:pt x="596759" y="147370"/>
                    <a:pt x="601316" y="151927"/>
                  </a:cubicBezTo>
                  <a:cubicBezTo>
                    <a:pt x="610430" y="161041"/>
                    <a:pt x="604354" y="170156"/>
                    <a:pt x="595240" y="176232"/>
                  </a:cubicBezTo>
                  <a:cubicBezTo>
                    <a:pt x="589164" y="179270"/>
                    <a:pt x="577011" y="182308"/>
                    <a:pt x="570935" y="170156"/>
                  </a:cubicBezTo>
                  <a:cubicBezTo>
                    <a:pt x="564859" y="154965"/>
                    <a:pt x="567897" y="148889"/>
                    <a:pt x="577011" y="145851"/>
                  </a:cubicBezTo>
                  <a:cubicBezTo>
                    <a:pt x="580049" y="142813"/>
                    <a:pt x="583847" y="142053"/>
                    <a:pt x="588024" y="143193"/>
                  </a:cubicBezTo>
                  <a:close/>
                  <a:moveTo>
                    <a:pt x="241687" y="128003"/>
                  </a:moveTo>
                  <a:cubicBezTo>
                    <a:pt x="245865" y="129142"/>
                    <a:pt x="250422" y="132180"/>
                    <a:pt x="254979" y="136737"/>
                  </a:cubicBezTo>
                  <a:cubicBezTo>
                    <a:pt x="264093" y="145851"/>
                    <a:pt x="258017" y="154966"/>
                    <a:pt x="248903" y="161042"/>
                  </a:cubicBezTo>
                  <a:cubicBezTo>
                    <a:pt x="242827" y="164080"/>
                    <a:pt x="230674" y="167118"/>
                    <a:pt x="224598" y="154966"/>
                  </a:cubicBezTo>
                  <a:cubicBezTo>
                    <a:pt x="218522" y="139775"/>
                    <a:pt x="221560" y="133699"/>
                    <a:pt x="230674" y="130661"/>
                  </a:cubicBezTo>
                  <a:cubicBezTo>
                    <a:pt x="233712" y="127623"/>
                    <a:pt x="237510" y="126864"/>
                    <a:pt x="241687" y="128003"/>
                  </a:cubicBezTo>
                  <a:close/>
                  <a:moveTo>
                    <a:pt x="1259435" y="124965"/>
                  </a:moveTo>
                  <a:cubicBezTo>
                    <a:pt x="1263613" y="126104"/>
                    <a:pt x="1268170" y="129142"/>
                    <a:pt x="1272727" y="133699"/>
                  </a:cubicBezTo>
                  <a:cubicBezTo>
                    <a:pt x="1281841" y="142813"/>
                    <a:pt x="1272727" y="154966"/>
                    <a:pt x="1266651" y="158004"/>
                  </a:cubicBezTo>
                  <a:cubicBezTo>
                    <a:pt x="1260575" y="161042"/>
                    <a:pt x="1248422" y="164080"/>
                    <a:pt x="1242346" y="151928"/>
                  </a:cubicBezTo>
                  <a:cubicBezTo>
                    <a:pt x="1236270" y="136737"/>
                    <a:pt x="1239308" y="130661"/>
                    <a:pt x="1248422" y="127623"/>
                  </a:cubicBezTo>
                  <a:cubicBezTo>
                    <a:pt x="1251460" y="124585"/>
                    <a:pt x="1255258" y="123825"/>
                    <a:pt x="1259435" y="124965"/>
                  </a:cubicBezTo>
                  <a:close/>
                  <a:moveTo>
                    <a:pt x="399672" y="118889"/>
                  </a:moveTo>
                  <a:cubicBezTo>
                    <a:pt x="403852" y="120028"/>
                    <a:pt x="408409" y="123066"/>
                    <a:pt x="412966" y="127623"/>
                  </a:cubicBezTo>
                  <a:cubicBezTo>
                    <a:pt x="422078" y="136737"/>
                    <a:pt x="416004" y="145852"/>
                    <a:pt x="406890" y="151928"/>
                  </a:cubicBezTo>
                  <a:cubicBezTo>
                    <a:pt x="400812" y="154966"/>
                    <a:pt x="388658" y="158004"/>
                    <a:pt x="382584" y="145852"/>
                  </a:cubicBezTo>
                  <a:cubicBezTo>
                    <a:pt x="376513" y="133699"/>
                    <a:pt x="379551" y="127623"/>
                    <a:pt x="388658" y="121547"/>
                  </a:cubicBezTo>
                  <a:cubicBezTo>
                    <a:pt x="391694" y="118509"/>
                    <a:pt x="395492" y="117750"/>
                    <a:pt x="399672" y="118889"/>
                  </a:cubicBezTo>
                  <a:close/>
                  <a:moveTo>
                    <a:pt x="1004238" y="112813"/>
                  </a:moveTo>
                  <a:cubicBezTo>
                    <a:pt x="1008416" y="113952"/>
                    <a:pt x="1012973" y="116990"/>
                    <a:pt x="1017530" y="121547"/>
                  </a:cubicBezTo>
                  <a:cubicBezTo>
                    <a:pt x="1026644" y="130661"/>
                    <a:pt x="1020568" y="139776"/>
                    <a:pt x="1011454" y="145852"/>
                  </a:cubicBezTo>
                  <a:cubicBezTo>
                    <a:pt x="1005378" y="148890"/>
                    <a:pt x="993225" y="151928"/>
                    <a:pt x="987149" y="139776"/>
                  </a:cubicBezTo>
                  <a:cubicBezTo>
                    <a:pt x="981073" y="127623"/>
                    <a:pt x="984111" y="121547"/>
                    <a:pt x="993225" y="115471"/>
                  </a:cubicBezTo>
                  <a:cubicBezTo>
                    <a:pt x="996263" y="112433"/>
                    <a:pt x="1000061" y="111674"/>
                    <a:pt x="1004238" y="112813"/>
                  </a:cubicBezTo>
                  <a:close/>
                  <a:moveTo>
                    <a:pt x="800688" y="97622"/>
                  </a:moveTo>
                  <a:cubicBezTo>
                    <a:pt x="804866" y="98761"/>
                    <a:pt x="809423" y="101799"/>
                    <a:pt x="813980" y="106356"/>
                  </a:cubicBezTo>
                  <a:cubicBezTo>
                    <a:pt x="823094" y="115470"/>
                    <a:pt x="817018" y="124585"/>
                    <a:pt x="807904" y="130661"/>
                  </a:cubicBezTo>
                  <a:cubicBezTo>
                    <a:pt x="801828" y="133699"/>
                    <a:pt x="789675" y="136737"/>
                    <a:pt x="783599" y="124585"/>
                  </a:cubicBezTo>
                  <a:cubicBezTo>
                    <a:pt x="777523" y="112432"/>
                    <a:pt x="780561" y="106356"/>
                    <a:pt x="789675" y="100280"/>
                  </a:cubicBezTo>
                  <a:cubicBezTo>
                    <a:pt x="792713" y="97242"/>
                    <a:pt x="796511" y="96482"/>
                    <a:pt x="800688" y="97622"/>
                  </a:cubicBezTo>
                  <a:close/>
                  <a:moveTo>
                    <a:pt x="1128799" y="85470"/>
                  </a:moveTo>
                  <a:cubicBezTo>
                    <a:pt x="1132976" y="86609"/>
                    <a:pt x="1137533" y="89647"/>
                    <a:pt x="1142090" y="94204"/>
                  </a:cubicBezTo>
                  <a:cubicBezTo>
                    <a:pt x="1151204" y="103318"/>
                    <a:pt x="1142090" y="115471"/>
                    <a:pt x="1136014" y="118509"/>
                  </a:cubicBezTo>
                  <a:cubicBezTo>
                    <a:pt x="1129938" y="121547"/>
                    <a:pt x="1117785" y="124585"/>
                    <a:pt x="1111709" y="112433"/>
                  </a:cubicBezTo>
                  <a:cubicBezTo>
                    <a:pt x="1105633" y="97242"/>
                    <a:pt x="1108671" y="91166"/>
                    <a:pt x="1117785" y="88128"/>
                  </a:cubicBezTo>
                  <a:cubicBezTo>
                    <a:pt x="1120824" y="85090"/>
                    <a:pt x="1124621" y="84331"/>
                    <a:pt x="1128799" y="85470"/>
                  </a:cubicBezTo>
                  <a:close/>
                  <a:moveTo>
                    <a:pt x="515112" y="85470"/>
                  </a:moveTo>
                  <a:cubicBezTo>
                    <a:pt x="519291" y="86609"/>
                    <a:pt x="523848" y="89647"/>
                    <a:pt x="528402" y="94204"/>
                  </a:cubicBezTo>
                  <a:cubicBezTo>
                    <a:pt x="537516" y="103318"/>
                    <a:pt x="531440" y="112433"/>
                    <a:pt x="522328" y="118509"/>
                  </a:cubicBezTo>
                  <a:cubicBezTo>
                    <a:pt x="516251" y="121547"/>
                    <a:pt x="504099" y="124585"/>
                    <a:pt x="498023" y="112433"/>
                  </a:cubicBezTo>
                  <a:cubicBezTo>
                    <a:pt x="491947" y="100280"/>
                    <a:pt x="491947" y="94204"/>
                    <a:pt x="504099" y="88128"/>
                  </a:cubicBezTo>
                  <a:cubicBezTo>
                    <a:pt x="507138" y="85090"/>
                    <a:pt x="510935" y="84331"/>
                    <a:pt x="515112" y="85470"/>
                  </a:cubicBezTo>
                  <a:close/>
                  <a:moveTo>
                    <a:pt x="682203" y="73318"/>
                  </a:moveTo>
                  <a:cubicBezTo>
                    <a:pt x="686381" y="74457"/>
                    <a:pt x="690938" y="77495"/>
                    <a:pt x="695495" y="82052"/>
                  </a:cubicBezTo>
                  <a:cubicBezTo>
                    <a:pt x="704609" y="91166"/>
                    <a:pt x="698533" y="100281"/>
                    <a:pt x="689419" y="106357"/>
                  </a:cubicBezTo>
                  <a:cubicBezTo>
                    <a:pt x="683343" y="109395"/>
                    <a:pt x="671190" y="112433"/>
                    <a:pt x="665114" y="100281"/>
                  </a:cubicBezTo>
                  <a:cubicBezTo>
                    <a:pt x="659038" y="88128"/>
                    <a:pt x="662076" y="79014"/>
                    <a:pt x="671190" y="75976"/>
                  </a:cubicBezTo>
                  <a:cubicBezTo>
                    <a:pt x="674228" y="72938"/>
                    <a:pt x="678026" y="72178"/>
                    <a:pt x="682203" y="73318"/>
                  </a:cubicBezTo>
                  <a:close/>
                  <a:moveTo>
                    <a:pt x="159669" y="67242"/>
                  </a:moveTo>
                  <a:cubicBezTo>
                    <a:pt x="163846" y="68381"/>
                    <a:pt x="168403" y="71419"/>
                    <a:pt x="172960" y="75976"/>
                  </a:cubicBezTo>
                  <a:cubicBezTo>
                    <a:pt x="182074" y="85090"/>
                    <a:pt x="175998" y="94205"/>
                    <a:pt x="166884" y="100281"/>
                  </a:cubicBezTo>
                  <a:cubicBezTo>
                    <a:pt x="160807" y="103319"/>
                    <a:pt x="148655" y="106357"/>
                    <a:pt x="142579" y="94205"/>
                  </a:cubicBezTo>
                  <a:cubicBezTo>
                    <a:pt x="136504" y="82052"/>
                    <a:pt x="139542" y="75976"/>
                    <a:pt x="148655" y="69900"/>
                  </a:cubicBezTo>
                  <a:cubicBezTo>
                    <a:pt x="151694" y="66862"/>
                    <a:pt x="155491" y="66102"/>
                    <a:pt x="159669" y="67242"/>
                  </a:cubicBezTo>
                  <a:close/>
                  <a:moveTo>
                    <a:pt x="1453871" y="58127"/>
                  </a:moveTo>
                  <a:cubicBezTo>
                    <a:pt x="1458049" y="59266"/>
                    <a:pt x="1462606" y="62304"/>
                    <a:pt x="1467163" y="66861"/>
                  </a:cubicBezTo>
                  <a:cubicBezTo>
                    <a:pt x="1476277" y="75975"/>
                    <a:pt x="1467163" y="88128"/>
                    <a:pt x="1461087" y="91166"/>
                  </a:cubicBezTo>
                  <a:cubicBezTo>
                    <a:pt x="1455010" y="94204"/>
                    <a:pt x="1442858" y="97242"/>
                    <a:pt x="1436782" y="85090"/>
                  </a:cubicBezTo>
                  <a:cubicBezTo>
                    <a:pt x="1430706" y="72937"/>
                    <a:pt x="1430706" y="66861"/>
                    <a:pt x="1442858" y="60785"/>
                  </a:cubicBezTo>
                  <a:cubicBezTo>
                    <a:pt x="1445896" y="57747"/>
                    <a:pt x="1449694" y="56987"/>
                    <a:pt x="1453871" y="58127"/>
                  </a:cubicBezTo>
                  <a:close/>
                  <a:moveTo>
                    <a:pt x="47254" y="58127"/>
                  </a:moveTo>
                  <a:cubicBezTo>
                    <a:pt x="51432" y="59266"/>
                    <a:pt x="55989" y="62304"/>
                    <a:pt x="60546" y="66861"/>
                  </a:cubicBezTo>
                  <a:cubicBezTo>
                    <a:pt x="69660" y="75975"/>
                    <a:pt x="63584" y="85090"/>
                    <a:pt x="54470" y="91166"/>
                  </a:cubicBezTo>
                  <a:cubicBezTo>
                    <a:pt x="48394" y="94204"/>
                    <a:pt x="36241" y="97242"/>
                    <a:pt x="30165" y="85090"/>
                  </a:cubicBezTo>
                  <a:cubicBezTo>
                    <a:pt x="24089" y="72937"/>
                    <a:pt x="24089" y="66861"/>
                    <a:pt x="36241" y="60785"/>
                  </a:cubicBezTo>
                  <a:cubicBezTo>
                    <a:pt x="39279" y="57747"/>
                    <a:pt x="43077" y="56987"/>
                    <a:pt x="47254" y="58127"/>
                  </a:cubicBezTo>
                  <a:close/>
                  <a:moveTo>
                    <a:pt x="314611" y="55089"/>
                  </a:moveTo>
                  <a:cubicBezTo>
                    <a:pt x="318789" y="56228"/>
                    <a:pt x="323346" y="59266"/>
                    <a:pt x="327903" y="63823"/>
                  </a:cubicBezTo>
                  <a:cubicBezTo>
                    <a:pt x="337017" y="72937"/>
                    <a:pt x="327903" y="85090"/>
                    <a:pt x="321827" y="88128"/>
                  </a:cubicBezTo>
                  <a:cubicBezTo>
                    <a:pt x="315751" y="91166"/>
                    <a:pt x="303598" y="94204"/>
                    <a:pt x="297522" y="82052"/>
                  </a:cubicBezTo>
                  <a:cubicBezTo>
                    <a:pt x="291446" y="69899"/>
                    <a:pt x="294484" y="60785"/>
                    <a:pt x="303598" y="57747"/>
                  </a:cubicBezTo>
                  <a:cubicBezTo>
                    <a:pt x="306636" y="54709"/>
                    <a:pt x="310434" y="53949"/>
                    <a:pt x="314611" y="55089"/>
                  </a:cubicBezTo>
                  <a:close/>
                  <a:moveTo>
                    <a:pt x="885754" y="52051"/>
                  </a:moveTo>
                  <a:cubicBezTo>
                    <a:pt x="889932" y="53190"/>
                    <a:pt x="894489" y="56228"/>
                    <a:pt x="899046" y="60785"/>
                  </a:cubicBezTo>
                  <a:cubicBezTo>
                    <a:pt x="908160" y="69899"/>
                    <a:pt x="902084" y="79014"/>
                    <a:pt x="892970" y="85090"/>
                  </a:cubicBezTo>
                  <a:cubicBezTo>
                    <a:pt x="886894" y="88128"/>
                    <a:pt x="874741" y="91166"/>
                    <a:pt x="868665" y="79014"/>
                  </a:cubicBezTo>
                  <a:cubicBezTo>
                    <a:pt x="862589" y="63823"/>
                    <a:pt x="865627" y="57747"/>
                    <a:pt x="874741" y="54709"/>
                  </a:cubicBezTo>
                  <a:cubicBezTo>
                    <a:pt x="877779" y="51671"/>
                    <a:pt x="881577" y="50912"/>
                    <a:pt x="885754" y="52051"/>
                  </a:cubicBezTo>
                  <a:close/>
                  <a:moveTo>
                    <a:pt x="1341464" y="39899"/>
                  </a:moveTo>
                  <a:cubicBezTo>
                    <a:pt x="1345641" y="41038"/>
                    <a:pt x="1350198" y="44076"/>
                    <a:pt x="1354755" y="48633"/>
                  </a:cubicBezTo>
                  <a:cubicBezTo>
                    <a:pt x="1363869" y="57747"/>
                    <a:pt x="1357793" y="66862"/>
                    <a:pt x="1348679" y="72938"/>
                  </a:cubicBezTo>
                  <a:cubicBezTo>
                    <a:pt x="1342603" y="75976"/>
                    <a:pt x="1330450" y="79014"/>
                    <a:pt x="1324374" y="66862"/>
                  </a:cubicBezTo>
                  <a:cubicBezTo>
                    <a:pt x="1318298" y="51671"/>
                    <a:pt x="1321336" y="45595"/>
                    <a:pt x="1330450" y="42557"/>
                  </a:cubicBezTo>
                  <a:cubicBezTo>
                    <a:pt x="1333489" y="39519"/>
                    <a:pt x="1337286" y="38760"/>
                    <a:pt x="1341464" y="39899"/>
                  </a:cubicBezTo>
                  <a:close/>
                  <a:moveTo>
                    <a:pt x="1204751" y="27747"/>
                  </a:moveTo>
                  <a:cubicBezTo>
                    <a:pt x="1208928" y="28886"/>
                    <a:pt x="1213485" y="31924"/>
                    <a:pt x="1218042" y="36481"/>
                  </a:cubicBezTo>
                  <a:cubicBezTo>
                    <a:pt x="1227156" y="45595"/>
                    <a:pt x="1218042" y="57748"/>
                    <a:pt x="1211966" y="60786"/>
                  </a:cubicBezTo>
                  <a:cubicBezTo>
                    <a:pt x="1205890" y="63824"/>
                    <a:pt x="1193737" y="66862"/>
                    <a:pt x="1187661" y="54710"/>
                  </a:cubicBezTo>
                  <a:cubicBezTo>
                    <a:pt x="1181585" y="42557"/>
                    <a:pt x="1184623" y="33443"/>
                    <a:pt x="1193737" y="30405"/>
                  </a:cubicBezTo>
                  <a:cubicBezTo>
                    <a:pt x="1196776" y="27367"/>
                    <a:pt x="1200573" y="26608"/>
                    <a:pt x="1204751" y="27747"/>
                  </a:cubicBezTo>
                  <a:close/>
                  <a:moveTo>
                    <a:pt x="979933" y="21671"/>
                  </a:moveTo>
                  <a:cubicBezTo>
                    <a:pt x="984110" y="22810"/>
                    <a:pt x="988668" y="25848"/>
                    <a:pt x="993225" y="30405"/>
                  </a:cubicBezTo>
                  <a:cubicBezTo>
                    <a:pt x="1002339" y="39519"/>
                    <a:pt x="993225" y="51672"/>
                    <a:pt x="987149" y="54710"/>
                  </a:cubicBezTo>
                  <a:cubicBezTo>
                    <a:pt x="981072" y="57748"/>
                    <a:pt x="968920" y="60786"/>
                    <a:pt x="962844" y="48634"/>
                  </a:cubicBezTo>
                  <a:cubicBezTo>
                    <a:pt x="956768" y="36481"/>
                    <a:pt x="956768" y="27367"/>
                    <a:pt x="968920" y="24329"/>
                  </a:cubicBezTo>
                  <a:cubicBezTo>
                    <a:pt x="971958" y="21291"/>
                    <a:pt x="975756" y="20531"/>
                    <a:pt x="979933" y="21671"/>
                  </a:cubicBezTo>
                  <a:close/>
                  <a:moveTo>
                    <a:pt x="451312" y="8759"/>
                  </a:moveTo>
                  <a:cubicBezTo>
                    <a:pt x="455488" y="9899"/>
                    <a:pt x="460045" y="13696"/>
                    <a:pt x="464603" y="21291"/>
                  </a:cubicBezTo>
                  <a:cubicBezTo>
                    <a:pt x="473718" y="30405"/>
                    <a:pt x="464603" y="42558"/>
                    <a:pt x="458526" y="45596"/>
                  </a:cubicBezTo>
                  <a:cubicBezTo>
                    <a:pt x="452451" y="48634"/>
                    <a:pt x="440301" y="51672"/>
                    <a:pt x="434225" y="39520"/>
                  </a:cubicBezTo>
                  <a:cubicBezTo>
                    <a:pt x="428151" y="24329"/>
                    <a:pt x="431188" y="18253"/>
                    <a:pt x="440301" y="12177"/>
                  </a:cubicBezTo>
                  <a:cubicBezTo>
                    <a:pt x="443339" y="9139"/>
                    <a:pt x="447135" y="7620"/>
                    <a:pt x="451312" y="8759"/>
                  </a:cubicBezTo>
                  <a:close/>
                  <a:moveTo>
                    <a:pt x="1049824" y="0"/>
                  </a:moveTo>
                  <a:lnTo>
                    <a:pt x="1083563" y="0"/>
                  </a:lnTo>
                  <a:lnTo>
                    <a:pt x="1083987" y="2304"/>
                  </a:lnTo>
                  <a:cubicBezTo>
                    <a:pt x="1082089" y="6861"/>
                    <a:pt x="1078291" y="10659"/>
                    <a:pt x="1075253" y="12178"/>
                  </a:cubicBezTo>
                  <a:cubicBezTo>
                    <a:pt x="1069177" y="15216"/>
                    <a:pt x="1057024" y="18254"/>
                    <a:pt x="1050948" y="6102"/>
                  </a:cubicBezTo>
                  <a:close/>
                  <a:moveTo>
                    <a:pt x="773962" y="0"/>
                  </a:moveTo>
                  <a:lnTo>
                    <a:pt x="806875" y="0"/>
                  </a:lnTo>
                  <a:lnTo>
                    <a:pt x="798790" y="9140"/>
                  </a:lnTo>
                  <a:cubicBezTo>
                    <a:pt x="792714" y="12178"/>
                    <a:pt x="780561" y="15216"/>
                    <a:pt x="774485" y="3064"/>
                  </a:cubicBezTo>
                  <a:close/>
                  <a:moveTo>
                    <a:pt x="659033" y="0"/>
                  </a:moveTo>
                  <a:lnTo>
                    <a:pt x="688741" y="0"/>
                  </a:lnTo>
                  <a:lnTo>
                    <a:pt x="683343" y="6102"/>
                  </a:lnTo>
                  <a:cubicBezTo>
                    <a:pt x="677266" y="9140"/>
                    <a:pt x="665114" y="12178"/>
                    <a:pt x="659038" y="26"/>
                  </a:cubicBezTo>
                  <a:close/>
                  <a:moveTo>
                    <a:pt x="558807" y="0"/>
                  </a:moveTo>
                  <a:lnTo>
                    <a:pt x="589125" y="0"/>
                  </a:lnTo>
                  <a:lnTo>
                    <a:pt x="589163" y="25"/>
                  </a:lnTo>
                  <a:cubicBezTo>
                    <a:pt x="598277" y="9139"/>
                    <a:pt x="592201" y="18254"/>
                    <a:pt x="583087" y="24330"/>
                  </a:cubicBezTo>
                  <a:cubicBezTo>
                    <a:pt x="577011" y="27368"/>
                    <a:pt x="564858" y="30406"/>
                    <a:pt x="558782" y="18254"/>
                  </a:cubicBezTo>
                  <a:cubicBezTo>
                    <a:pt x="555744" y="12177"/>
                    <a:pt x="554985" y="6861"/>
                    <a:pt x="556124" y="2683"/>
                  </a:cubicBezTo>
                  <a:close/>
                  <a:moveTo>
                    <a:pt x="189731" y="0"/>
                  </a:moveTo>
                  <a:lnTo>
                    <a:pt x="223240" y="0"/>
                  </a:lnTo>
                  <a:lnTo>
                    <a:pt x="224224" y="5342"/>
                  </a:lnTo>
                  <a:cubicBezTo>
                    <a:pt x="222326" y="9899"/>
                    <a:pt x="218528" y="13697"/>
                    <a:pt x="215490" y="15216"/>
                  </a:cubicBezTo>
                  <a:cubicBezTo>
                    <a:pt x="209414" y="18254"/>
                    <a:pt x="197261" y="21292"/>
                    <a:pt x="191185" y="9140"/>
                  </a:cubicBez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 name="Tittel 1">
            <a:extLst>
              <a:ext uri="{FF2B5EF4-FFF2-40B4-BE49-F238E27FC236}">
                <a16:creationId xmlns:a16="http://schemas.microsoft.com/office/drawing/2014/main" id="{7D4F6119-7A47-4EB2-BC34-A80F8E27CDC7}"/>
              </a:ext>
            </a:extLst>
          </p:cNvPr>
          <p:cNvSpPr>
            <a:spLocks noGrp="1"/>
          </p:cNvSpPr>
          <p:nvPr>
            <p:ph type="title"/>
          </p:nvPr>
        </p:nvSpPr>
        <p:spPr>
          <a:xfrm>
            <a:off x="786385" y="841248"/>
            <a:ext cx="5129600" cy="5340097"/>
          </a:xfrm>
        </p:spPr>
        <p:txBody>
          <a:bodyPr anchor="ctr">
            <a:normAutofit/>
          </a:bodyPr>
          <a:lstStyle/>
          <a:p>
            <a:r>
              <a:rPr lang="nb-NO" sz="4800">
                <a:solidFill>
                  <a:schemeClr val="bg1"/>
                </a:solidFill>
              </a:rPr>
              <a:t>Agenda</a:t>
            </a:r>
          </a:p>
        </p:txBody>
      </p:sp>
      <p:graphicFrame>
        <p:nvGraphicFramePr>
          <p:cNvPr id="4" name="Table 4">
            <a:extLst>
              <a:ext uri="{FF2B5EF4-FFF2-40B4-BE49-F238E27FC236}">
                <a16:creationId xmlns:a16="http://schemas.microsoft.com/office/drawing/2014/main" id="{2761230E-E9F9-4AD9-BEBB-81988F04FC63}"/>
              </a:ext>
            </a:extLst>
          </p:cNvPr>
          <p:cNvGraphicFramePr>
            <a:graphicFrameLocks noGrp="1"/>
          </p:cNvGraphicFramePr>
          <p:nvPr>
            <p:ph idx="1"/>
            <p:extLst>
              <p:ext uri="{D42A27DB-BD31-4B8C-83A1-F6EECF244321}">
                <p14:modId xmlns:p14="http://schemas.microsoft.com/office/powerpoint/2010/main" val="526155207"/>
              </p:ext>
            </p:extLst>
          </p:nvPr>
        </p:nvGraphicFramePr>
        <p:xfrm>
          <a:off x="6392332" y="815849"/>
          <a:ext cx="4961468" cy="5226302"/>
        </p:xfrm>
        <a:graphic>
          <a:graphicData uri="http://schemas.openxmlformats.org/drawingml/2006/table">
            <a:tbl>
              <a:tblPr firstRow="1" bandRow="1">
                <a:tableStyleId>{2D5ABB26-0587-4C30-8999-92F81FD0307C}</a:tableStyleId>
              </a:tblPr>
              <a:tblGrid>
                <a:gridCol w="1515535">
                  <a:extLst>
                    <a:ext uri="{9D8B030D-6E8A-4147-A177-3AD203B41FA5}">
                      <a16:colId xmlns:a16="http://schemas.microsoft.com/office/drawing/2014/main" val="3238532911"/>
                    </a:ext>
                  </a:extLst>
                </a:gridCol>
                <a:gridCol w="3445933">
                  <a:extLst>
                    <a:ext uri="{9D8B030D-6E8A-4147-A177-3AD203B41FA5}">
                      <a16:colId xmlns:a16="http://schemas.microsoft.com/office/drawing/2014/main" val="3625899211"/>
                    </a:ext>
                  </a:extLst>
                </a:gridCol>
              </a:tblGrid>
              <a:tr h="572558">
                <a:tc rowSpan="5">
                  <a:txBody>
                    <a:bodyPr/>
                    <a:lstStyle/>
                    <a:p>
                      <a:pPr algn="ctr"/>
                      <a:endParaRPr lang="nb-NO"/>
                    </a:p>
                    <a:p>
                      <a:pPr algn="ctr"/>
                      <a:endParaRPr lang="nb-NO"/>
                    </a:p>
                    <a:p>
                      <a:pPr algn="ctr"/>
                      <a:endParaRPr lang="nb-NO"/>
                    </a:p>
                    <a:p>
                      <a:pPr algn="ctr"/>
                      <a:endParaRPr lang="nb-NO"/>
                    </a:p>
                    <a:p>
                      <a:pPr algn="ctr"/>
                      <a:endParaRPr lang="nb-NO"/>
                    </a:p>
                    <a:p>
                      <a:pPr algn="ctr"/>
                      <a:r>
                        <a:rPr lang="nb-NO"/>
                        <a:t>09:00-09:20</a:t>
                      </a:r>
                    </a:p>
                  </a:txBody>
                  <a:tcPr>
                    <a:lnR>
                      <a:noFill/>
                    </a:lnR>
                    <a:solidFill>
                      <a:srgbClr val="D4E5E8"/>
                    </a:solidFill>
                  </a:tcPr>
                </a:tc>
                <a:tc>
                  <a:txBody>
                    <a:bodyPr/>
                    <a:lstStyle/>
                    <a:p>
                      <a:r>
                        <a:rPr lang="nb-NO"/>
                        <a:t>Plan for arbeidet</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443331596"/>
                  </a:ext>
                </a:extLst>
              </a:tr>
              <a:tr h="572558">
                <a:tc vMerge="1">
                  <a:txBody>
                    <a:bodyPr/>
                    <a:lstStyle/>
                    <a:p>
                      <a:endParaRPr lang="nb-NO"/>
                    </a:p>
                  </a:txBody>
                  <a:tcPr/>
                </a:tc>
                <a:tc>
                  <a:txBody>
                    <a:bodyPr/>
                    <a:lstStyle/>
                    <a:p>
                      <a:r>
                        <a:rPr lang="nb-NO"/>
                        <a:t>Formål med kurset</a:t>
                      </a:r>
                    </a:p>
                  </a:txBody>
                  <a:tcPr>
                    <a:lnT>
                      <a:noFill/>
                    </a:lnT>
                  </a:tcPr>
                </a:tc>
                <a:extLst>
                  <a:ext uri="{0D108BD9-81ED-4DB2-BD59-A6C34878D82A}">
                    <a16:rowId xmlns:a16="http://schemas.microsoft.com/office/drawing/2014/main" val="153281858"/>
                  </a:ext>
                </a:extLst>
              </a:tr>
              <a:tr h="572558">
                <a:tc vMerge="1">
                  <a:txBody>
                    <a:bodyPr/>
                    <a:lstStyle/>
                    <a:p>
                      <a:endParaRPr lang="nb-NO"/>
                    </a:p>
                  </a:txBody>
                  <a:tcPr/>
                </a:tc>
                <a:tc>
                  <a:txBody>
                    <a:bodyPr/>
                    <a:lstStyle/>
                    <a:p>
                      <a:r>
                        <a:rPr lang="nb-NO"/>
                        <a:t>Definisjon superbruker</a:t>
                      </a:r>
                    </a:p>
                  </a:txBody>
                  <a:tcPr/>
                </a:tc>
                <a:extLst>
                  <a:ext uri="{0D108BD9-81ED-4DB2-BD59-A6C34878D82A}">
                    <a16:rowId xmlns:a16="http://schemas.microsoft.com/office/drawing/2014/main" val="2046420449"/>
                  </a:ext>
                </a:extLst>
              </a:tr>
              <a:tr h="572558">
                <a:tc vMerge="1">
                  <a:txBody>
                    <a:bodyPr/>
                    <a:lstStyle/>
                    <a:p>
                      <a:endParaRPr lang="nb-NO"/>
                    </a:p>
                  </a:txBody>
                  <a:tcPr/>
                </a:tc>
                <a:tc>
                  <a:txBody>
                    <a:bodyPr/>
                    <a:lstStyle/>
                    <a:p>
                      <a:r>
                        <a:rPr lang="nb-NO"/>
                        <a:t>Støtte og veiledning</a:t>
                      </a:r>
                    </a:p>
                  </a:txBody>
                  <a:tcPr/>
                </a:tc>
                <a:extLst>
                  <a:ext uri="{0D108BD9-81ED-4DB2-BD59-A6C34878D82A}">
                    <a16:rowId xmlns:a16="http://schemas.microsoft.com/office/drawing/2014/main" val="850959060"/>
                  </a:ext>
                </a:extLst>
              </a:tr>
              <a:tr h="572558">
                <a:tc vMerge="1">
                  <a:txBody>
                    <a:bodyPr/>
                    <a:lstStyle/>
                    <a:p>
                      <a:endParaRPr lang="nb-NO"/>
                    </a:p>
                  </a:txBody>
                  <a:tcPr/>
                </a:tc>
                <a:tc>
                  <a:txBody>
                    <a:bodyPr/>
                    <a:lstStyle/>
                    <a:p>
                      <a:r>
                        <a:rPr lang="nb-NO"/>
                        <a:t>Standarder og anbefalinger BFV</a:t>
                      </a:r>
                    </a:p>
                  </a:txBody>
                  <a:tcPr/>
                </a:tc>
                <a:extLst>
                  <a:ext uri="{0D108BD9-81ED-4DB2-BD59-A6C34878D82A}">
                    <a16:rowId xmlns:a16="http://schemas.microsoft.com/office/drawing/2014/main" val="3077419265"/>
                  </a:ext>
                </a:extLst>
              </a:tr>
              <a:tr h="572558">
                <a:tc>
                  <a:txBody>
                    <a:bodyPr/>
                    <a:lstStyle/>
                    <a:p>
                      <a:pPr algn="ctr"/>
                      <a:endParaRPr lang="nb-NO"/>
                    </a:p>
                    <a:p>
                      <a:pPr algn="ctr"/>
                      <a:endParaRPr lang="nb-NO"/>
                    </a:p>
                    <a:p>
                      <a:pPr algn="ctr"/>
                      <a:r>
                        <a:rPr lang="nb-NO"/>
                        <a:t>09:20-10:45</a:t>
                      </a:r>
                    </a:p>
                  </a:txBody>
                  <a:tcPr>
                    <a:solidFill>
                      <a:srgbClr val="B2D1D6"/>
                    </a:solidFill>
                  </a:tcPr>
                </a:tc>
                <a:tc>
                  <a:txBody>
                    <a:bodyPr/>
                    <a:lstStyle/>
                    <a:p>
                      <a:r>
                        <a:rPr lang="nb-NO" dirty="0"/>
                        <a:t>Datainnsamlingsark</a:t>
                      </a:r>
                    </a:p>
                    <a:p>
                      <a:pPr marL="285750" indent="-285750">
                        <a:lnSpc>
                          <a:spcPct val="150000"/>
                        </a:lnSpc>
                        <a:buFont typeface="Arial" panose="020B0604020202020204" pitchFamily="34" charset="0"/>
                        <a:buChar char="•"/>
                      </a:pPr>
                      <a:r>
                        <a:rPr lang="nb-NO" sz="1600" dirty="0"/>
                        <a:t>Gjennomgang </a:t>
                      </a:r>
                    </a:p>
                    <a:p>
                      <a:pPr marL="285750" indent="-285750">
                        <a:lnSpc>
                          <a:spcPct val="150000"/>
                        </a:lnSpc>
                        <a:buFont typeface="Arial" panose="020B0604020202020204" pitchFamily="34" charset="0"/>
                        <a:buChar char="•"/>
                      </a:pPr>
                      <a:r>
                        <a:rPr lang="nb-NO" sz="1600" dirty="0"/>
                        <a:t>Praktisk individuell oppgave</a:t>
                      </a:r>
                    </a:p>
                    <a:p>
                      <a:pPr marL="285750" indent="-285750">
                        <a:lnSpc>
                          <a:spcPct val="150000"/>
                        </a:lnSpc>
                        <a:buFont typeface="Arial" panose="020B0604020202020204" pitchFamily="34" charset="0"/>
                        <a:buChar char="•"/>
                      </a:pPr>
                      <a:r>
                        <a:rPr lang="nb-NO" sz="1600" dirty="0"/>
                        <a:t>Distribusjon og håndtering</a:t>
                      </a:r>
                    </a:p>
                    <a:p>
                      <a:pPr marL="285750" indent="-285750">
                        <a:lnSpc>
                          <a:spcPct val="150000"/>
                        </a:lnSpc>
                        <a:buFont typeface="Arial" panose="020B0604020202020204" pitchFamily="34" charset="0"/>
                        <a:buChar char="•"/>
                      </a:pPr>
                      <a:r>
                        <a:rPr lang="nb-NO" sz="1600" dirty="0"/>
                        <a:t>Kvalitetssikring</a:t>
                      </a:r>
                    </a:p>
                  </a:txBody>
                  <a:tcPr/>
                </a:tc>
                <a:extLst>
                  <a:ext uri="{0D108BD9-81ED-4DB2-BD59-A6C34878D82A}">
                    <a16:rowId xmlns:a16="http://schemas.microsoft.com/office/drawing/2014/main" val="3621887622"/>
                  </a:ext>
                </a:extLst>
              </a:tr>
              <a:tr h="572558">
                <a:tc>
                  <a:txBody>
                    <a:bodyPr/>
                    <a:lstStyle/>
                    <a:p>
                      <a:pPr algn="ctr"/>
                      <a:r>
                        <a:rPr lang="nb-NO"/>
                        <a:t>10:45-11:00</a:t>
                      </a:r>
                    </a:p>
                  </a:txBody>
                  <a:tcPr>
                    <a:solidFill>
                      <a:srgbClr val="98C1C8"/>
                    </a:solidFill>
                  </a:tcPr>
                </a:tc>
                <a:tc>
                  <a:txBody>
                    <a:bodyPr/>
                    <a:lstStyle/>
                    <a:p>
                      <a:r>
                        <a:rPr lang="nb-NO" dirty="0"/>
                        <a:t>Oppsummering og veien videre</a:t>
                      </a:r>
                    </a:p>
                  </a:txBody>
                  <a:tcPr/>
                </a:tc>
                <a:extLst>
                  <a:ext uri="{0D108BD9-81ED-4DB2-BD59-A6C34878D82A}">
                    <a16:rowId xmlns:a16="http://schemas.microsoft.com/office/drawing/2014/main" val="40152537"/>
                  </a:ext>
                </a:extLst>
              </a:tr>
            </a:tbl>
          </a:graphicData>
        </a:graphic>
      </p:graphicFrame>
    </p:spTree>
    <p:extLst>
      <p:ext uri="{BB962C8B-B14F-4D97-AF65-F5344CB8AC3E}">
        <p14:creationId xmlns:p14="http://schemas.microsoft.com/office/powerpoint/2010/main" val="21072624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2" name="Rett linje 51"/>
          <p:cNvCxnSpPr/>
          <p:nvPr/>
        </p:nvCxnSpPr>
        <p:spPr>
          <a:xfrm>
            <a:off x="9250690" y="1384751"/>
            <a:ext cx="161" cy="5409338"/>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4" name="Rett linje 53"/>
          <p:cNvCxnSpPr/>
          <p:nvPr/>
        </p:nvCxnSpPr>
        <p:spPr>
          <a:xfrm>
            <a:off x="2614524" y="1364509"/>
            <a:ext cx="161" cy="5409338"/>
          </a:xfrm>
          <a:prstGeom prst="line">
            <a:avLst/>
          </a:prstGeom>
        </p:spPr>
        <p:style>
          <a:lnRef idx="1">
            <a:schemeClr val="accent1"/>
          </a:lnRef>
          <a:fillRef idx="0">
            <a:schemeClr val="accent1"/>
          </a:fillRef>
          <a:effectRef idx="0">
            <a:schemeClr val="accent1"/>
          </a:effectRef>
          <a:fontRef idx="minor">
            <a:schemeClr val="tx1"/>
          </a:fontRef>
        </p:style>
      </p:cxnSp>
      <p:cxnSp>
        <p:nvCxnSpPr>
          <p:cNvPr id="55" name="Rett linje 54"/>
          <p:cNvCxnSpPr/>
          <p:nvPr/>
        </p:nvCxnSpPr>
        <p:spPr>
          <a:xfrm>
            <a:off x="4669275" y="1334244"/>
            <a:ext cx="161" cy="5409338"/>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Rett linje 55"/>
          <p:cNvCxnSpPr/>
          <p:nvPr/>
        </p:nvCxnSpPr>
        <p:spPr>
          <a:xfrm>
            <a:off x="6944709" y="1357004"/>
            <a:ext cx="161" cy="540933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8" name="Rett linje 57"/>
          <p:cNvCxnSpPr/>
          <p:nvPr/>
        </p:nvCxnSpPr>
        <p:spPr>
          <a:xfrm>
            <a:off x="11961089" y="1335300"/>
            <a:ext cx="161" cy="5409338"/>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566CF7BB-10BC-AD4D-A83D-09E2CE2A646B}"/>
              </a:ext>
            </a:extLst>
          </p:cNvPr>
          <p:cNvSpPr txBox="1"/>
          <p:nvPr/>
        </p:nvSpPr>
        <p:spPr>
          <a:xfrm>
            <a:off x="967059" y="-51609"/>
            <a:ext cx="10257936" cy="55399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err="1">
                <a:ln>
                  <a:noFill/>
                </a:ln>
                <a:solidFill>
                  <a:srgbClr val="44546A"/>
                </a:solidFill>
                <a:effectLst/>
                <a:uLnTx/>
                <a:uFillTx/>
                <a:latin typeface="Poppins" pitchFamily="2" charset="77"/>
                <a:ea typeface="+mn-ea"/>
                <a:cs typeface="Poppins" pitchFamily="2" charset="77"/>
              </a:rPr>
              <a:t>Fase</a:t>
            </a:r>
            <a:r>
              <a:rPr kumimoji="0" lang="en-US" sz="3000" b="1" i="0" u="none" strike="noStrike" kern="1200" cap="none" spc="0" normalizeH="0" baseline="0" noProof="0" dirty="0">
                <a:ln>
                  <a:noFill/>
                </a:ln>
                <a:solidFill>
                  <a:srgbClr val="44546A"/>
                </a:solidFill>
                <a:effectLst/>
                <a:uLnTx/>
                <a:uFillTx/>
                <a:latin typeface="Poppins" pitchFamily="2" charset="77"/>
                <a:ea typeface="+mn-ea"/>
                <a:cs typeface="Poppins" pitchFamily="2" charset="77"/>
              </a:rPr>
              <a:t> 2: TRINNVIS INNFØRING BOTT ØKONOMIMODELL</a:t>
            </a:r>
          </a:p>
        </p:txBody>
      </p:sp>
      <p:sp>
        <p:nvSpPr>
          <p:cNvPr id="5" name="Freeform 3">
            <a:extLst>
              <a:ext uri="{FF2B5EF4-FFF2-40B4-BE49-F238E27FC236}">
                <a16:creationId xmlns:a16="http://schemas.microsoft.com/office/drawing/2014/main" id="{40752904-C967-3E42-A16B-9B8439A2971A}"/>
              </a:ext>
            </a:extLst>
          </p:cNvPr>
          <p:cNvSpPr>
            <a:spLocks noChangeArrowheads="1"/>
          </p:cNvSpPr>
          <p:nvPr/>
        </p:nvSpPr>
        <p:spPr bwMode="auto">
          <a:xfrm>
            <a:off x="993160" y="495707"/>
            <a:ext cx="1186621" cy="1354176"/>
          </a:xfrm>
          <a:custGeom>
            <a:avLst/>
            <a:gdLst>
              <a:gd name="T0" fmla="*/ 339 w 1903"/>
              <a:gd name="T1" fmla="*/ 338 h 2176"/>
              <a:gd name="T2" fmla="*/ 339 w 1903"/>
              <a:gd name="T3" fmla="*/ 338 h 2176"/>
              <a:gd name="T4" fmla="*/ 1564 w 1903"/>
              <a:gd name="T5" fmla="*/ 338 h 2176"/>
              <a:gd name="T6" fmla="*/ 1564 w 1903"/>
              <a:gd name="T7" fmla="*/ 338 h 2176"/>
              <a:gd name="T8" fmla="*/ 1564 w 1903"/>
              <a:gd name="T9" fmla="*/ 1562 h 2176"/>
              <a:gd name="T10" fmla="*/ 951 w 1903"/>
              <a:gd name="T11" fmla="*/ 2175 h 2176"/>
              <a:gd name="T12" fmla="*/ 339 w 1903"/>
              <a:gd name="T13" fmla="*/ 1562 h 2176"/>
              <a:gd name="T14" fmla="*/ 339 w 1903"/>
              <a:gd name="T15" fmla="*/ 1562 h 2176"/>
              <a:gd name="T16" fmla="*/ 339 w 1903"/>
              <a:gd name="T17" fmla="*/ 338 h 2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3" h="2176">
                <a:moveTo>
                  <a:pt x="339" y="338"/>
                </a:moveTo>
                <a:lnTo>
                  <a:pt x="339" y="338"/>
                </a:lnTo>
                <a:cubicBezTo>
                  <a:pt x="677" y="0"/>
                  <a:pt x="1225" y="0"/>
                  <a:pt x="1564" y="338"/>
                </a:cubicBezTo>
                <a:lnTo>
                  <a:pt x="1564" y="338"/>
                </a:lnTo>
                <a:cubicBezTo>
                  <a:pt x="1902" y="676"/>
                  <a:pt x="1902" y="1224"/>
                  <a:pt x="1564" y="1562"/>
                </a:cubicBezTo>
                <a:lnTo>
                  <a:pt x="951" y="2175"/>
                </a:lnTo>
                <a:lnTo>
                  <a:pt x="339" y="1562"/>
                </a:lnTo>
                <a:lnTo>
                  <a:pt x="339" y="1562"/>
                </a:lnTo>
                <a:cubicBezTo>
                  <a:pt x="0" y="1224"/>
                  <a:pt x="0" y="676"/>
                  <a:pt x="339" y="338"/>
                </a:cubicBez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a:ln>
                <a:noFill/>
              </a:ln>
              <a:solidFill>
                <a:prstClr val="black"/>
              </a:solidFill>
              <a:effectLst/>
              <a:uLnTx/>
              <a:uFillTx/>
              <a:latin typeface="Lato Light" panose="020F0502020204030203" pitchFamily="34" charset="0"/>
              <a:ea typeface="+mn-ea"/>
              <a:cs typeface="+mn-cs"/>
            </a:endParaRPr>
          </a:p>
        </p:txBody>
      </p:sp>
      <p:sp>
        <p:nvSpPr>
          <p:cNvPr id="7" name="Freeform 71">
            <a:extLst>
              <a:ext uri="{FF2B5EF4-FFF2-40B4-BE49-F238E27FC236}">
                <a16:creationId xmlns:a16="http://schemas.microsoft.com/office/drawing/2014/main" id="{293D606E-0CB6-0040-B8DD-4AC30C160ADD}"/>
              </a:ext>
            </a:extLst>
          </p:cNvPr>
          <p:cNvSpPr>
            <a:spLocks noChangeArrowheads="1"/>
          </p:cNvSpPr>
          <p:nvPr/>
        </p:nvSpPr>
        <p:spPr bwMode="auto">
          <a:xfrm>
            <a:off x="3098910" y="495707"/>
            <a:ext cx="1186621" cy="1354176"/>
          </a:xfrm>
          <a:custGeom>
            <a:avLst/>
            <a:gdLst>
              <a:gd name="T0" fmla="*/ 338 w 1903"/>
              <a:gd name="T1" fmla="*/ 338 h 2176"/>
              <a:gd name="T2" fmla="*/ 338 w 1903"/>
              <a:gd name="T3" fmla="*/ 338 h 2176"/>
              <a:gd name="T4" fmla="*/ 1564 w 1903"/>
              <a:gd name="T5" fmla="*/ 338 h 2176"/>
              <a:gd name="T6" fmla="*/ 1564 w 1903"/>
              <a:gd name="T7" fmla="*/ 338 h 2176"/>
              <a:gd name="T8" fmla="*/ 1564 w 1903"/>
              <a:gd name="T9" fmla="*/ 1562 h 2176"/>
              <a:gd name="T10" fmla="*/ 951 w 1903"/>
              <a:gd name="T11" fmla="*/ 2175 h 2176"/>
              <a:gd name="T12" fmla="*/ 338 w 1903"/>
              <a:gd name="T13" fmla="*/ 1562 h 2176"/>
              <a:gd name="T14" fmla="*/ 338 w 1903"/>
              <a:gd name="T15" fmla="*/ 1562 h 2176"/>
              <a:gd name="T16" fmla="*/ 338 w 1903"/>
              <a:gd name="T17" fmla="*/ 338 h 2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3" h="2176">
                <a:moveTo>
                  <a:pt x="338" y="338"/>
                </a:moveTo>
                <a:lnTo>
                  <a:pt x="338" y="338"/>
                </a:lnTo>
                <a:cubicBezTo>
                  <a:pt x="677" y="0"/>
                  <a:pt x="1226" y="0"/>
                  <a:pt x="1564" y="338"/>
                </a:cubicBezTo>
                <a:lnTo>
                  <a:pt x="1564" y="338"/>
                </a:lnTo>
                <a:cubicBezTo>
                  <a:pt x="1902" y="676"/>
                  <a:pt x="1902" y="1224"/>
                  <a:pt x="1564" y="1562"/>
                </a:cubicBezTo>
                <a:lnTo>
                  <a:pt x="951" y="2175"/>
                </a:lnTo>
                <a:lnTo>
                  <a:pt x="338" y="1562"/>
                </a:lnTo>
                <a:lnTo>
                  <a:pt x="338" y="1562"/>
                </a:lnTo>
                <a:cubicBezTo>
                  <a:pt x="0" y="1224"/>
                  <a:pt x="0" y="676"/>
                  <a:pt x="338" y="338"/>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a:ln>
                <a:noFill/>
              </a:ln>
              <a:solidFill>
                <a:prstClr val="black"/>
              </a:solidFill>
              <a:effectLst/>
              <a:uLnTx/>
              <a:uFillTx/>
              <a:latin typeface="Lato Light" panose="020F0502020204030203" pitchFamily="34" charset="0"/>
              <a:ea typeface="+mn-ea"/>
              <a:cs typeface="+mn-cs"/>
            </a:endParaRPr>
          </a:p>
        </p:txBody>
      </p:sp>
      <p:sp>
        <p:nvSpPr>
          <p:cNvPr id="9" name="Freeform 139">
            <a:extLst>
              <a:ext uri="{FF2B5EF4-FFF2-40B4-BE49-F238E27FC236}">
                <a16:creationId xmlns:a16="http://schemas.microsoft.com/office/drawing/2014/main" id="{2ED9781A-3652-6948-A67B-E371D640486E}"/>
              </a:ext>
            </a:extLst>
          </p:cNvPr>
          <p:cNvSpPr>
            <a:spLocks noChangeArrowheads="1"/>
          </p:cNvSpPr>
          <p:nvPr/>
        </p:nvSpPr>
        <p:spPr bwMode="auto">
          <a:xfrm>
            <a:off x="5221515" y="495707"/>
            <a:ext cx="1183874" cy="1354176"/>
          </a:xfrm>
          <a:custGeom>
            <a:avLst/>
            <a:gdLst>
              <a:gd name="T0" fmla="*/ 338 w 1902"/>
              <a:gd name="T1" fmla="*/ 338 h 2176"/>
              <a:gd name="T2" fmla="*/ 338 w 1902"/>
              <a:gd name="T3" fmla="*/ 338 h 2176"/>
              <a:gd name="T4" fmla="*/ 1563 w 1902"/>
              <a:gd name="T5" fmla="*/ 338 h 2176"/>
              <a:gd name="T6" fmla="*/ 1563 w 1902"/>
              <a:gd name="T7" fmla="*/ 338 h 2176"/>
              <a:gd name="T8" fmla="*/ 1563 w 1902"/>
              <a:gd name="T9" fmla="*/ 1562 h 2176"/>
              <a:gd name="T10" fmla="*/ 950 w 1902"/>
              <a:gd name="T11" fmla="*/ 2175 h 2176"/>
              <a:gd name="T12" fmla="*/ 338 w 1902"/>
              <a:gd name="T13" fmla="*/ 1562 h 2176"/>
              <a:gd name="T14" fmla="*/ 338 w 1902"/>
              <a:gd name="T15" fmla="*/ 1562 h 2176"/>
              <a:gd name="T16" fmla="*/ 338 w 1902"/>
              <a:gd name="T17" fmla="*/ 338 h 2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2" h="2176">
                <a:moveTo>
                  <a:pt x="338" y="338"/>
                </a:moveTo>
                <a:lnTo>
                  <a:pt x="338" y="338"/>
                </a:lnTo>
                <a:cubicBezTo>
                  <a:pt x="676" y="0"/>
                  <a:pt x="1224" y="0"/>
                  <a:pt x="1563" y="338"/>
                </a:cubicBezTo>
                <a:lnTo>
                  <a:pt x="1563" y="338"/>
                </a:lnTo>
                <a:cubicBezTo>
                  <a:pt x="1901" y="676"/>
                  <a:pt x="1901" y="1224"/>
                  <a:pt x="1563" y="1562"/>
                </a:cubicBezTo>
                <a:lnTo>
                  <a:pt x="950" y="2175"/>
                </a:lnTo>
                <a:lnTo>
                  <a:pt x="338" y="1562"/>
                </a:lnTo>
                <a:lnTo>
                  <a:pt x="338" y="1562"/>
                </a:lnTo>
                <a:cubicBezTo>
                  <a:pt x="0" y="1224"/>
                  <a:pt x="0" y="676"/>
                  <a:pt x="338" y="338"/>
                </a:cubicBez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a:ln>
                <a:noFill/>
              </a:ln>
              <a:solidFill>
                <a:prstClr val="black"/>
              </a:solidFill>
              <a:effectLst/>
              <a:uLnTx/>
              <a:uFillTx/>
              <a:latin typeface="Lato Light" panose="020F0502020204030203" pitchFamily="34" charset="0"/>
              <a:ea typeface="+mn-ea"/>
              <a:cs typeface="+mn-cs"/>
            </a:endParaRPr>
          </a:p>
        </p:txBody>
      </p:sp>
      <p:sp>
        <p:nvSpPr>
          <p:cNvPr id="11" name="Freeform 207">
            <a:extLst>
              <a:ext uri="{FF2B5EF4-FFF2-40B4-BE49-F238E27FC236}">
                <a16:creationId xmlns:a16="http://schemas.microsoft.com/office/drawing/2014/main" id="{1B71C3A1-0776-F546-B89C-F13C50B1796B}"/>
              </a:ext>
            </a:extLst>
          </p:cNvPr>
          <p:cNvSpPr>
            <a:spLocks noChangeArrowheads="1"/>
          </p:cNvSpPr>
          <p:nvPr/>
        </p:nvSpPr>
        <p:spPr bwMode="auto">
          <a:xfrm>
            <a:off x="7424386" y="495707"/>
            <a:ext cx="1183876" cy="1354176"/>
          </a:xfrm>
          <a:custGeom>
            <a:avLst/>
            <a:gdLst>
              <a:gd name="T0" fmla="*/ 338 w 1902"/>
              <a:gd name="T1" fmla="*/ 338 h 2176"/>
              <a:gd name="T2" fmla="*/ 338 w 1902"/>
              <a:gd name="T3" fmla="*/ 338 h 2176"/>
              <a:gd name="T4" fmla="*/ 1563 w 1902"/>
              <a:gd name="T5" fmla="*/ 338 h 2176"/>
              <a:gd name="T6" fmla="*/ 1563 w 1902"/>
              <a:gd name="T7" fmla="*/ 338 h 2176"/>
              <a:gd name="T8" fmla="*/ 1563 w 1902"/>
              <a:gd name="T9" fmla="*/ 1562 h 2176"/>
              <a:gd name="T10" fmla="*/ 950 w 1902"/>
              <a:gd name="T11" fmla="*/ 2175 h 2176"/>
              <a:gd name="T12" fmla="*/ 338 w 1902"/>
              <a:gd name="T13" fmla="*/ 1562 h 2176"/>
              <a:gd name="T14" fmla="*/ 338 w 1902"/>
              <a:gd name="T15" fmla="*/ 1562 h 2176"/>
              <a:gd name="T16" fmla="*/ 338 w 1902"/>
              <a:gd name="T17" fmla="*/ 338 h 2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2" h="2176">
                <a:moveTo>
                  <a:pt x="338" y="338"/>
                </a:moveTo>
                <a:lnTo>
                  <a:pt x="338" y="338"/>
                </a:lnTo>
                <a:cubicBezTo>
                  <a:pt x="676" y="0"/>
                  <a:pt x="1225" y="0"/>
                  <a:pt x="1563" y="338"/>
                </a:cubicBezTo>
                <a:lnTo>
                  <a:pt x="1563" y="338"/>
                </a:lnTo>
                <a:cubicBezTo>
                  <a:pt x="1901" y="676"/>
                  <a:pt x="1901" y="1224"/>
                  <a:pt x="1563" y="1562"/>
                </a:cubicBezTo>
                <a:lnTo>
                  <a:pt x="950" y="2175"/>
                </a:lnTo>
                <a:lnTo>
                  <a:pt x="338" y="1562"/>
                </a:lnTo>
                <a:lnTo>
                  <a:pt x="338" y="1562"/>
                </a:lnTo>
                <a:cubicBezTo>
                  <a:pt x="0" y="1224"/>
                  <a:pt x="0" y="676"/>
                  <a:pt x="338" y="338"/>
                </a:cubicBezTo>
              </a:path>
            </a:pathLst>
          </a:custGeom>
          <a:solidFill>
            <a:schemeClr val="accent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a:ln>
                <a:noFill/>
              </a:ln>
              <a:solidFill>
                <a:prstClr val="black"/>
              </a:solidFill>
              <a:effectLst/>
              <a:uLnTx/>
              <a:uFillTx/>
              <a:latin typeface="Lato Light" panose="020F0502020204030203" pitchFamily="34" charset="0"/>
              <a:ea typeface="+mn-ea"/>
              <a:cs typeface="+mn-cs"/>
            </a:endParaRPr>
          </a:p>
        </p:txBody>
      </p:sp>
      <p:sp>
        <p:nvSpPr>
          <p:cNvPr id="17" name="Freeform 207">
            <a:extLst>
              <a:ext uri="{FF2B5EF4-FFF2-40B4-BE49-F238E27FC236}">
                <a16:creationId xmlns:a16="http://schemas.microsoft.com/office/drawing/2014/main" id="{841F330F-BC36-594C-8AF2-CD8C766A8A4F}"/>
              </a:ext>
            </a:extLst>
          </p:cNvPr>
          <p:cNvSpPr>
            <a:spLocks noChangeArrowheads="1"/>
          </p:cNvSpPr>
          <p:nvPr/>
        </p:nvSpPr>
        <p:spPr bwMode="auto">
          <a:xfrm>
            <a:off x="10014965" y="554230"/>
            <a:ext cx="1183876" cy="1354176"/>
          </a:xfrm>
          <a:custGeom>
            <a:avLst/>
            <a:gdLst>
              <a:gd name="T0" fmla="*/ 338 w 1902"/>
              <a:gd name="T1" fmla="*/ 338 h 2176"/>
              <a:gd name="T2" fmla="*/ 338 w 1902"/>
              <a:gd name="T3" fmla="*/ 338 h 2176"/>
              <a:gd name="T4" fmla="*/ 1563 w 1902"/>
              <a:gd name="T5" fmla="*/ 338 h 2176"/>
              <a:gd name="T6" fmla="*/ 1563 w 1902"/>
              <a:gd name="T7" fmla="*/ 338 h 2176"/>
              <a:gd name="T8" fmla="*/ 1563 w 1902"/>
              <a:gd name="T9" fmla="*/ 1562 h 2176"/>
              <a:gd name="T10" fmla="*/ 950 w 1902"/>
              <a:gd name="T11" fmla="*/ 2175 h 2176"/>
              <a:gd name="T12" fmla="*/ 338 w 1902"/>
              <a:gd name="T13" fmla="*/ 1562 h 2176"/>
              <a:gd name="T14" fmla="*/ 338 w 1902"/>
              <a:gd name="T15" fmla="*/ 1562 h 2176"/>
              <a:gd name="T16" fmla="*/ 338 w 1902"/>
              <a:gd name="T17" fmla="*/ 338 h 2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2" h="2176">
                <a:moveTo>
                  <a:pt x="338" y="338"/>
                </a:moveTo>
                <a:lnTo>
                  <a:pt x="338" y="338"/>
                </a:lnTo>
                <a:cubicBezTo>
                  <a:pt x="676" y="0"/>
                  <a:pt x="1225" y="0"/>
                  <a:pt x="1563" y="338"/>
                </a:cubicBezTo>
                <a:lnTo>
                  <a:pt x="1563" y="338"/>
                </a:lnTo>
                <a:cubicBezTo>
                  <a:pt x="1901" y="676"/>
                  <a:pt x="1901" y="1224"/>
                  <a:pt x="1563" y="1562"/>
                </a:cubicBezTo>
                <a:lnTo>
                  <a:pt x="950" y="2175"/>
                </a:lnTo>
                <a:lnTo>
                  <a:pt x="338" y="1562"/>
                </a:lnTo>
                <a:lnTo>
                  <a:pt x="338" y="1562"/>
                </a:lnTo>
                <a:cubicBezTo>
                  <a:pt x="0" y="1224"/>
                  <a:pt x="0" y="676"/>
                  <a:pt x="338" y="338"/>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a:ln>
                <a:noFill/>
              </a:ln>
              <a:solidFill>
                <a:prstClr val="black"/>
              </a:solidFill>
              <a:effectLst/>
              <a:uLnTx/>
              <a:uFillTx/>
              <a:latin typeface="Lato Light" panose="020F0502020204030203" pitchFamily="34" charset="0"/>
              <a:ea typeface="+mn-ea"/>
              <a:cs typeface="+mn-cs"/>
            </a:endParaRPr>
          </a:p>
        </p:txBody>
      </p:sp>
      <p:sp>
        <p:nvSpPr>
          <p:cNvPr id="20" name="TextBox 19">
            <a:extLst>
              <a:ext uri="{FF2B5EF4-FFF2-40B4-BE49-F238E27FC236}">
                <a16:creationId xmlns:a16="http://schemas.microsoft.com/office/drawing/2014/main" id="{DEF9B096-0F05-D148-ABFA-CA1C8550BBB0}"/>
              </a:ext>
            </a:extLst>
          </p:cNvPr>
          <p:cNvSpPr txBox="1"/>
          <p:nvPr/>
        </p:nvSpPr>
        <p:spPr>
          <a:xfrm>
            <a:off x="4764584" y="2888928"/>
            <a:ext cx="2092239" cy="1061829"/>
          </a:xfrm>
          <a:prstGeom prst="rect">
            <a:avLst/>
          </a:prstGeom>
          <a:noFill/>
        </p:spPr>
        <p:txBody>
          <a:bodyPr wrap="non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Milepæl</a:t>
            </a:r>
            <a:r>
              <a:rPr kumimoji="0" lang="en-US" sz="1800" b="1"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Frister</a:t>
            </a:r>
            <a:r>
              <a:rPr kumimoji="0" lang="en-US" sz="1200" b="1"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a:t>
            </a:r>
            <a:br>
              <a:rPr kumimoji="0" lang="en-US" sz="1200" b="1"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br>
            <a:r>
              <a:rPr lang="en-US" sz="1200" b="1" dirty="0">
                <a:solidFill>
                  <a:srgbClr val="44546A"/>
                </a:solidFill>
                <a:latin typeface="Poppins" pitchFamily="2" charset="77"/>
                <a:ea typeface="League Spartan" charset="0"/>
                <a:cs typeface="Poppins" pitchFamily="2" charset="77"/>
              </a:rPr>
              <a:t>BFV: 4.10 </a:t>
            </a:r>
            <a:r>
              <a:rPr kumimoji="0" lang="en-US" sz="1200" b="1"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BOA: 20.1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Alle</a:t>
            </a:r>
            <a:r>
              <a:rPr kumimoji="0" lang="en-US" sz="105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a:t>
            </a:r>
            <a:r>
              <a:rPr kumimoji="0" lang="en-US" sz="1050" b="0"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eksisterende</a:t>
            </a:r>
            <a:r>
              <a:rPr kumimoji="0" lang="en-US" sz="105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a:t>
            </a:r>
            <a:r>
              <a:rPr kumimoji="0" lang="en-US" sz="1050" b="0"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prosjekt</a:t>
            </a:r>
            <a:r>
              <a:rPr kumimoji="0" lang="en-US" sz="105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a:t>
            </a:r>
            <a:r>
              <a:rPr kumimoji="0" lang="en-US" sz="1050" b="0"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på</a:t>
            </a:r>
            <a:r>
              <a:rPr kumimoji="0" lang="en-US" sz="105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a:t>
            </a:r>
            <a:br>
              <a:rPr kumimoji="0" lang="en-US" sz="105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br>
            <a:r>
              <a:rPr kumimoji="0" lang="en-US" sz="105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BFV og BOA </a:t>
            </a:r>
            <a:r>
              <a:rPr kumimoji="0" lang="en-US" sz="1050" b="0"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er</a:t>
            </a:r>
            <a:r>
              <a:rPr kumimoji="0" lang="en-US" sz="105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a:t>
            </a:r>
            <a:r>
              <a:rPr kumimoji="0" lang="en-US" sz="1050" b="0"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ferdig</a:t>
            </a:r>
            <a:r>
              <a:rPr kumimoji="0" lang="en-US" sz="105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a:t>
            </a:r>
            <a:r>
              <a:rPr kumimoji="0" lang="en-US" sz="1050" b="0"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konvertert</a:t>
            </a:r>
            <a:endParaRPr kumimoji="0" lang="en-US" sz="100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endParaRPr>
          </a:p>
        </p:txBody>
      </p:sp>
      <p:sp>
        <p:nvSpPr>
          <p:cNvPr id="21" name="TextBox 20">
            <a:extLst>
              <a:ext uri="{FF2B5EF4-FFF2-40B4-BE49-F238E27FC236}">
                <a16:creationId xmlns:a16="http://schemas.microsoft.com/office/drawing/2014/main" id="{DA2B861B-385A-B74B-A10D-E9FECEF727ED}"/>
              </a:ext>
            </a:extLst>
          </p:cNvPr>
          <p:cNvSpPr txBox="1"/>
          <p:nvPr/>
        </p:nvSpPr>
        <p:spPr>
          <a:xfrm>
            <a:off x="7239593" y="2846125"/>
            <a:ext cx="1887055" cy="900246"/>
          </a:xfrm>
          <a:prstGeom prst="rect">
            <a:avLst/>
          </a:prstGeom>
          <a:noFill/>
        </p:spPr>
        <p:txBody>
          <a:bodyPr wrap="non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Milepæl</a:t>
            </a:r>
            <a:r>
              <a:rPr kumimoji="0" lang="en-US" sz="1800" b="1"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Frist: </a:t>
            </a:r>
            <a:r>
              <a:rPr kumimoji="0" lang="en-US" sz="1200" b="1"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Ikke</a:t>
            </a:r>
            <a:r>
              <a:rPr kumimoji="0" lang="en-US" sz="1200" b="1"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a:t>
            </a:r>
            <a:r>
              <a:rPr kumimoji="0" lang="en-US" sz="1200" b="1"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fastsatt</a:t>
            </a:r>
            <a:endParaRPr kumimoji="0" lang="en-US" sz="1200" b="1"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a:t>
            </a:r>
            <a:r>
              <a:rPr kumimoji="0" lang="en-US" sz="1050" b="0"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Årsbudsjett</a:t>
            </a:r>
            <a:r>
              <a:rPr kumimoji="0" lang="en-US" sz="105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BFV for 2022 </a:t>
            </a:r>
            <a:br>
              <a:rPr kumimoji="0" lang="en-US" sz="105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br>
            <a:r>
              <a:rPr kumimoji="0" lang="en-US" sz="1050" b="0"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er</a:t>
            </a:r>
            <a:r>
              <a:rPr kumimoji="0" lang="en-US" sz="105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a:t>
            </a:r>
            <a:r>
              <a:rPr kumimoji="0" lang="en-US" sz="1050" b="0"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levert</a:t>
            </a:r>
            <a:r>
              <a:rPr kumimoji="0" lang="en-US" sz="105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i </a:t>
            </a:r>
            <a:r>
              <a:rPr kumimoji="0" lang="en-US" sz="1050" b="0"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ny</a:t>
            </a:r>
            <a:r>
              <a:rPr kumimoji="0" lang="en-US" sz="105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a:t>
            </a:r>
            <a:r>
              <a:rPr kumimoji="0" lang="en-US" sz="1050" b="0"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økonomimodell</a:t>
            </a:r>
            <a:endParaRPr kumimoji="0" lang="en-US" sz="105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endParaRPr>
          </a:p>
        </p:txBody>
      </p:sp>
      <p:sp>
        <p:nvSpPr>
          <p:cNvPr id="23" name="Subtitle 2">
            <a:extLst>
              <a:ext uri="{FF2B5EF4-FFF2-40B4-BE49-F238E27FC236}">
                <a16:creationId xmlns:a16="http://schemas.microsoft.com/office/drawing/2014/main" id="{8CFBF5B3-DAEC-1045-9BB1-975FE7F18B24}"/>
              </a:ext>
            </a:extLst>
          </p:cNvPr>
          <p:cNvSpPr txBox="1">
            <a:spLocks/>
          </p:cNvSpPr>
          <p:nvPr/>
        </p:nvSpPr>
        <p:spPr>
          <a:xfrm>
            <a:off x="762000" y="2043620"/>
            <a:ext cx="1648939" cy="474617"/>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ct val="120000"/>
              </a:lnSpc>
              <a:spcBef>
                <a:spcPct val="20000"/>
              </a:spcBef>
              <a:spcAft>
                <a:spcPts val="0"/>
              </a:spcAft>
              <a:buClrTx/>
              <a:buSzTx/>
              <a:buFont typeface="Arial"/>
              <a:buNone/>
              <a:tabLst/>
              <a:defRPr/>
            </a:pPr>
            <a:r>
              <a:rPr kumimoji="0" lang="en-US" sz="1200" b="1"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OPPLÆRING I </a:t>
            </a:r>
            <a:br>
              <a:rPr kumimoji="0" lang="en-US" sz="1200" b="1"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br>
            <a:r>
              <a:rPr kumimoji="0" lang="en-US" sz="1200" b="1"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ØKONOMIMODELL</a:t>
            </a:r>
          </a:p>
        </p:txBody>
      </p:sp>
      <p:sp>
        <p:nvSpPr>
          <p:cNvPr id="24" name="Subtitle 2">
            <a:extLst>
              <a:ext uri="{FF2B5EF4-FFF2-40B4-BE49-F238E27FC236}">
                <a16:creationId xmlns:a16="http://schemas.microsoft.com/office/drawing/2014/main" id="{37C0503D-3C1B-0F4A-9873-D6364FA07F88}"/>
              </a:ext>
            </a:extLst>
          </p:cNvPr>
          <p:cNvSpPr txBox="1">
            <a:spLocks/>
          </p:cNvSpPr>
          <p:nvPr/>
        </p:nvSpPr>
        <p:spPr>
          <a:xfrm>
            <a:off x="2851854" y="1932821"/>
            <a:ext cx="1648939" cy="696216"/>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ct val="120000"/>
              </a:lnSpc>
              <a:spcBef>
                <a:spcPct val="20000"/>
              </a:spcBef>
              <a:spcAft>
                <a:spcPts val="0"/>
              </a:spcAft>
              <a:buClrTx/>
              <a:buSzTx/>
              <a:buFont typeface="Arial"/>
              <a:buNone/>
              <a:tabLst/>
              <a:defRPr/>
            </a:pPr>
            <a:r>
              <a:rPr kumimoji="0" lang="en-US" sz="1200" b="1"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t>BESTEMME </a:t>
            </a:r>
            <a:br>
              <a:rPr kumimoji="0" lang="en-US" sz="1200" b="1"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br>
            <a:r>
              <a:rPr kumimoji="0" lang="en-US" sz="1200" b="1"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t>PROSJEKTSTRUKTUR</a:t>
            </a:r>
            <a:br>
              <a:rPr kumimoji="0" lang="en-US" sz="1200" b="1"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br>
            <a:r>
              <a:rPr kumimoji="0" lang="en-US" sz="1200" b="1"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t> FOR ØKONOMISTYRING</a:t>
            </a:r>
          </a:p>
        </p:txBody>
      </p:sp>
      <p:sp>
        <p:nvSpPr>
          <p:cNvPr id="25" name="Subtitle 2">
            <a:extLst>
              <a:ext uri="{FF2B5EF4-FFF2-40B4-BE49-F238E27FC236}">
                <a16:creationId xmlns:a16="http://schemas.microsoft.com/office/drawing/2014/main" id="{E689D179-5AAC-FE47-8295-6612534147D0}"/>
              </a:ext>
            </a:extLst>
          </p:cNvPr>
          <p:cNvSpPr txBox="1">
            <a:spLocks/>
          </p:cNvSpPr>
          <p:nvPr/>
        </p:nvSpPr>
        <p:spPr>
          <a:xfrm>
            <a:off x="4986237" y="1932821"/>
            <a:ext cx="1648939" cy="696216"/>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ct val="120000"/>
              </a:lnSpc>
              <a:spcBef>
                <a:spcPct val="20000"/>
              </a:spcBef>
              <a:spcAft>
                <a:spcPts val="0"/>
              </a:spcAft>
              <a:buClrTx/>
              <a:buSzTx/>
              <a:buFont typeface="Arial"/>
              <a:buNone/>
              <a:tabLst/>
              <a:defRPr/>
            </a:pPr>
            <a:r>
              <a:rPr kumimoji="0" lang="en-US" sz="1200" b="1"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t>KONVERTERING AV </a:t>
            </a:r>
            <a:br>
              <a:rPr kumimoji="0" lang="en-US" sz="1200" b="1"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br>
            <a:r>
              <a:rPr kumimoji="0" lang="en-US" sz="1200" b="1"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t>EKSISTERENDE </a:t>
            </a:r>
            <a:br>
              <a:rPr kumimoji="0" lang="en-US" sz="1200" b="1"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br>
            <a:r>
              <a:rPr kumimoji="0" lang="en-US" sz="1200" b="1"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t>PROSJEKTER</a:t>
            </a:r>
          </a:p>
        </p:txBody>
      </p:sp>
      <p:sp>
        <p:nvSpPr>
          <p:cNvPr id="26" name="Subtitle 2">
            <a:extLst>
              <a:ext uri="{FF2B5EF4-FFF2-40B4-BE49-F238E27FC236}">
                <a16:creationId xmlns:a16="http://schemas.microsoft.com/office/drawing/2014/main" id="{C018CE84-EB17-DE42-BF78-9BE2513687D9}"/>
              </a:ext>
            </a:extLst>
          </p:cNvPr>
          <p:cNvSpPr txBox="1">
            <a:spLocks/>
          </p:cNvSpPr>
          <p:nvPr/>
        </p:nvSpPr>
        <p:spPr>
          <a:xfrm>
            <a:off x="7191853" y="1932821"/>
            <a:ext cx="1648939" cy="696216"/>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ct val="120000"/>
              </a:lnSpc>
              <a:spcBef>
                <a:spcPct val="20000"/>
              </a:spcBef>
              <a:spcAft>
                <a:spcPts val="0"/>
              </a:spcAft>
              <a:buClrTx/>
              <a:buSzTx/>
              <a:buFont typeface="Arial"/>
              <a:buNone/>
              <a:tabLst/>
              <a:defRPr/>
            </a:pPr>
            <a:r>
              <a:rPr kumimoji="0" lang="en-US" sz="1200" b="1"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LEGGE BUDSJETT MED </a:t>
            </a:r>
            <a:br>
              <a:rPr kumimoji="0" lang="en-US" sz="1200" b="1"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br>
            <a:r>
              <a:rPr kumimoji="0" lang="en-US" sz="1200" b="1"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NY ØKONOMIMODELL </a:t>
            </a:r>
            <a:br>
              <a:rPr kumimoji="0" lang="en-US" sz="1200" b="1"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br>
            <a:r>
              <a:rPr kumimoji="0" lang="en-US" sz="1200" b="1"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I BEVISST PLAN</a:t>
            </a:r>
          </a:p>
        </p:txBody>
      </p:sp>
      <p:sp>
        <p:nvSpPr>
          <p:cNvPr id="27" name="Subtitle 2">
            <a:extLst>
              <a:ext uri="{FF2B5EF4-FFF2-40B4-BE49-F238E27FC236}">
                <a16:creationId xmlns:a16="http://schemas.microsoft.com/office/drawing/2014/main" id="{959BA52F-5E97-4749-BDB8-176FB9BD5FA3}"/>
              </a:ext>
            </a:extLst>
          </p:cNvPr>
          <p:cNvSpPr txBox="1">
            <a:spLocks/>
          </p:cNvSpPr>
          <p:nvPr/>
        </p:nvSpPr>
        <p:spPr>
          <a:xfrm>
            <a:off x="9781061" y="1870048"/>
            <a:ext cx="1733277" cy="821763"/>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ct val="100000"/>
              </a:lnSpc>
              <a:spcBef>
                <a:spcPct val="20000"/>
              </a:spcBef>
              <a:spcAft>
                <a:spcPts val="0"/>
              </a:spcAft>
              <a:buClrTx/>
              <a:buSzTx/>
              <a:buFont typeface="Arial"/>
              <a:buNone/>
              <a:tabLst/>
              <a:defRPr/>
            </a:pPr>
            <a:r>
              <a:rPr kumimoji="0" lang="en-US" sz="1200" b="1"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t>BUDSJETT OG REGNSKAP </a:t>
            </a:r>
          </a:p>
          <a:p>
            <a:pPr marL="0" marR="0" lvl="0" indent="0" algn="ctr" defTabSz="1087636" rtl="0" eaLnBrk="1" fontAlgn="auto" latinLnBrk="0" hangingPunct="1">
              <a:lnSpc>
                <a:spcPct val="100000"/>
              </a:lnSpc>
              <a:spcBef>
                <a:spcPct val="20000"/>
              </a:spcBef>
              <a:spcAft>
                <a:spcPts val="0"/>
              </a:spcAft>
              <a:buClrTx/>
              <a:buSzTx/>
              <a:buFont typeface="Arial"/>
              <a:buNone/>
              <a:tabLst/>
              <a:defRPr/>
            </a:pPr>
            <a:r>
              <a:rPr kumimoji="0" lang="en-US" sz="1200" b="1"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t>I BEVISST INNSIKT OG PLAN MED NY ØKONOMIMODELL</a:t>
            </a:r>
          </a:p>
        </p:txBody>
      </p:sp>
      <p:sp>
        <p:nvSpPr>
          <p:cNvPr id="28" name="Freeform 1053">
            <a:extLst>
              <a:ext uri="{FF2B5EF4-FFF2-40B4-BE49-F238E27FC236}">
                <a16:creationId xmlns:a16="http://schemas.microsoft.com/office/drawing/2014/main" id="{AA88CB9A-FA38-2048-8473-3A066EABBF46}"/>
              </a:ext>
            </a:extLst>
          </p:cNvPr>
          <p:cNvSpPr>
            <a:spLocks noChangeAspect="1" noChangeArrowheads="1"/>
          </p:cNvSpPr>
          <p:nvPr/>
        </p:nvSpPr>
        <p:spPr bwMode="auto">
          <a:xfrm>
            <a:off x="7753591" y="863704"/>
            <a:ext cx="525463" cy="527050"/>
          </a:xfrm>
          <a:custGeom>
            <a:avLst/>
            <a:gdLst>
              <a:gd name="T0" fmla="*/ 50512908 w 290150"/>
              <a:gd name="T1" fmla="*/ 112216769 h 290153"/>
              <a:gd name="T2" fmla="*/ 71643929 w 290150"/>
              <a:gd name="T3" fmla="*/ 112216769 h 290153"/>
              <a:gd name="T4" fmla="*/ 72851536 w 290150"/>
              <a:gd name="T5" fmla="*/ 104874323 h 290153"/>
              <a:gd name="T6" fmla="*/ 73303909 w 290150"/>
              <a:gd name="T7" fmla="*/ 125807186 h 290153"/>
              <a:gd name="T8" fmla="*/ 47041501 w 290150"/>
              <a:gd name="T9" fmla="*/ 112216769 h 290153"/>
              <a:gd name="T10" fmla="*/ 60928191 w 290150"/>
              <a:gd name="T11" fmla="*/ 92618361 h 290153"/>
              <a:gd name="T12" fmla="*/ 65299099 w 290150"/>
              <a:gd name="T13" fmla="*/ 96900809 h 290153"/>
              <a:gd name="T14" fmla="*/ 69067784 w 290150"/>
              <a:gd name="T15" fmla="*/ 96900809 h 290153"/>
              <a:gd name="T16" fmla="*/ 60928191 w 290150"/>
              <a:gd name="T17" fmla="*/ 88794158 h 290153"/>
              <a:gd name="T18" fmla="*/ 97925242 w 290150"/>
              <a:gd name="T19" fmla="*/ 95540301 h 290153"/>
              <a:gd name="T20" fmla="*/ 119137542 w 290150"/>
              <a:gd name="T21" fmla="*/ 95540301 h 290153"/>
              <a:gd name="T22" fmla="*/ 120521184 w 290150"/>
              <a:gd name="T23" fmla="*/ 88354753 h 290153"/>
              <a:gd name="T24" fmla="*/ 120982084 w 290150"/>
              <a:gd name="T25" fmla="*/ 109287812 h 290153"/>
              <a:gd name="T26" fmla="*/ 94083017 w 290150"/>
              <a:gd name="T27" fmla="*/ 95540301 h 290153"/>
              <a:gd name="T28" fmla="*/ 5225161 w 290150"/>
              <a:gd name="T29" fmla="*/ 88198331 h 290153"/>
              <a:gd name="T30" fmla="*/ 3841671 w 290150"/>
              <a:gd name="T31" fmla="*/ 105538387 h 290153"/>
              <a:gd name="T32" fmla="*/ 23210418 w 290150"/>
              <a:gd name="T33" fmla="*/ 90854292 h 290153"/>
              <a:gd name="T34" fmla="*/ 28743105 w 290150"/>
              <a:gd name="T35" fmla="*/ 95540301 h 290153"/>
              <a:gd name="T36" fmla="*/ 1843151 w 290150"/>
              <a:gd name="T37" fmla="*/ 109287812 h 290153"/>
              <a:gd name="T38" fmla="*/ 2613370 w 290150"/>
              <a:gd name="T39" fmla="*/ 88354753 h 290153"/>
              <a:gd name="T40" fmla="*/ 103749164 w 290150"/>
              <a:gd name="T41" fmla="*/ 80534003 h 290153"/>
              <a:gd name="T42" fmla="*/ 108120542 w 290150"/>
              <a:gd name="T43" fmla="*/ 76170591 h 290153"/>
              <a:gd name="T44" fmla="*/ 14113170 w 290150"/>
              <a:gd name="T45" fmla="*/ 84897974 h 290153"/>
              <a:gd name="T46" fmla="*/ 108120542 w 290150"/>
              <a:gd name="T47" fmla="*/ 72274450 h 290153"/>
              <a:gd name="T48" fmla="*/ 100131720 w 290150"/>
              <a:gd name="T49" fmla="*/ 80534003 h 290153"/>
              <a:gd name="T50" fmla="*/ 22026811 w 290150"/>
              <a:gd name="T51" fmla="*/ 80534003 h 290153"/>
              <a:gd name="T52" fmla="*/ 14113170 w 290150"/>
              <a:gd name="T53" fmla="*/ 72274450 h 290153"/>
              <a:gd name="T54" fmla="*/ 63008703 w 290150"/>
              <a:gd name="T55" fmla="*/ 80412125 h 290153"/>
              <a:gd name="T56" fmla="*/ 59137589 w 290150"/>
              <a:gd name="T57" fmla="*/ 62603942 h 290153"/>
              <a:gd name="T58" fmla="*/ 80256690 w 290150"/>
              <a:gd name="T59" fmla="*/ 57099948 h 290153"/>
              <a:gd name="T60" fmla="*/ 93931211 w 290150"/>
              <a:gd name="T61" fmla="*/ 80409045 h 290153"/>
              <a:gd name="T62" fmla="*/ 76610144 w 290150"/>
              <a:gd name="T63" fmla="*/ 80409045 h 290153"/>
              <a:gd name="T64" fmla="*/ 43722759 w 290150"/>
              <a:gd name="T65" fmla="*/ 55066252 h 290153"/>
              <a:gd name="T66" fmla="*/ 43722759 w 290150"/>
              <a:gd name="T67" fmla="*/ 82442127 h 290153"/>
              <a:gd name="T68" fmla="*/ 30048198 w 290150"/>
              <a:gd name="T69" fmla="*/ 78531644 h 290153"/>
              <a:gd name="T70" fmla="*/ 43722759 w 290150"/>
              <a:gd name="T71" fmla="*/ 55066252 h 290153"/>
              <a:gd name="T72" fmla="*/ 63252607 w 290150"/>
              <a:gd name="T73" fmla="*/ 25159684 h 290153"/>
              <a:gd name="T74" fmla="*/ 72601980 w 290150"/>
              <a:gd name="T75" fmla="*/ 29060761 h 290153"/>
              <a:gd name="T76" fmla="*/ 61566426 w 290150"/>
              <a:gd name="T77" fmla="*/ 40455101 h 290153"/>
              <a:gd name="T78" fmla="*/ 50225094 w 290150"/>
              <a:gd name="T79" fmla="*/ 29060761 h 290153"/>
              <a:gd name="T80" fmla="*/ 59574112 w 290150"/>
              <a:gd name="T81" fmla="*/ 25159684 h 290153"/>
              <a:gd name="T82" fmla="*/ 61230865 w 290150"/>
              <a:gd name="T83" fmla="*/ 3765819 h 290153"/>
              <a:gd name="T84" fmla="*/ 84052482 w 290150"/>
              <a:gd name="T85" fmla="*/ 27296629 h 290153"/>
              <a:gd name="T86" fmla="*/ 87881874 w 290150"/>
              <a:gd name="T87" fmla="*/ 27296629 h 290153"/>
              <a:gd name="T88" fmla="*/ 61230865 w 290150"/>
              <a:gd name="T89" fmla="*/ 0 h 29015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90150" h="290153">
                <a:moveTo>
                  <a:pt x="122891" y="241515"/>
                </a:moveTo>
                <a:cubicBezTo>
                  <a:pt x="124674" y="242596"/>
                  <a:pt x="125030" y="245478"/>
                  <a:pt x="123604" y="247639"/>
                </a:cubicBezTo>
                <a:cubicBezTo>
                  <a:pt x="121108" y="250882"/>
                  <a:pt x="119325" y="254485"/>
                  <a:pt x="119325" y="258808"/>
                </a:cubicBezTo>
                <a:lnTo>
                  <a:pt x="119325" y="281506"/>
                </a:lnTo>
                <a:lnTo>
                  <a:pt x="169243" y="281506"/>
                </a:lnTo>
                <a:lnTo>
                  <a:pt x="169243" y="258808"/>
                </a:lnTo>
                <a:cubicBezTo>
                  <a:pt x="169243" y="254485"/>
                  <a:pt x="167460" y="250882"/>
                  <a:pt x="164964" y="247639"/>
                </a:cubicBezTo>
                <a:cubicBezTo>
                  <a:pt x="163538" y="245478"/>
                  <a:pt x="163894" y="242596"/>
                  <a:pt x="166034" y="241515"/>
                </a:cubicBezTo>
                <a:cubicBezTo>
                  <a:pt x="167460" y="239713"/>
                  <a:pt x="170312" y="239713"/>
                  <a:pt x="172095" y="241875"/>
                </a:cubicBezTo>
                <a:cubicBezTo>
                  <a:pt x="175660" y="246919"/>
                  <a:pt x="177443" y="252683"/>
                  <a:pt x="177443" y="258808"/>
                </a:cubicBezTo>
                <a:lnTo>
                  <a:pt x="177443" y="285469"/>
                </a:lnTo>
                <a:cubicBezTo>
                  <a:pt x="177443" y="288352"/>
                  <a:pt x="175660" y="290153"/>
                  <a:pt x="173165" y="290153"/>
                </a:cubicBezTo>
                <a:lnTo>
                  <a:pt x="115047" y="290153"/>
                </a:lnTo>
                <a:cubicBezTo>
                  <a:pt x="112908" y="290153"/>
                  <a:pt x="111125" y="288352"/>
                  <a:pt x="111125" y="285469"/>
                </a:cubicBezTo>
                <a:lnTo>
                  <a:pt x="111125" y="258808"/>
                </a:lnTo>
                <a:cubicBezTo>
                  <a:pt x="111125" y="252683"/>
                  <a:pt x="112908" y="246919"/>
                  <a:pt x="116830" y="241875"/>
                </a:cubicBezTo>
                <a:cubicBezTo>
                  <a:pt x="118256" y="239713"/>
                  <a:pt x="121108" y="239713"/>
                  <a:pt x="122891" y="241515"/>
                </a:cubicBezTo>
                <a:close/>
                <a:moveTo>
                  <a:pt x="143929" y="213608"/>
                </a:moveTo>
                <a:cubicBezTo>
                  <a:pt x="138944" y="213608"/>
                  <a:pt x="134315" y="218194"/>
                  <a:pt x="134315" y="223485"/>
                </a:cubicBezTo>
                <a:cubicBezTo>
                  <a:pt x="134315" y="229483"/>
                  <a:pt x="138944" y="234069"/>
                  <a:pt x="143929" y="234069"/>
                </a:cubicBezTo>
                <a:cubicBezTo>
                  <a:pt x="149626" y="234069"/>
                  <a:pt x="154255" y="229483"/>
                  <a:pt x="154255" y="223485"/>
                </a:cubicBezTo>
                <a:cubicBezTo>
                  <a:pt x="154255" y="218194"/>
                  <a:pt x="149626" y="213608"/>
                  <a:pt x="143929" y="213608"/>
                </a:cubicBezTo>
                <a:close/>
                <a:moveTo>
                  <a:pt x="143929" y="204788"/>
                </a:moveTo>
                <a:cubicBezTo>
                  <a:pt x="154611" y="204788"/>
                  <a:pt x="163157" y="213608"/>
                  <a:pt x="163157" y="223485"/>
                </a:cubicBezTo>
                <a:cubicBezTo>
                  <a:pt x="163157" y="234069"/>
                  <a:pt x="154611" y="242535"/>
                  <a:pt x="143929" y="242535"/>
                </a:cubicBezTo>
                <a:cubicBezTo>
                  <a:pt x="133959" y="242535"/>
                  <a:pt x="125413" y="234069"/>
                  <a:pt x="125413" y="223485"/>
                </a:cubicBezTo>
                <a:cubicBezTo>
                  <a:pt x="125413" y="213608"/>
                  <a:pt x="133959" y="204788"/>
                  <a:pt x="143929" y="204788"/>
                </a:cubicBezTo>
                <a:close/>
                <a:moveTo>
                  <a:pt x="234596" y="203415"/>
                </a:moveTo>
                <a:cubicBezTo>
                  <a:pt x="236411" y="204856"/>
                  <a:pt x="236411" y="207378"/>
                  <a:pt x="235322" y="209539"/>
                </a:cubicBezTo>
                <a:cubicBezTo>
                  <a:pt x="232417" y="212782"/>
                  <a:pt x="231328" y="216385"/>
                  <a:pt x="231328" y="220348"/>
                </a:cubicBezTo>
                <a:lnTo>
                  <a:pt x="231328" y="243406"/>
                </a:lnTo>
                <a:lnTo>
                  <a:pt x="281436" y="243406"/>
                </a:lnTo>
                <a:lnTo>
                  <a:pt x="281436" y="220348"/>
                </a:lnTo>
                <a:cubicBezTo>
                  <a:pt x="281436" y="216385"/>
                  <a:pt x="279983" y="212782"/>
                  <a:pt x="277079" y="209539"/>
                </a:cubicBezTo>
                <a:cubicBezTo>
                  <a:pt x="275989" y="207378"/>
                  <a:pt x="276352" y="204856"/>
                  <a:pt x="278168" y="203415"/>
                </a:cubicBezTo>
                <a:cubicBezTo>
                  <a:pt x="279983" y="201613"/>
                  <a:pt x="282525" y="201974"/>
                  <a:pt x="284704" y="203775"/>
                </a:cubicBezTo>
                <a:cubicBezTo>
                  <a:pt x="288335" y="208459"/>
                  <a:pt x="290150" y="214223"/>
                  <a:pt x="290150" y="220348"/>
                </a:cubicBezTo>
                <a:lnTo>
                  <a:pt x="290150" y="247730"/>
                </a:lnTo>
                <a:cubicBezTo>
                  <a:pt x="290150" y="250252"/>
                  <a:pt x="288335" y="252053"/>
                  <a:pt x="285793" y="252053"/>
                </a:cubicBezTo>
                <a:lnTo>
                  <a:pt x="226607" y="252053"/>
                </a:lnTo>
                <a:cubicBezTo>
                  <a:pt x="224066" y="252053"/>
                  <a:pt x="222250" y="250252"/>
                  <a:pt x="222250" y="247730"/>
                </a:cubicBezTo>
                <a:lnTo>
                  <a:pt x="222250" y="220348"/>
                </a:lnTo>
                <a:cubicBezTo>
                  <a:pt x="222250" y="214223"/>
                  <a:pt x="224066" y="208459"/>
                  <a:pt x="228423" y="203775"/>
                </a:cubicBezTo>
                <a:cubicBezTo>
                  <a:pt x="229875" y="201974"/>
                  <a:pt x="232417" y="201613"/>
                  <a:pt x="234596" y="203415"/>
                </a:cubicBezTo>
                <a:close/>
                <a:moveTo>
                  <a:pt x="12345" y="203415"/>
                </a:moveTo>
                <a:cubicBezTo>
                  <a:pt x="13798" y="204856"/>
                  <a:pt x="14161" y="207378"/>
                  <a:pt x="12708" y="209539"/>
                </a:cubicBezTo>
                <a:cubicBezTo>
                  <a:pt x="10167" y="212782"/>
                  <a:pt x="9077" y="216385"/>
                  <a:pt x="9077" y="220348"/>
                </a:cubicBezTo>
                <a:lnTo>
                  <a:pt x="9077" y="243406"/>
                </a:lnTo>
                <a:lnTo>
                  <a:pt x="59185" y="243406"/>
                </a:lnTo>
                <a:lnTo>
                  <a:pt x="59185" y="220348"/>
                </a:lnTo>
                <a:cubicBezTo>
                  <a:pt x="59185" y="216385"/>
                  <a:pt x="57733" y="212782"/>
                  <a:pt x="54828" y="209539"/>
                </a:cubicBezTo>
                <a:cubicBezTo>
                  <a:pt x="53739" y="207378"/>
                  <a:pt x="53739" y="204856"/>
                  <a:pt x="55917" y="203415"/>
                </a:cubicBezTo>
                <a:cubicBezTo>
                  <a:pt x="57733" y="201613"/>
                  <a:pt x="60275" y="201974"/>
                  <a:pt x="62090" y="203775"/>
                </a:cubicBezTo>
                <a:cubicBezTo>
                  <a:pt x="66084" y="208459"/>
                  <a:pt x="67900" y="214223"/>
                  <a:pt x="67900" y="220348"/>
                </a:cubicBezTo>
                <a:lnTo>
                  <a:pt x="67900" y="247730"/>
                </a:lnTo>
                <a:cubicBezTo>
                  <a:pt x="67900" y="250252"/>
                  <a:pt x="66084" y="252053"/>
                  <a:pt x="63542" y="252053"/>
                </a:cubicBezTo>
                <a:lnTo>
                  <a:pt x="4357" y="252053"/>
                </a:lnTo>
                <a:cubicBezTo>
                  <a:pt x="1815" y="252053"/>
                  <a:pt x="0" y="250252"/>
                  <a:pt x="0" y="247730"/>
                </a:cubicBezTo>
                <a:lnTo>
                  <a:pt x="0" y="220348"/>
                </a:lnTo>
                <a:cubicBezTo>
                  <a:pt x="0" y="214223"/>
                  <a:pt x="2178" y="208459"/>
                  <a:pt x="6172" y="203775"/>
                </a:cubicBezTo>
                <a:cubicBezTo>
                  <a:pt x="7625" y="201974"/>
                  <a:pt x="10167" y="201613"/>
                  <a:pt x="12345" y="203415"/>
                </a:cubicBezTo>
                <a:close/>
                <a:moveTo>
                  <a:pt x="255410" y="175674"/>
                </a:moveTo>
                <a:cubicBezTo>
                  <a:pt x="249713" y="175674"/>
                  <a:pt x="245084" y="179987"/>
                  <a:pt x="245084" y="185738"/>
                </a:cubicBezTo>
                <a:cubicBezTo>
                  <a:pt x="245084" y="191130"/>
                  <a:pt x="249713" y="195802"/>
                  <a:pt x="255410" y="195802"/>
                </a:cubicBezTo>
                <a:cubicBezTo>
                  <a:pt x="260751" y="195802"/>
                  <a:pt x="265380" y="191130"/>
                  <a:pt x="265380" y="185738"/>
                </a:cubicBezTo>
                <a:cubicBezTo>
                  <a:pt x="265380" y="179987"/>
                  <a:pt x="260751" y="175674"/>
                  <a:pt x="255410" y="175674"/>
                </a:cubicBezTo>
                <a:close/>
                <a:moveTo>
                  <a:pt x="33338" y="175674"/>
                </a:moveTo>
                <a:cubicBezTo>
                  <a:pt x="27693" y="175674"/>
                  <a:pt x="23107" y="179987"/>
                  <a:pt x="23107" y="185738"/>
                </a:cubicBezTo>
                <a:cubicBezTo>
                  <a:pt x="23107" y="191130"/>
                  <a:pt x="27693" y="195802"/>
                  <a:pt x="33338" y="195802"/>
                </a:cubicBezTo>
                <a:cubicBezTo>
                  <a:pt x="38629" y="195802"/>
                  <a:pt x="43216" y="191130"/>
                  <a:pt x="43216" y="185738"/>
                </a:cubicBezTo>
                <a:cubicBezTo>
                  <a:pt x="43216" y="179987"/>
                  <a:pt x="38629" y="175674"/>
                  <a:pt x="33338" y="175674"/>
                </a:cubicBezTo>
                <a:close/>
                <a:moveTo>
                  <a:pt x="255410" y="166688"/>
                </a:moveTo>
                <a:cubicBezTo>
                  <a:pt x="265736" y="166688"/>
                  <a:pt x="274282" y="175315"/>
                  <a:pt x="274282" y="185738"/>
                </a:cubicBezTo>
                <a:cubicBezTo>
                  <a:pt x="274282" y="196521"/>
                  <a:pt x="265736" y="204429"/>
                  <a:pt x="255410" y="204429"/>
                </a:cubicBezTo>
                <a:cubicBezTo>
                  <a:pt x="244728" y="204429"/>
                  <a:pt x="236538" y="196521"/>
                  <a:pt x="236538" y="185738"/>
                </a:cubicBezTo>
                <a:cubicBezTo>
                  <a:pt x="236538" y="175315"/>
                  <a:pt x="244728" y="166688"/>
                  <a:pt x="255410" y="166688"/>
                </a:cubicBezTo>
                <a:close/>
                <a:moveTo>
                  <a:pt x="33338" y="166688"/>
                </a:moveTo>
                <a:cubicBezTo>
                  <a:pt x="43568" y="166688"/>
                  <a:pt x="52035" y="175315"/>
                  <a:pt x="52035" y="185738"/>
                </a:cubicBezTo>
                <a:cubicBezTo>
                  <a:pt x="52035" y="196521"/>
                  <a:pt x="43568" y="204429"/>
                  <a:pt x="33338" y="204429"/>
                </a:cubicBezTo>
                <a:cubicBezTo>
                  <a:pt x="22754" y="204429"/>
                  <a:pt x="14288" y="196521"/>
                  <a:pt x="14288" y="185738"/>
                </a:cubicBezTo>
                <a:cubicBezTo>
                  <a:pt x="14288" y="175315"/>
                  <a:pt x="22754" y="166688"/>
                  <a:pt x="33338" y="166688"/>
                </a:cubicBezTo>
                <a:close/>
                <a:moveTo>
                  <a:pt x="143891" y="139700"/>
                </a:moveTo>
                <a:cubicBezTo>
                  <a:pt x="146939" y="139700"/>
                  <a:pt x="148844" y="141862"/>
                  <a:pt x="148844" y="144384"/>
                </a:cubicBezTo>
                <a:lnTo>
                  <a:pt x="148844" y="185456"/>
                </a:lnTo>
                <a:cubicBezTo>
                  <a:pt x="148844" y="187978"/>
                  <a:pt x="146939" y="190140"/>
                  <a:pt x="143891" y="190140"/>
                </a:cubicBezTo>
                <a:cubicBezTo>
                  <a:pt x="141605" y="190140"/>
                  <a:pt x="139700" y="187978"/>
                  <a:pt x="139700" y="185456"/>
                </a:cubicBezTo>
                <a:lnTo>
                  <a:pt x="139700" y="144384"/>
                </a:lnTo>
                <a:cubicBezTo>
                  <a:pt x="139700" y="141862"/>
                  <a:pt x="141605" y="139700"/>
                  <a:pt x="143891" y="139700"/>
                </a:cubicBezTo>
                <a:close/>
                <a:moveTo>
                  <a:pt x="185282" y="127000"/>
                </a:moveTo>
                <a:cubicBezTo>
                  <a:pt x="188154" y="127000"/>
                  <a:pt x="189589" y="128804"/>
                  <a:pt x="189589" y="131691"/>
                </a:cubicBezTo>
                <a:lnTo>
                  <a:pt x="189589" y="181120"/>
                </a:lnTo>
                <a:lnTo>
                  <a:pt x="217225" y="181120"/>
                </a:lnTo>
                <a:cubicBezTo>
                  <a:pt x="219738" y="181120"/>
                  <a:pt x="221891" y="182924"/>
                  <a:pt x="221891" y="185449"/>
                </a:cubicBezTo>
                <a:cubicBezTo>
                  <a:pt x="221891" y="187975"/>
                  <a:pt x="219738" y="190139"/>
                  <a:pt x="217225" y="190139"/>
                </a:cubicBezTo>
                <a:lnTo>
                  <a:pt x="185282" y="190139"/>
                </a:lnTo>
                <a:cubicBezTo>
                  <a:pt x="182770" y="190139"/>
                  <a:pt x="180975" y="187975"/>
                  <a:pt x="180975" y="185449"/>
                </a:cubicBezTo>
                <a:lnTo>
                  <a:pt x="180975" y="131691"/>
                </a:lnTo>
                <a:cubicBezTo>
                  <a:pt x="180975" y="128804"/>
                  <a:pt x="182770" y="127000"/>
                  <a:pt x="185282" y="127000"/>
                </a:cubicBezTo>
                <a:close/>
                <a:moveTo>
                  <a:pt x="103284" y="127000"/>
                </a:moveTo>
                <a:cubicBezTo>
                  <a:pt x="105796" y="127000"/>
                  <a:pt x="107591" y="128804"/>
                  <a:pt x="107591" y="131691"/>
                </a:cubicBezTo>
                <a:lnTo>
                  <a:pt x="107591" y="185449"/>
                </a:lnTo>
                <a:cubicBezTo>
                  <a:pt x="107591" y="187975"/>
                  <a:pt x="105796" y="190139"/>
                  <a:pt x="103284" y="190139"/>
                </a:cubicBezTo>
                <a:lnTo>
                  <a:pt x="70982" y="190139"/>
                </a:lnTo>
                <a:cubicBezTo>
                  <a:pt x="68828" y="190139"/>
                  <a:pt x="66675" y="187975"/>
                  <a:pt x="66675" y="185449"/>
                </a:cubicBezTo>
                <a:cubicBezTo>
                  <a:pt x="66675" y="182924"/>
                  <a:pt x="68828" y="181120"/>
                  <a:pt x="70982" y="181120"/>
                </a:cubicBezTo>
                <a:lnTo>
                  <a:pt x="98977" y="181120"/>
                </a:lnTo>
                <a:lnTo>
                  <a:pt x="98977" y="131691"/>
                </a:lnTo>
                <a:cubicBezTo>
                  <a:pt x="98977" y="128804"/>
                  <a:pt x="101130" y="127000"/>
                  <a:pt x="103284" y="127000"/>
                </a:cubicBezTo>
                <a:close/>
                <a:moveTo>
                  <a:pt x="145437" y="31750"/>
                </a:moveTo>
                <a:cubicBezTo>
                  <a:pt x="147610" y="31750"/>
                  <a:pt x="149420" y="33550"/>
                  <a:pt x="149420" y="36429"/>
                </a:cubicBezTo>
                <a:lnTo>
                  <a:pt x="149420" y="58027"/>
                </a:lnTo>
                <a:lnTo>
                  <a:pt x="171506" y="58027"/>
                </a:lnTo>
                <a:cubicBezTo>
                  <a:pt x="174040" y="58027"/>
                  <a:pt x="175851" y="60546"/>
                  <a:pt x="175851" y="62346"/>
                </a:cubicBezTo>
                <a:cubicBezTo>
                  <a:pt x="175851" y="65226"/>
                  <a:pt x="174040" y="67026"/>
                  <a:pt x="171506" y="67026"/>
                </a:cubicBezTo>
                <a:lnTo>
                  <a:pt x="149420" y="67026"/>
                </a:lnTo>
                <a:lnTo>
                  <a:pt x="149420" y="88983"/>
                </a:lnTo>
                <a:cubicBezTo>
                  <a:pt x="149420" y="91503"/>
                  <a:pt x="147610" y="93303"/>
                  <a:pt x="145437" y="93303"/>
                </a:cubicBezTo>
                <a:cubicBezTo>
                  <a:pt x="142541" y="93303"/>
                  <a:pt x="140730" y="91503"/>
                  <a:pt x="140730" y="88983"/>
                </a:cubicBezTo>
                <a:lnTo>
                  <a:pt x="140730" y="67026"/>
                </a:lnTo>
                <a:lnTo>
                  <a:pt x="118645" y="67026"/>
                </a:lnTo>
                <a:cubicBezTo>
                  <a:pt x="116110" y="67026"/>
                  <a:pt x="114300" y="65226"/>
                  <a:pt x="114300" y="62346"/>
                </a:cubicBezTo>
                <a:cubicBezTo>
                  <a:pt x="114300" y="60546"/>
                  <a:pt x="116110" y="58027"/>
                  <a:pt x="118645" y="58027"/>
                </a:cubicBezTo>
                <a:lnTo>
                  <a:pt x="140730" y="58027"/>
                </a:lnTo>
                <a:lnTo>
                  <a:pt x="140730" y="36429"/>
                </a:lnTo>
                <a:cubicBezTo>
                  <a:pt x="140730" y="33550"/>
                  <a:pt x="142541" y="31750"/>
                  <a:pt x="145437" y="31750"/>
                </a:cubicBezTo>
                <a:close/>
                <a:moveTo>
                  <a:pt x="144644" y="8684"/>
                </a:moveTo>
                <a:cubicBezTo>
                  <a:pt x="114251" y="8684"/>
                  <a:pt x="89647" y="33288"/>
                  <a:pt x="89647" y="62957"/>
                </a:cubicBezTo>
                <a:cubicBezTo>
                  <a:pt x="89647" y="93350"/>
                  <a:pt x="114251" y="117954"/>
                  <a:pt x="144644" y="117954"/>
                </a:cubicBezTo>
                <a:cubicBezTo>
                  <a:pt x="174313" y="117954"/>
                  <a:pt x="198556" y="93350"/>
                  <a:pt x="198556" y="62957"/>
                </a:cubicBezTo>
                <a:cubicBezTo>
                  <a:pt x="198556" y="33288"/>
                  <a:pt x="174313" y="8684"/>
                  <a:pt x="144644" y="8684"/>
                </a:cubicBezTo>
                <a:close/>
                <a:moveTo>
                  <a:pt x="144644" y="0"/>
                </a:moveTo>
                <a:cubicBezTo>
                  <a:pt x="179379" y="0"/>
                  <a:pt x="207601" y="28222"/>
                  <a:pt x="207601" y="62957"/>
                </a:cubicBezTo>
                <a:cubicBezTo>
                  <a:pt x="207601" y="98416"/>
                  <a:pt x="179379" y="126638"/>
                  <a:pt x="144644" y="126638"/>
                </a:cubicBezTo>
                <a:cubicBezTo>
                  <a:pt x="109185" y="126638"/>
                  <a:pt x="80963" y="98416"/>
                  <a:pt x="80963" y="62957"/>
                </a:cubicBezTo>
                <a:cubicBezTo>
                  <a:pt x="80963" y="28222"/>
                  <a:pt x="109185" y="0"/>
                  <a:pt x="144644" y="0"/>
                </a:cubicBezTo>
                <a:close/>
              </a:path>
            </a:pathLst>
          </a:custGeom>
          <a:solidFill>
            <a:schemeClr val="bg1"/>
          </a:solidFill>
          <a:ln>
            <a:noFill/>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Lato Light" panose="020F0502020204030203" pitchFamily="34" charset="0"/>
              <a:ea typeface="+mn-ea"/>
              <a:cs typeface="+mn-cs"/>
            </a:endParaRPr>
          </a:p>
        </p:txBody>
      </p:sp>
      <p:sp>
        <p:nvSpPr>
          <p:cNvPr id="29" name="Freeform 1061">
            <a:extLst>
              <a:ext uri="{FF2B5EF4-FFF2-40B4-BE49-F238E27FC236}">
                <a16:creationId xmlns:a16="http://schemas.microsoft.com/office/drawing/2014/main" id="{F9450158-56F9-9C48-888A-D3260D604AE5}"/>
              </a:ext>
            </a:extLst>
          </p:cNvPr>
          <p:cNvSpPr>
            <a:spLocks noChangeAspect="1" noChangeArrowheads="1"/>
          </p:cNvSpPr>
          <p:nvPr/>
        </p:nvSpPr>
        <p:spPr bwMode="auto">
          <a:xfrm>
            <a:off x="5545593" y="841755"/>
            <a:ext cx="530225" cy="527050"/>
          </a:xfrm>
          <a:custGeom>
            <a:avLst/>
            <a:gdLst>
              <a:gd name="T0" fmla="*/ 6381463 w 291074"/>
              <a:gd name="T1" fmla="*/ 118260728 h 290436"/>
              <a:gd name="T2" fmla="*/ 117329382 w 291074"/>
              <a:gd name="T3" fmla="*/ 103178766 h 290436"/>
              <a:gd name="T4" fmla="*/ 127248536 w 291074"/>
              <a:gd name="T5" fmla="*/ 112881339 h 290436"/>
              <a:gd name="T6" fmla="*/ 99326893 w 291074"/>
              <a:gd name="T7" fmla="*/ 104121746 h 290436"/>
              <a:gd name="T8" fmla="*/ 111246539 w 291074"/>
              <a:gd name="T9" fmla="*/ 100893816 h 290436"/>
              <a:gd name="T10" fmla="*/ 20587701 w 291074"/>
              <a:gd name="T11" fmla="*/ 99970716 h 290436"/>
              <a:gd name="T12" fmla="*/ 25976383 w 291074"/>
              <a:gd name="T13" fmla="*/ 104888675 h 290436"/>
              <a:gd name="T14" fmla="*/ 112063241 w 291074"/>
              <a:gd name="T15" fmla="*/ 74148473 h 290436"/>
              <a:gd name="T16" fmla="*/ 114185614 w 291074"/>
              <a:gd name="T17" fmla="*/ 98279943 h 290436"/>
              <a:gd name="T18" fmla="*/ 127575500 w 291074"/>
              <a:gd name="T19" fmla="*/ 120873984 h 290436"/>
              <a:gd name="T20" fmla="*/ 103735349 w 291074"/>
              <a:gd name="T21" fmla="*/ 108269985 h 290436"/>
              <a:gd name="T22" fmla="*/ 82018180 w 291074"/>
              <a:gd name="T23" fmla="*/ 109960490 h 290436"/>
              <a:gd name="T24" fmla="*/ 84794463 w 291074"/>
              <a:gd name="T25" fmla="*/ 107195892 h 290436"/>
              <a:gd name="T26" fmla="*/ 114185614 w 291074"/>
              <a:gd name="T27" fmla="*/ 87367490 h 290436"/>
              <a:gd name="T28" fmla="*/ 19118593 w 291074"/>
              <a:gd name="T29" fmla="*/ 74148473 h 290436"/>
              <a:gd name="T30" fmla="*/ 16832540 w 291074"/>
              <a:gd name="T31" fmla="*/ 87367490 h 290436"/>
              <a:gd name="T32" fmla="*/ 46550735 w 291074"/>
              <a:gd name="T33" fmla="*/ 107195892 h 290436"/>
              <a:gd name="T34" fmla="*/ 49326661 w 291074"/>
              <a:gd name="T35" fmla="*/ 109960490 h 290436"/>
              <a:gd name="T36" fmla="*/ 27609146 w 291074"/>
              <a:gd name="T37" fmla="*/ 108269985 h 290436"/>
              <a:gd name="T38" fmla="*/ 3605544 w 291074"/>
              <a:gd name="T39" fmla="*/ 120873984 h 290436"/>
              <a:gd name="T40" fmla="*/ 16342408 w 291074"/>
              <a:gd name="T41" fmla="*/ 99663363 h 290436"/>
              <a:gd name="T42" fmla="*/ 15362259 w 291074"/>
              <a:gd name="T43" fmla="*/ 77684115 h 290436"/>
              <a:gd name="T44" fmla="*/ 103517169 w 291074"/>
              <a:gd name="T45" fmla="*/ 64213815 h 290436"/>
              <a:gd name="T46" fmla="*/ 90254916 w 291074"/>
              <a:gd name="T47" fmla="*/ 89822304 h 290436"/>
              <a:gd name="T48" fmla="*/ 40765357 w 291074"/>
              <a:gd name="T49" fmla="*/ 89822304 h 290436"/>
              <a:gd name="T50" fmla="*/ 27503865 w 291074"/>
              <a:gd name="T51" fmla="*/ 64213815 h 290436"/>
              <a:gd name="T52" fmla="*/ 93167027 w 291074"/>
              <a:gd name="T53" fmla="*/ 37532648 h 290436"/>
              <a:gd name="T54" fmla="*/ 37854342 w 291074"/>
              <a:gd name="T55" fmla="*/ 37532648 h 290436"/>
              <a:gd name="T56" fmla="*/ 67451366 w 291074"/>
              <a:gd name="T57" fmla="*/ 26338658 h 290436"/>
              <a:gd name="T58" fmla="*/ 67451366 w 291074"/>
              <a:gd name="T59" fmla="*/ 26338658 h 290436"/>
              <a:gd name="T60" fmla="*/ 63569847 w 291074"/>
              <a:gd name="T61" fmla="*/ 60534775 h 290436"/>
              <a:gd name="T62" fmla="*/ 65510590 w 291074"/>
              <a:gd name="T63" fmla="*/ 102396416 h 290436"/>
              <a:gd name="T64" fmla="*/ 105347701 w 291074"/>
              <a:gd name="T65" fmla="*/ 19545095 h 290436"/>
              <a:gd name="T66" fmla="*/ 111024396 w 291074"/>
              <a:gd name="T67" fmla="*/ 23400513 h 290436"/>
              <a:gd name="T68" fmla="*/ 22546907 w 291074"/>
              <a:gd name="T69" fmla="*/ 21445794 h 290436"/>
              <a:gd name="T70" fmla="*/ 31854966 w 291074"/>
              <a:gd name="T71" fmla="*/ 20209379 h 290436"/>
              <a:gd name="T72" fmla="*/ 111835813 w 291074"/>
              <a:gd name="T73" fmla="*/ 7210767 h 290436"/>
              <a:gd name="T74" fmla="*/ 124489747 w 291074"/>
              <a:gd name="T75" fmla="*/ 6133343 h 290436"/>
              <a:gd name="T76" fmla="*/ 6381463 w 291074"/>
              <a:gd name="T77" fmla="*/ 5976613 h 290436"/>
              <a:gd name="T78" fmla="*/ 18954381 w 291074"/>
              <a:gd name="T79" fmla="*/ 7057561 h 290436"/>
              <a:gd name="T80" fmla="*/ 126274243 w 291074"/>
              <a:gd name="T81" fmla="*/ 20779408 h 290436"/>
              <a:gd name="T82" fmla="*/ 114106565 w 291074"/>
              <a:gd name="T83" fmla="*/ 30799944 h 290436"/>
              <a:gd name="T84" fmla="*/ 110375232 w 291074"/>
              <a:gd name="T85" fmla="*/ 50841781 h 290436"/>
              <a:gd name="T86" fmla="*/ 113944458 w 291074"/>
              <a:gd name="T87" fmla="*/ 37274747 h 290436"/>
              <a:gd name="T88" fmla="*/ 84744057 w 291074"/>
              <a:gd name="T89" fmla="*/ 17233676 h 290436"/>
              <a:gd name="T90" fmla="*/ 77930966 w 291074"/>
              <a:gd name="T91" fmla="*/ 18157288 h 290436"/>
              <a:gd name="T92" fmla="*/ 103562180 w 291074"/>
              <a:gd name="T93" fmla="*/ 16153871 h 290436"/>
              <a:gd name="T94" fmla="*/ 118649116 w 291074"/>
              <a:gd name="T95" fmla="*/ 120409 h 290436"/>
              <a:gd name="T96" fmla="*/ 27445716 w 291074"/>
              <a:gd name="T97" fmla="*/ 16031862 h 290436"/>
              <a:gd name="T98" fmla="*/ 53082351 w 291074"/>
              <a:gd name="T99" fmla="*/ 18042582 h 290436"/>
              <a:gd name="T100" fmla="*/ 46550735 w 291074"/>
              <a:gd name="T101" fmla="*/ 17114714 h 290436"/>
              <a:gd name="T102" fmla="*/ 16832540 w 291074"/>
              <a:gd name="T103" fmla="*/ 37226834 h 290436"/>
              <a:gd name="T104" fmla="*/ 20587701 w 291074"/>
              <a:gd name="T105" fmla="*/ 50841697 h 290436"/>
              <a:gd name="T106" fmla="*/ 16832540 w 291074"/>
              <a:gd name="T107" fmla="*/ 30728957 h 290436"/>
              <a:gd name="T108" fmla="*/ 4585657 w 291074"/>
              <a:gd name="T109" fmla="*/ 20673549 h 2904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91074" h="290436">
                <a:moveTo>
                  <a:pt x="31551" y="241515"/>
                </a:moveTo>
                <a:cubicBezTo>
                  <a:pt x="26841" y="241515"/>
                  <a:pt x="21406" y="243674"/>
                  <a:pt x="16334" y="248710"/>
                </a:cubicBezTo>
                <a:cubicBezTo>
                  <a:pt x="11986" y="253386"/>
                  <a:pt x="9088" y="258781"/>
                  <a:pt x="8726" y="264177"/>
                </a:cubicBezTo>
                <a:cubicBezTo>
                  <a:pt x="8726" y="268493"/>
                  <a:pt x="10899" y="273170"/>
                  <a:pt x="14160" y="276767"/>
                </a:cubicBezTo>
                <a:cubicBezTo>
                  <a:pt x="21769" y="284321"/>
                  <a:pt x="33000" y="283601"/>
                  <a:pt x="42058" y="274249"/>
                </a:cubicBezTo>
                <a:cubicBezTo>
                  <a:pt x="51478" y="264896"/>
                  <a:pt x="52204" y="255184"/>
                  <a:pt x="43870" y="246911"/>
                </a:cubicBezTo>
                <a:cubicBezTo>
                  <a:pt x="40247" y="243314"/>
                  <a:pt x="36261" y="241515"/>
                  <a:pt x="31551" y="241515"/>
                </a:cubicBezTo>
                <a:close/>
                <a:moveTo>
                  <a:pt x="260338" y="241470"/>
                </a:moveTo>
                <a:cubicBezTo>
                  <a:pt x="255718" y="241156"/>
                  <a:pt x="251189" y="242954"/>
                  <a:pt x="247204" y="246911"/>
                </a:cubicBezTo>
                <a:cubicBezTo>
                  <a:pt x="238871" y="255184"/>
                  <a:pt x="239595" y="264896"/>
                  <a:pt x="248653" y="274249"/>
                </a:cubicBezTo>
                <a:cubicBezTo>
                  <a:pt x="258073" y="283601"/>
                  <a:pt x="269305" y="284321"/>
                  <a:pt x="276913" y="276767"/>
                </a:cubicBezTo>
                <a:cubicBezTo>
                  <a:pt x="280899" y="273170"/>
                  <a:pt x="282348" y="268493"/>
                  <a:pt x="282348" y="264177"/>
                </a:cubicBezTo>
                <a:cubicBezTo>
                  <a:pt x="281986" y="258781"/>
                  <a:pt x="279450" y="253386"/>
                  <a:pt x="274015" y="248710"/>
                </a:cubicBezTo>
                <a:cubicBezTo>
                  <a:pt x="269667" y="244213"/>
                  <a:pt x="264957" y="241785"/>
                  <a:pt x="260338" y="241470"/>
                </a:cubicBezTo>
                <a:close/>
                <a:moveTo>
                  <a:pt x="243943" y="220652"/>
                </a:moveTo>
                <a:cubicBezTo>
                  <a:pt x="232349" y="223530"/>
                  <a:pt x="223291" y="231803"/>
                  <a:pt x="220393" y="243674"/>
                </a:cubicBezTo>
                <a:cubicBezTo>
                  <a:pt x="225103" y="242595"/>
                  <a:pt x="229451" y="242954"/>
                  <a:pt x="234523" y="245472"/>
                </a:cubicBezTo>
                <a:lnTo>
                  <a:pt x="236334" y="246551"/>
                </a:lnTo>
                <a:cubicBezTo>
                  <a:pt x="237784" y="244753"/>
                  <a:pt x="238871" y="242595"/>
                  <a:pt x="241045" y="240796"/>
                </a:cubicBezTo>
                <a:cubicBezTo>
                  <a:pt x="242494" y="238997"/>
                  <a:pt x="244668" y="237199"/>
                  <a:pt x="246842" y="236120"/>
                </a:cubicBezTo>
                <a:lnTo>
                  <a:pt x="245392" y="233602"/>
                </a:lnTo>
                <a:cubicBezTo>
                  <a:pt x="243581" y="229645"/>
                  <a:pt x="242494" y="224609"/>
                  <a:pt x="243943" y="220652"/>
                </a:cubicBezTo>
                <a:close/>
                <a:moveTo>
                  <a:pt x="47131" y="220652"/>
                </a:moveTo>
                <a:cubicBezTo>
                  <a:pt x="48580" y="224609"/>
                  <a:pt x="47493" y="229645"/>
                  <a:pt x="45681" y="233962"/>
                </a:cubicBezTo>
                <a:lnTo>
                  <a:pt x="44232" y="236120"/>
                </a:lnTo>
                <a:cubicBezTo>
                  <a:pt x="46406" y="237199"/>
                  <a:pt x="48580" y="238997"/>
                  <a:pt x="50029" y="240796"/>
                </a:cubicBezTo>
                <a:cubicBezTo>
                  <a:pt x="52204" y="242595"/>
                  <a:pt x="53290" y="244753"/>
                  <a:pt x="54740" y="246551"/>
                </a:cubicBezTo>
                <a:lnTo>
                  <a:pt x="57638" y="245472"/>
                </a:lnTo>
                <a:cubicBezTo>
                  <a:pt x="61624" y="242954"/>
                  <a:pt x="65971" y="242595"/>
                  <a:pt x="70681" y="243674"/>
                </a:cubicBezTo>
                <a:cubicBezTo>
                  <a:pt x="67783" y="231803"/>
                  <a:pt x="59087" y="223530"/>
                  <a:pt x="47131" y="220652"/>
                </a:cubicBezTo>
                <a:close/>
                <a:moveTo>
                  <a:pt x="242494" y="173531"/>
                </a:moveTo>
                <a:cubicBezTo>
                  <a:pt x="244305" y="171732"/>
                  <a:pt x="247204" y="171732"/>
                  <a:pt x="248653" y="173531"/>
                </a:cubicBezTo>
                <a:lnTo>
                  <a:pt x="257349" y="181804"/>
                </a:lnTo>
                <a:cubicBezTo>
                  <a:pt x="265319" y="189718"/>
                  <a:pt x="266406" y="201588"/>
                  <a:pt x="260609" y="209501"/>
                </a:cubicBezTo>
                <a:lnTo>
                  <a:pt x="253725" y="219214"/>
                </a:lnTo>
                <a:cubicBezTo>
                  <a:pt x="251552" y="222091"/>
                  <a:pt x="251552" y="226408"/>
                  <a:pt x="253363" y="230005"/>
                </a:cubicBezTo>
                <a:lnTo>
                  <a:pt x="254812" y="233242"/>
                </a:lnTo>
                <a:cubicBezTo>
                  <a:pt x="263508" y="231444"/>
                  <a:pt x="272928" y="234321"/>
                  <a:pt x="280899" y="242595"/>
                </a:cubicBezTo>
                <a:cubicBezTo>
                  <a:pt x="287420" y="249069"/>
                  <a:pt x="290681" y="256263"/>
                  <a:pt x="291044" y="263817"/>
                </a:cubicBezTo>
                <a:cubicBezTo>
                  <a:pt x="291406" y="270652"/>
                  <a:pt x="288507" y="277486"/>
                  <a:pt x="283073" y="282882"/>
                </a:cubicBezTo>
                <a:cubicBezTo>
                  <a:pt x="278363" y="287918"/>
                  <a:pt x="272203" y="290436"/>
                  <a:pt x="264595" y="290436"/>
                </a:cubicBezTo>
                <a:cubicBezTo>
                  <a:pt x="257711" y="290436"/>
                  <a:pt x="250102" y="287918"/>
                  <a:pt x="242494" y="280364"/>
                </a:cubicBezTo>
                <a:cubicBezTo>
                  <a:pt x="234885" y="272450"/>
                  <a:pt x="231624" y="263458"/>
                  <a:pt x="232711" y="254825"/>
                </a:cubicBezTo>
                <a:lnTo>
                  <a:pt x="230175" y="253386"/>
                </a:lnTo>
                <a:cubicBezTo>
                  <a:pt x="226190" y="251587"/>
                  <a:pt x="222204" y="251587"/>
                  <a:pt x="219306" y="253386"/>
                </a:cubicBezTo>
                <a:lnTo>
                  <a:pt x="209523" y="260580"/>
                </a:lnTo>
                <a:cubicBezTo>
                  <a:pt x="206263" y="262738"/>
                  <a:pt x="201915" y="263817"/>
                  <a:pt x="198292" y="263817"/>
                </a:cubicBezTo>
                <a:cubicBezTo>
                  <a:pt x="192132" y="263817"/>
                  <a:pt x="186335" y="261659"/>
                  <a:pt x="181988" y="257342"/>
                </a:cubicBezTo>
                <a:lnTo>
                  <a:pt x="172930" y="248710"/>
                </a:lnTo>
                <a:cubicBezTo>
                  <a:pt x="171118" y="246911"/>
                  <a:pt x="171118" y="244033"/>
                  <a:pt x="172930" y="242595"/>
                </a:cubicBezTo>
                <a:cubicBezTo>
                  <a:pt x="174741" y="240796"/>
                  <a:pt x="178002" y="240796"/>
                  <a:pt x="179451" y="242595"/>
                </a:cubicBezTo>
                <a:lnTo>
                  <a:pt x="188147" y="250868"/>
                </a:lnTo>
                <a:cubicBezTo>
                  <a:pt x="192495" y="255544"/>
                  <a:pt x="199741" y="256263"/>
                  <a:pt x="204089" y="253386"/>
                </a:cubicBezTo>
                <a:lnTo>
                  <a:pt x="210610" y="248710"/>
                </a:lnTo>
                <a:cubicBezTo>
                  <a:pt x="211697" y="228206"/>
                  <a:pt x="228364" y="212019"/>
                  <a:pt x="248653" y="210940"/>
                </a:cubicBezTo>
                <a:lnTo>
                  <a:pt x="253363" y="204466"/>
                </a:lnTo>
                <a:cubicBezTo>
                  <a:pt x="256986" y="199789"/>
                  <a:pt x="255899" y="192955"/>
                  <a:pt x="251189" y="187919"/>
                </a:cubicBezTo>
                <a:lnTo>
                  <a:pt x="242494" y="180006"/>
                </a:lnTo>
                <a:cubicBezTo>
                  <a:pt x="240682" y="178207"/>
                  <a:pt x="240682" y="175329"/>
                  <a:pt x="242494" y="173531"/>
                </a:cubicBezTo>
                <a:close/>
                <a:moveTo>
                  <a:pt x="42421" y="173531"/>
                </a:moveTo>
                <a:cubicBezTo>
                  <a:pt x="43870" y="171732"/>
                  <a:pt x="46768" y="171732"/>
                  <a:pt x="48580" y="173531"/>
                </a:cubicBezTo>
                <a:cubicBezTo>
                  <a:pt x="50029" y="175329"/>
                  <a:pt x="50029" y="178207"/>
                  <a:pt x="48580" y="180006"/>
                </a:cubicBezTo>
                <a:lnTo>
                  <a:pt x="40247" y="187919"/>
                </a:lnTo>
                <a:cubicBezTo>
                  <a:pt x="35537" y="192955"/>
                  <a:pt x="34087" y="199789"/>
                  <a:pt x="37348" y="204466"/>
                </a:cubicBezTo>
                <a:lnTo>
                  <a:pt x="42058" y="210940"/>
                </a:lnTo>
                <a:cubicBezTo>
                  <a:pt x="62711" y="212019"/>
                  <a:pt x="79377" y="228206"/>
                  <a:pt x="80464" y="248710"/>
                </a:cubicBezTo>
                <a:lnTo>
                  <a:pt x="86986" y="253386"/>
                </a:lnTo>
                <a:cubicBezTo>
                  <a:pt x="91696" y="256263"/>
                  <a:pt x="98580" y="255544"/>
                  <a:pt x="103290" y="250868"/>
                </a:cubicBezTo>
                <a:lnTo>
                  <a:pt x="111623" y="242595"/>
                </a:lnTo>
                <a:cubicBezTo>
                  <a:pt x="113434" y="240796"/>
                  <a:pt x="115970" y="240796"/>
                  <a:pt x="117782" y="242595"/>
                </a:cubicBezTo>
                <a:cubicBezTo>
                  <a:pt x="119956" y="244033"/>
                  <a:pt x="119956" y="246911"/>
                  <a:pt x="117782" y="248710"/>
                </a:cubicBezTo>
                <a:lnTo>
                  <a:pt x="109449" y="257342"/>
                </a:lnTo>
                <a:cubicBezTo>
                  <a:pt x="104739" y="261659"/>
                  <a:pt x="98942" y="263817"/>
                  <a:pt x="93145" y="263817"/>
                </a:cubicBezTo>
                <a:cubicBezTo>
                  <a:pt x="89159" y="263817"/>
                  <a:pt x="85536" y="262738"/>
                  <a:pt x="82275" y="260580"/>
                </a:cubicBezTo>
                <a:lnTo>
                  <a:pt x="71768" y="253386"/>
                </a:lnTo>
                <a:cubicBezTo>
                  <a:pt x="68870" y="251587"/>
                  <a:pt x="64884" y="251227"/>
                  <a:pt x="61261" y="253386"/>
                </a:cubicBezTo>
                <a:lnTo>
                  <a:pt x="58001" y="254825"/>
                </a:lnTo>
                <a:cubicBezTo>
                  <a:pt x="59450" y="263458"/>
                  <a:pt x="56551" y="272450"/>
                  <a:pt x="48580" y="280364"/>
                </a:cubicBezTo>
                <a:cubicBezTo>
                  <a:pt x="40971" y="287918"/>
                  <a:pt x="33363" y="290436"/>
                  <a:pt x="26479" y="290436"/>
                </a:cubicBezTo>
                <a:cubicBezTo>
                  <a:pt x="18870" y="290436"/>
                  <a:pt x="12349" y="287918"/>
                  <a:pt x="8001" y="282882"/>
                </a:cubicBezTo>
                <a:cubicBezTo>
                  <a:pt x="2566" y="277486"/>
                  <a:pt x="-332" y="270652"/>
                  <a:pt x="30" y="263817"/>
                </a:cubicBezTo>
                <a:cubicBezTo>
                  <a:pt x="30" y="256263"/>
                  <a:pt x="3653" y="249069"/>
                  <a:pt x="10175" y="242595"/>
                </a:cubicBezTo>
                <a:cubicBezTo>
                  <a:pt x="17059" y="236120"/>
                  <a:pt x="24305" y="232882"/>
                  <a:pt x="31551" y="232882"/>
                </a:cubicBezTo>
                <a:cubicBezTo>
                  <a:pt x="33363" y="232882"/>
                  <a:pt x="34450" y="232882"/>
                  <a:pt x="36261" y="233242"/>
                </a:cubicBezTo>
                <a:lnTo>
                  <a:pt x="37348" y="230364"/>
                </a:lnTo>
                <a:cubicBezTo>
                  <a:pt x="39522" y="226408"/>
                  <a:pt x="39522" y="222091"/>
                  <a:pt x="37348" y="219214"/>
                </a:cubicBezTo>
                <a:lnTo>
                  <a:pt x="30464" y="209501"/>
                </a:lnTo>
                <a:cubicBezTo>
                  <a:pt x="24667" y="201588"/>
                  <a:pt x="25754" y="189718"/>
                  <a:pt x="34087" y="181804"/>
                </a:cubicBezTo>
                <a:lnTo>
                  <a:pt x="42421" y="173531"/>
                </a:lnTo>
                <a:close/>
                <a:moveTo>
                  <a:pt x="183399" y="150280"/>
                </a:moveTo>
                <a:cubicBezTo>
                  <a:pt x="184834" y="171094"/>
                  <a:pt x="192729" y="189755"/>
                  <a:pt x="206725" y="204109"/>
                </a:cubicBezTo>
                <a:cubicBezTo>
                  <a:pt x="220362" y="190114"/>
                  <a:pt x="228974" y="171453"/>
                  <a:pt x="229692" y="150280"/>
                </a:cubicBezTo>
                <a:lnTo>
                  <a:pt x="183399" y="150280"/>
                </a:lnTo>
                <a:close/>
                <a:moveTo>
                  <a:pt x="149666" y="150280"/>
                </a:moveTo>
                <a:lnTo>
                  <a:pt x="149666" y="230665"/>
                </a:lnTo>
                <a:cubicBezTo>
                  <a:pt x="169045" y="229588"/>
                  <a:pt x="186629" y="222052"/>
                  <a:pt x="200265" y="210210"/>
                </a:cubicBezTo>
                <a:cubicBezTo>
                  <a:pt x="184834" y="194061"/>
                  <a:pt x="175863" y="172888"/>
                  <a:pt x="174786" y="150280"/>
                </a:cubicBezTo>
                <a:lnTo>
                  <a:pt x="149666" y="150280"/>
                </a:lnTo>
                <a:close/>
                <a:moveTo>
                  <a:pt x="115574" y="150280"/>
                </a:moveTo>
                <a:cubicBezTo>
                  <a:pt x="114857" y="172888"/>
                  <a:pt x="105885" y="194061"/>
                  <a:pt x="90454" y="210210"/>
                </a:cubicBezTo>
                <a:cubicBezTo>
                  <a:pt x="104450" y="222052"/>
                  <a:pt x="121316" y="229588"/>
                  <a:pt x="141054" y="230665"/>
                </a:cubicBezTo>
                <a:lnTo>
                  <a:pt x="141054" y="150280"/>
                </a:lnTo>
                <a:lnTo>
                  <a:pt x="115574" y="150280"/>
                </a:lnTo>
                <a:close/>
                <a:moveTo>
                  <a:pt x="61028" y="150280"/>
                </a:moveTo>
                <a:cubicBezTo>
                  <a:pt x="62104" y="171453"/>
                  <a:pt x="70717" y="190114"/>
                  <a:pt x="83995" y="204109"/>
                </a:cubicBezTo>
                <a:cubicBezTo>
                  <a:pt x="97990" y="189755"/>
                  <a:pt x="105885" y="171094"/>
                  <a:pt x="107321" y="150280"/>
                </a:cubicBezTo>
                <a:lnTo>
                  <a:pt x="61028" y="150280"/>
                </a:lnTo>
                <a:close/>
                <a:moveTo>
                  <a:pt x="206725" y="87839"/>
                </a:moveTo>
                <a:cubicBezTo>
                  <a:pt x="192729" y="102911"/>
                  <a:pt x="184834" y="121571"/>
                  <a:pt x="183399" y="141668"/>
                </a:cubicBezTo>
                <a:lnTo>
                  <a:pt x="229692" y="141668"/>
                </a:lnTo>
                <a:cubicBezTo>
                  <a:pt x="228974" y="120854"/>
                  <a:pt x="220362" y="101834"/>
                  <a:pt x="206725" y="87839"/>
                </a:cubicBezTo>
                <a:close/>
                <a:moveTo>
                  <a:pt x="83995" y="87839"/>
                </a:moveTo>
                <a:cubicBezTo>
                  <a:pt x="70717" y="101834"/>
                  <a:pt x="62104" y="120854"/>
                  <a:pt x="61028" y="141668"/>
                </a:cubicBezTo>
                <a:lnTo>
                  <a:pt x="107321" y="141668"/>
                </a:lnTo>
                <a:cubicBezTo>
                  <a:pt x="105885" y="121571"/>
                  <a:pt x="97990" y="102911"/>
                  <a:pt x="83995" y="87839"/>
                </a:cubicBezTo>
                <a:close/>
                <a:moveTo>
                  <a:pt x="149666" y="61642"/>
                </a:moveTo>
                <a:lnTo>
                  <a:pt x="149666" y="141668"/>
                </a:lnTo>
                <a:lnTo>
                  <a:pt x="174786" y="141668"/>
                </a:lnTo>
                <a:cubicBezTo>
                  <a:pt x="175863" y="119059"/>
                  <a:pt x="184834" y="98245"/>
                  <a:pt x="200265" y="82097"/>
                </a:cubicBezTo>
                <a:cubicBezTo>
                  <a:pt x="186629" y="69896"/>
                  <a:pt x="169045" y="62718"/>
                  <a:pt x="149666" y="61642"/>
                </a:cubicBezTo>
                <a:close/>
                <a:moveTo>
                  <a:pt x="141054" y="61642"/>
                </a:moveTo>
                <a:cubicBezTo>
                  <a:pt x="121316" y="62718"/>
                  <a:pt x="104450" y="69896"/>
                  <a:pt x="90454" y="82097"/>
                </a:cubicBezTo>
                <a:cubicBezTo>
                  <a:pt x="105885" y="98245"/>
                  <a:pt x="114857" y="119059"/>
                  <a:pt x="115574" y="141668"/>
                </a:cubicBezTo>
                <a:lnTo>
                  <a:pt x="141054" y="141668"/>
                </a:lnTo>
                <a:lnTo>
                  <a:pt x="141054" y="61642"/>
                </a:lnTo>
                <a:close/>
                <a:moveTo>
                  <a:pt x="145360" y="52670"/>
                </a:moveTo>
                <a:cubicBezTo>
                  <a:pt x="197036" y="52670"/>
                  <a:pt x="239022" y="94657"/>
                  <a:pt x="239022" y="146333"/>
                </a:cubicBezTo>
                <a:cubicBezTo>
                  <a:pt x="239022" y="197650"/>
                  <a:pt x="197036" y="239636"/>
                  <a:pt x="145360" y="239636"/>
                </a:cubicBezTo>
                <a:cubicBezTo>
                  <a:pt x="93684" y="239636"/>
                  <a:pt x="52056" y="197650"/>
                  <a:pt x="52056" y="146333"/>
                </a:cubicBezTo>
                <a:cubicBezTo>
                  <a:pt x="52056" y="94657"/>
                  <a:pt x="93684" y="52670"/>
                  <a:pt x="145360" y="52670"/>
                </a:cubicBezTo>
                <a:close/>
                <a:moveTo>
                  <a:pt x="235910" y="44660"/>
                </a:moveTo>
                <a:lnTo>
                  <a:pt x="233751" y="45742"/>
                </a:lnTo>
                <a:cubicBezTo>
                  <a:pt x="229071" y="47907"/>
                  <a:pt x="224752" y="48268"/>
                  <a:pt x="220072" y="47546"/>
                </a:cubicBezTo>
                <a:cubicBezTo>
                  <a:pt x="222952" y="59092"/>
                  <a:pt x="231951" y="67751"/>
                  <a:pt x="243469" y="70638"/>
                </a:cubicBezTo>
                <a:cubicBezTo>
                  <a:pt x="242030" y="66308"/>
                  <a:pt x="243110" y="61257"/>
                  <a:pt x="245269" y="56927"/>
                </a:cubicBezTo>
                <a:lnTo>
                  <a:pt x="246349" y="54763"/>
                </a:lnTo>
                <a:cubicBezTo>
                  <a:pt x="244189" y="53680"/>
                  <a:pt x="242030" y="52237"/>
                  <a:pt x="240590" y="50433"/>
                </a:cubicBezTo>
                <a:cubicBezTo>
                  <a:pt x="238430" y="48629"/>
                  <a:pt x="237350" y="46825"/>
                  <a:pt x="235910" y="44660"/>
                </a:cubicBezTo>
                <a:close/>
                <a:moveTo>
                  <a:pt x="54740" y="44398"/>
                </a:moveTo>
                <a:cubicBezTo>
                  <a:pt x="53290" y="46570"/>
                  <a:pt x="52204" y="48381"/>
                  <a:pt x="50029" y="50191"/>
                </a:cubicBezTo>
                <a:cubicBezTo>
                  <a:pt x="48580" y="52001"/>
                  <a:pt x="46406" y="53450"/>
                  <a:pt x="44232" y="54536"/>
                </a:cubicBezTo>
                <a:lnTo>
                  <a:pt x="45681" y="57071"/>
                </a:lnTo>
                <a:cubicBezTo>
                  <a:pt x="47493" y="61053"/>
                  <a:pt x="48580" y="66122"/>
                  <a:pt x="47131" y="70467"/>
                </a:cubicBezTo>
                <a:cubicBezTo>
                  <a:pt x="59087" y="67570"/>
                  <a:pt x="67783" y="58881"/>
                  <a:pt x="70681" y="47295"/>
                </a:cubicBezTo>
                <a:cubicBezTo>
                  <a:pt x="65971" y="48019"/>
                  <a:pt x="61624" y="47657"/>
                  <a:pt x="56914" y="45122"/>
                </a:cubicBezTo>
                <a:lnTo>
                  <a:pt x="54740" y="44398"/>
                </a:lnTo>
                <a:close/>
                <a:moveTo>
                  <a:pt x="263627" y="9302"/>
                </a:moveTo>
                <a:cubicBezTo>
                  <a:pt x="258948" y="9662"/>
                  <a:pt x="253188" y="11827"/>
                  <a:pt x="248149" y="16878"/>
                </a:cubicBezTo>
                <a:cubicBezTo>
                  <a:pt x="243829" y="21930"/>
                  <a:pt x="240950" y="26620"/>
                  <a:pt x="240950" y="32032"/>
                </a:cubicBezTo>
                <a:cubicBezTo>
                  <a:pt x="240950" y="36001"/>
                  <a:pt x="243110" y="40691"/>
                  <a:pt x="246709" y="44299"/>
                </a:cubicBezTo>
                <a:cubicBezTo>
                  <a:pt x="254628" y="52237"/>
                  <a:pt x="264707" y="51515"/>
                  <a:pt x="273346" y="42495"/>
                </a:cubicBezTo>
                <a:cubicBezTo>
                  <a:pt x="283425" y="33114"/>
                  <a:pt x="284145" y="22290"/>
                  <a:pt x="276226" y="14353"/>
                </a:cubicBezTo>
                <a:cubicBezTo>
                  <a:pt x="272626" y="11106"/>
                  <a:pt x="268666" y="9302"/>
                  <a:pt x="264707" y="9302"/>
                </a:cubicBezTo>
                <a:cubicBezTo>
                  <a:pt x="263987" y="9302"/>
                  <a:pt x="263987" y="9302"/>
                  <a:pt x="263627" y="9302"/>
                </a:cubicBezTo>
                <a:close/>
                <a:moveTo>
                  <a:pt x="26479" y="8916"/>
                </a:moveTo>
                <a:cubicBezTo>
                  <a:pt x="21769" y="8916"/>
                  <a:pt x="17783" y="10364"/>
                  <a:pt x="14160" y="13985"/>
                </a:cubicBezTo>
                <a:cubicBezTo>
                  <a:pt x="10899" y="17605"/>
                  <a:pt x="8726" y="21950"/>
                  <a:pt x="8726" y="26657"/>
                </a:cubicBezTo>
                <a:cubicBezTo>
                  <a:pt x="9088" y="31726"/>
                  <a:pt x="11986" y="37157"/>
                  <a:pt x="16334" y="42226"/>
                </a:cubicBezTo>
                <a:cubicBezTo>
                  <a:pt x="25754" y="51277"/>
                  <a:pt x="35899" y="52001"/>
                  <a:pt x="43870" y="44036"/>
                </a:cubicBezTo>
                <a:cubicBezTo>
                  <a:pt x="52204" y="35709"/>
                  <a:pt x="51478" y="25933"/>
                  <a:pt x="42058" y="16519"/>
                </a:cubicBezTo>
                <a:cubicBezTo>
                  <a:pt x="36986" y="11088"/>
                  <a:pt x="31551" y="8916"/>
                  <a:pt x="26479" y="8916"/>
                </a:cubicBezTo>
                <a:close/>
                <a:moveTo>
                  <a:pt x="263267" y="282"/>
                </a:moveTo>
                <a:cubicBezTo>
                  <a:pt x="270826" y="282"/>
                  <a:pt x="277305" y="3168"/>
                  <a:pt x="282345" y="8219"/>
                </a:cubicBezTo>
                <a:cubicBezTo>
                  <a:pt x="291704" y="17600"/>
                  <a:pt x="294583" y="34197"/>
                  <a:pt x="280185" y="48629"/>
                </a:cubicBezTo>
                <a:cubicBezTo>
                  <a:pt x="273346" y="55123"/>
                  <a:pt x="266147" y="58371"/>
                  <a:pt x="258948" y="58371"/>
                </a:cubicBezTo>
                <a:cubicBezTo>
                  <a:pt x="257148" y="58371"/>
                  <a:pt x="256068" y="58371"/>
                  <a:pt x="254268" y="58010"/>
                </a:cubicBezTo>
                <a:lnTo>
                  <a:pt x="253188" y="60896"/>
                </a:lnTo>
                <a:cubicBezTo>
                  <a:pt x="251029" y="65226"/>
                  <a:pt x="251029" y="69194"/>
                  <a:pt x="253188" y="72081"/>
                </a:cubicBezTo>
                <a:lnTo>
                  <a:pt x="260027" y="81822"/>
                </a:lnTo>
                <a:cubicBezTo>
                  <a:pt x="266147" y="90121"/>
                  <a:pt x="264707" y="101305"/>
                  <a:pt x="256788" y="109604"/>
                </a:cubicBezTo>
                <a:lnTo>
                  <a:pt x="248149" y="117902"/>
                </a:lnTo>
                <a:cubicBezTo>
                  <a:pt x="247429" y="118624"/>
                  <a:pt x="246349" y="118984"/>
                  <a:pt x="244909" y="118984"/>
                </a:cubicBezTo>
                <a:cubicBezTo>
                  <a:pt x="244189" y="118984"/>
                  <a:pt x="243110" y="118624"/>
                  <a:pt x="242030" y="117902"/>
                </a:cubicBezTo>
                <a:cubicBezTo>
                  <a:pt x="240230" y="116098"/>
                  <a:pt x="240230" y="113572"/>
                  <a:pt x="242030" y="111769"/>
                </a:cubicBezTo>
                <a:lnTo>
                  <a:pt x="250669" y="103109"/>
                </a:lnTo>
                <a:cubicBezTo>
                  <a:pt x="255348" y="98419"/>
                  <a:pt x="256428" y="91564"/>
                  <a:pt x="252828" y="87234"/>
                </a:cubicBezTo>
                <a:lnTo>
                  <a:pt x="248149" y="80740"/>
                </a:lnTo>
                <a:cubicBezTo>
                  <a:pt x="227991" y="79297"/>
                  <a:pt x="211433" y="63061"/>
                  <a:pt x="210353" y="42495"/>
                </a:cubicBezTo>
                <a:lnTo>
                  <a:pt x="203874" y="37805"/>
                </a:lnTo>
                <a:cubicBezTo>
                  <a:pt x="199555" y="34557"/>
                  <a:pt x="192356" y="35640"/>
                  <a:pt x="188036" y="40330"/>
                </a:cubicBezTo>
                <a:lnTo>
                  <a:pt x="179397" y="48629"/>
                </a:lnTo>
                <a:cubicBezTo>
                  <a:pt x="178677" y="49711"/>
                  <a:pt x="177238" y="50072"/>
                  <a:pt x="176158" y="50072"/>
                </a:cubicBezTo>
                <a:cubicBezTo>
                  <a:pt x="175438" y="50072"/>
                  <a:pt x="173998" y="49711"/>
                  <a:pt x="172918" y="48629"/>
                </a:cubicBezTo>
                <a:cubicBezTo>
                  <a:pt x="171118" y="47185"/>
                  <a:pt x="171118" y="44299"/>
                  <a:pt x="172918" y="42495"/>
                </a:cubicBezTo>
                <a:lnTo>
                  <a:pt x="181917" y="34197"/>
                </a:lnTo>
                <a:cubicBezTo>
                  <a:pt x="189116" y="26259"/>
                  <a:pt x="200995" y="24816"/>
                  <a:pt x="209274" y="30228"/>
                </a:cubicBezTo>
                <a:lnTo>
                  <a:pt x="218992" y="37805"/>
                </a:lnTo>
                <a:cubicBezTo>
                  <a:pt x="221872" y="39609"/>
                  <a:pt x="225832" y="39609"/>
                  <a:pt x="229791" y="37805"/>
                </a:cubicBezTo>
                <a:lnTo>
                  <a:pt x="232311" y="36361"/>
                </a:lnTo>
                <a:cubicBezTo>
                  <a:pt x="232311" y="34918"/>
                  <a:pt x="231951" y="33114"/>
                  <a:pt x="231951" y="32032"/>
                </a:cubicBezTo>
                <a:cubicBezTo>
                  <a:pt x="231951" y="24094"/>
                  <a:pt x="235550" y="17239"/>
                  <a:pt x="242030" y="10745"/>
                </a:cubicBezTo>
                <a:cubicBezTo>
                  <a:pt x="248509" y="4251"/>
                  <a:pt x="256068" y="643"/>
                  <a:pt x="263267" y="282"/>
                </a:cubicBezTo>
                <a:close/>
                <a:moveTo>
                  <a:pt x="26253" y="0"/>
                </a:moveTo>
                <a:cubicBezTo>
                  <a:pt x="33363" y="-45"/>
                  <a:pt x="41153" y="2942"/>
                  <a:pt x="48580" y="10364"/>
                </a:cubicBezTo>
                <a:cubicBezTo>
                  <a:pt x="56551" y="18692"/>
                  <a:pt x="59450" y="27743"/>
                  <a:pt x="58001" y="36071"/>
                </a:cubicBezTo>
                <a:lnTo>
                  <a:pt x="60899" y="37519"/>
                </a:lnTo>
                <a:cubicBezTo>
                  <a:pt x="64884" y="39329"/>
                  <a:pt x="68870" y="39329"/>
                  <a:pt x="71768" y="37519"/>
                </a:cubicBezTo>
                <a:lnTo>
                  <a:pt x="82275" y="29916"/>
                </a:lnTo>
                <a:cubicBezTo>
                  <a:pt x="89884" y="24485"/>
                  <a:pt x="101840" y="25933"/>
                  <a:pt x="109449" y="33898"/>
                </a:cubicBezTo>
                <a:lnTo>
                  <a:pt x="117782" y="42226"/>
                </a:lnTo>
                <a:cubicBezTo>
                  <a:pt x="119956" y="44036"/>
                  <a:pt x="119956" y="46932"/>
                  <a:pt x="117782" y="48381"/>
                </a:cubicBezTo>
                <a:cubicBezTo>
                  <a:pt x="117057" y="49467"/>
                  <a:pt x="115970" y="49829"/>
                  <a:pt x="114884" y="49829"/>
                </a:cubicBezTo>
                <a:cubicBezTo>
                  <a:pt x="113797" y="49829"/>
                  <a:pt x="112710" y="49467"/>
                  <a:pt x="111623" y="48381"/>
                </a:cubicBezTo>
                <a:lnTo>
                  <a:pt x="103290" y="40053"/>
                </a:lnTo>
                <a:cubicBezTo>
                  <a:pt x="98580" y="35347"/>
                  <a:pt x="91696" y="34260"/>
                  <a:pt x="86986" y="37519"/>
                </a:cubicBezTo>
                <a:lnTo>
                  <a:pt x="80464" y="42226"/>
                </a:lnTo>
                <a:cubicBezTo>
                  <a:pt x="79377" y="62864"/>
                  <a:pt x="62711" y="79156"/>
                  <a:pt x="42058" y="80605"/>
                </a:cubicBezTo>
                <a:lnTo>
                  <a:pt x="37348" y="87122"/>
                </a:lnTo>
                <a:cubicBezTo>
                  <a:pt x="34087" y="91467"/>
                  <a:pt x="35537" y="98346"/>
                  <a:pt x="40247" y="103052"/>
                </a:cubicBezTo>
                <a:lnTo>
                  <a:pt x="48580" y="111742"/>
                </a:lnTo>
                <a:cubicBezTo>
                  <a:pt x="50029" y="113552"/>
                  <a:pt x="50029" y="116087"/>
                  <a:pt x="48580" y="117897"/>
                </a:cubicBezTo>
                <a:cubicBezTo>
                  <a:pt x="47493" y="118621"/>
                  <a:pt x="46768" y="118983"/>
                  <a:pt x="45681" y="118983"/>
                </a:cubicBezTo>
                <a:cubicBezTo>
                  <a:pt x="44232" y="118983"/>
                  <a:pt x="43145" y="118621"/>
                  <a:pt x="42421" y="117897"/>
                </a:cubicBezTo>
                <a:lnTo>
                  <a:pt x="34087" y="109570"/>
                </a:lnTo>
                <a:cubicBezTo>
                  <a:pt x="25754" y="101242"/>
                  <a:pt x="24667" y="90018"/>
                  <a:pt x="30464" y="81691"/>
                </a:cubicBezTo>
                <a:lnTo>
                  <a:pt x="37348" y="71915"/>
                </a:lnTo>
                <a:cubicBezTo>
                  <a:pt x="39522" y="69019"/>
                  <a:pt x="39522" y="65036"/>
                  <a:pt x="37348" y="60691"/>
                </a:cubicBezTo>
                <a:lnTo>
                  <a:pt x="36261" y="57795"/>
                </a:lnTo>
                <a:cubicBezTo>
                  <a:pt x="34450" y="58157"/>
                  <a:pt x="33363" y="58157"/>
                  <a:pt x="31551" y="58157"/>
                </a:cubicBezTo>
                <a:cubicBezTo>
                  <a:pt x="24667" y="58157"/>
                  <a:pt x="17059" y="54898"/>
                  <a:pt x="10175" y="48381"/>
                </a:cubicBezTo>
                <a:cubicBezTo>
                  <a:pt x="3653" y="41864"/>
                  <a:pt x="30" y="34622"/>
                  <a:pt x="30" y="27019"/>
                </a:cubicBezTo>
                <a:cubicBezTo>
                  <a:pt x="-332" y="19778"/>
                  <a:pt x="2566" y="13261"/>
                  <a:pt x="8001" y="7830"/>
                </a:cubicBezTo>
                <a:cubicBezTo>
                  <a:pt x="12711" y="3123"/>
                  <a:pt x="19142" y="46"/>
                  <a:pt x="26253" y="0"/>
                </a:cubicBezTo>
                <a:close/>
              </a:path>
            </a:pathLst>
          </a:custGeom>
          <a:solidFill>
            <a:schemeClr val="bg1"/>
          </a:solidFill>
          <a:ln>
            <a:noFill/>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Lato Light" panose="020F0502020204030203" pitchFamily="34" charset="0"/>
              <a:ea typeface="+mn-ea"/>
              <a:cs typeface="+mn-cs"/>
            </a:endParaRPr>
          </a:p>
        </p:txBody>
      </p:sp>
      <p:sp>
        <p:nvSpPr>
          <p:cNvPr id="30" name="Freeform 1059">
            <a:extLst>
              <a:ext uri="{FF2B5EF4-FFF2-40B4-BE49-F238E27FC236}">
                <a16:creationId xmlns:a16="http://schemas.microsoft.com/office/drawing/2014/main" id="{0CEA3C14-EEC6-AC4C-AF5E-B793A9FB490F}"/>
              </a:ext>
            </a:extLst>
          </p:cNvPr>
          <p:cNvSpPr>
            <a:spLocks noChangeAspect="1" noChangeArrowheads="1"/>
          </p:cNvSpPr>
          <p:nvPr/>
        </p:nvSpPr>
        <p:spPr bwMode="auto">
          <a:xfrm>
            <a:off x="10340418" y="900278"/>
            <a:ext cx="530225" cy="527050"/>
          </a:xfrm>
          <a:custGeom>
            <a:avLst/>
            <a:gdLst>
              <a:gd name="T0" fmla="*/ 89779237 w 291737"/>
              <a:gd name="T1" fmla="*/ 109284772 h 290153"/>
              <a:gd name="T2" fmla="*/ 102871663 w 291737"/>
              <a:gd name="T3" fmla="*/ 104718570 h 290153"/>
              <a:gd name="T4" fmla="*/ 123273045 w 291737"/>
              <a:gd name="T5" fmla="*/ 122214270 h 290153"/>
              <a:gd name="T6" fmla="*/ 124538682 w 291737"/>
              <a:gd name="T7" fmla="*/ 105031042 h 290153"/>
              <a:gd name="T8" fmla="*/ 99391902 w 291737"/>
              <a:gd name="T9" fmla="*/ 125807186 h 290153"/>
              <a:gd name="T10" fmla="*/ 102871663 w 291737"/>
              <a:gd name="T11" fmla="*/ 104718570 h 290153"/>
              <a:gd name="T12" fmla="*/ 3931849 w 291737"/>
              <a:gd name="T13" fmla="*/ 122214270 h 290153"/>
              <a:gd name="T14" fmla="*/ 24383897 w 291737"/>
              <a:gd name="T15" fmla="*/ 104718570 h 290153"/>
              <a:gd name="T16" fmla="*/ 27686387 w 291737"/>
              <a:gd name="T17" fmla="*/ 125807186 h 290153"/>
              <a:gd name="T18" fmla="*/ 2675210 w 291737"/>
              <a:gd name="T19" fmla="*/ 105031042 h 290153"/>
              <a:gd name="T20" fmla="*/ 111858698 w 291737"/>
              <a:gd name="T21" fmla="*/ 101300184 h 290153"/>
              <a:gd name="T22" fmla="*/ 10672229 w 291737"/>
              <a:gd name="T23" fmla="*/ 96976848 h 290153"/>
              <a:gd name="T24" fmla="*/ 111858698 w 291737"/>
              <a:gd name="T25" fmla="*/ 88794158 h 290153"/>
              <a:gd name="T26" fmla="*/ 111858698 w 291737"/>
              <a:gd name="T27" fmla="*/ 88794158 h 290153"/>
              <a:gd name="T28" fmla="*/ 6915088 w 291737"/>
              <a:gd name="T29" fmla="*/ 96976848 h 290153"/>
              <a:gd name="T30" fmla="*/ 99462300 w 291737"/>
              <a:gd name="T31" fmla="*/ 96153616 h 290153"/>
              <a:gd name="T32" fmla="*/ 82229262 w 291737"/>
              <a:gd name="T33" fmla="*/ 84875441 h 290153"/>
              <a:gd name="T34" fmla="*/ 44678279 w 291737"/>
              <a:gd name="T35" fmla="*/ 84875441 h 290153"/>
              <a:gd name="T36" fmla="*/ 27764580 w 291737"/>
              <a:gd name="T37" fmla="*/ 96153616 h 290153"/>
              <a:gd name="T38" fmla="*/ 52334178 w 291737"/>
              <a:gd name="T39" fmla="*/ 68852146 h 290153"/>
              <a:gd name="T40" fmla="*/ 72313118 w 291737"/>
              <a:gd name="T41" fmla="*/ 64165631 h 290153"/>
              <a:gd name="T42" fmla="*/ 77976585 w 291737"/>
              <a:gd name="T43" fmla="*/ 80724467 h 290153"/>
              <a:gd name="T44" fmla="*/ 48401249 w 291737"/>
              <a:gd name="T45" fmla="*/ 68852146 h 290153"/>
              <a:gd name="T46" fmla="*/ 59193458 w 291737"/>
              <a:gd name="T47" fmla="*/ 54222035 h 290153"/>
              <a:gd name="T48" fmla="*/ 63536008 w 291737"/>
              <a:gd name="T49" fmla="*/ 46117364 h 290153"/>
              <a:gd name="T50" fmla="*/ 63536008 w 291737"/>
              <a:gd name="T51" fmla="*/ 46117364 h 290153"/>
              <a:gd name="T52" fmla="*/ 111765453 w 291737"/>
              <a:gd name="T53" fmla="*/ 83819484 h 290153"/>
              <a:gd name="T54" fmla="*/ 15051580 w 291737"/>
              <a:gd name="T55" fmla="*/ 41987648 h 290153"/>
              <a:gd name="T56" fmla="*/ 13138120 w 291737"/>
              <a:gd name="T57" fmla="*/ 82102572 h 290153"/>
              <a:gd name="T58" fmla="*/ 91709610 w 291737"/>
              <a:gd name="T59" fmla="*/ 35208138 h 290153"/>
              <a:gd name="T60" fmla="*/ 77223386 w 291737"/>
              <a:gd name="T61" fmla="*/ 49457136 h 290153"/>
              <a:gd name="T62" fmla="*/ 37911938 w 291737"/>
              <a:gd name="T63" fmla="*/ 35208138 h 290153"/>
              <a:gd name="T64" fmla="*/ 46976875 w 291737"/>
              <a:gd name="T65" fmla="*/ 49457136 h 290153"/>
              <a:gd name="T66" fmla="*/ 89779237 w 291737"/>
              <a:gd name="T67" fmla="*/ 16518775 h 290153"/>
              <a:gd name="T68" fmla="*/ 34572388 w 291737"/>
              <a:gd name="T69" fmla="*/ 18502114 h 290153"/>
              <a:gd name="T70" fmla="*/ 101289900 w 291737"/>
              <a:gd name="T71" fmla="*/ 23421996 h 290153"/>
              <a:gd name="T72" fmla="*/ 121533257 w 291737"/>
              <a:gd name="T73" fmla="*/ 18424099 h 290153"/>
              <a:gd name="T74" fmla="*/ 127068263 w 291737"/>
              <a:gd name="T75" fmla="*/ 35139610 h 290153"/>
              <a:gd name="T76" fmla="*/ 97494406 w 291737"/>
              <a:gd name="T77" fmla="*/ 23421996 h 290153"/>
              <a:gd name="T78" fmla="*/ 5662450 w 291737"/>
              <a:gd name="T79" fmla="*/ 18424099 h 290153"/>
              <a:gd name="T80" fmla="*/ 25641957 w 291737"/>
              <a:gd name="T81" fmla="*/ 23421996 h 290153"/>
              <a:gd name="T82" fmla="*/ 29575230 w 291737"/>
              <a:gd name="T83" fmla="*/ 23421996 h 290153"/>
              <a:gd name="T84" fmla="*/ 0 w 291737"/>
              <a:gd name="T85" fmla="*/ 35139610 h 290153"/>
              <a:gd name="T86" fmla="*/ 111858698 w 291737"/>
              <a:gd name="T87" fmla="*/ 3859771 h 290153"/>
              <a:gd name="T88" fmla="*/ 111858698 w 291737"/>
              <a:gd name="T89" fmla="*/ 3859771 h 290153"/>
              <a:gd name="T90" fmla="*/ 19439297 w 291737"/>
              <a:gd name="T91" fmla="*/ 8182036 h 290153"/>
              <a:gd name="T92" fmla="*/ 111858698 w 291737"/>
              <a:gd name="T93" fmla="*/ 16365797 h 290153"/>
              <a:gd name="T94" fmla="*/ 23352569 w 291737"/>
              <a:gd name="T95" fmla="*/ 8182036 h 2901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91737" h="290153">
                <a:moveTo>
                  <a:pt x="83671" y="242888"/>
                </a:moveTo>
                <a:lnTo>
                  <a:pt x="206125" y="242888"/>
                </a:lnTo>
                <a:cubicBezTo>
                  <a:pt x="208631" y="242888"/>
                  <a:pt x="210779" y="245086"/>
                  <a:pt x="210779" y="247651"/>
                </a:cubicBezTo>
                <a:cubicBezTo>
                  <a:pt x="210779" y="250215"/>
                  <a:pt x="208631" y="252047"/>
                  <a:pt x="206125" y="252047"/>
                </a:cubicBezTo>
                <a:lnTo>
                  <a:pt x="83671" y="252047"/>
                </a:lnTo>
                <a:cubicBezTo>
                  <a:pt x="81523" y="252047"/>
                  <a:pt x="79375" y="250215"/>
                  <a:pt x="79375" y="247651"/>
                </a:cubicBezTo>
                <a:cubicBezTo>
                  <a:pt x="79375" y="245086"/>
                  <a:pt x="81523" y="242888"/>
                  <a:pt x="83671" y="242888"/>
                </a:cubicBezTo>
                <a:close/>
                <a:moveTo>
                  <a:pt x="236183" y="241515"/>
                </a:moveTo>
                <a:cubicBezTo>
                  <a:pt x="237998" y="242956"/>
                  <a:pt x="238361" y="245838"/>
                  <a:pt x="236546" y="248000"/>
                </a:cubicBezTo>
                <a:cubicBezTo>
                  <a:pt x="233641" y="250882"/>
                  <a:pt x="232552" y="254845"/>
                  <a:pt x="232552" y="258808"/>
                </a:cubicBezTo>
                <a:lnTo>
                  <a:pt x="232552" y="281866"/>
                </a:lnTo>
                <a:lnTo>
                  <a:pt x="283023" y="281866"/>
                </a:lnTo>
                <a:lnTo>
                  <a:pt x="283023" y="258808"/>
                </a:lnTo>
                <a:cubicBezTo>
                  <a:pt x="283023" y="254845"/>
                  <a:pt x="281570" y="250882"/>
                  <a:pt x="279029" y="248000"/>
                </a:cubicBezTo>
                <a:cubicBezTo>
                  <a:pt x="277213" y="245838"/>
                  <a:pt x="277939" y="242956"/>
                  <a:pt x="279392" y="241515"/>
                </a:cubicBezTo>
                <a:cubicBezTo>
                  <a:pt x="281570" y="239713"/>
                  <a:pt x="284475" y="240074"/>
                  <a:pt x="285928" y="242235"/>
                </a:cubicBezTo>
                <a:cubicBezTo>
                  <a:pt x="289559" y="246559"/>
                  <a:pt x="291737" y="252683"/>
                  <a:pt x="291737" y="258808"/>
                </a:cubicBezTo>
                <a:lnTo>
                  <a:pt x="291737" y="285830"/>
                </a:lnTo>
                <a:cubicBezTo>
                  <a:pt x="291737" y="288712"/>
                  <a:pt x="289922" y="290153"/>
                  <a:pt x="287743" y="290153"/>
                </a:cubicBezTo>
                <a:lnTo>
                  <a:pt x="228194" y="290153"/>
                </a:lnTo>
                <a:cubicBezTo>
                  <a:pt x="226016" y="290153"/>
                  <a:pt x="223837" y="288712"/>
                  <a:pt x="223837" y="285830"/>
                </a:cubicBezTo>
                <a:lnTo>
                  <a:pt x="223837" y="258808"/>
                </a:lnTo>
                <a:cubicBezTo>
                  <a:pt x="223837" y="252683"/>
                  <a:pt x="226016" y="246559"/>
                  <a:pt x="229647" y="242235"/>
                </a:cubicBezTo>
                <a:cubicBezTo>
                  <a:pt x="231462" y="240074"/>
                  <a:pt x="234367" y="239713"/>
                  <a:pt x="236183" y="241515"/>
                </a:cubicBezTo>
                <a:close/>
                <a:moveTo>
                  <a:pt x="12280" y="241515"/>
                </a:moveTo>
                <a:cubicBezTo>
                  <a:pt x="14447" y="242956"/>
                  <a:pt x="14808" y="245838"/>
                  <a:pt x="13002" y="248000"/>
                </a:cubicBezTo>
                <a:cubicBezTo>
                  <a:pt x="10835" y="250882"/>
                  <a:pt x="9029" y="254845"/>
                  <a:pt x="9029" y="258808"/>
                </a:cubicBezTo>
                <a:lnTo>
                  <a:pt x="9029" y="281866"/>
                </a:lnTo>
                <a:lnTo>
                  <a:pt x="59232" y="281866"/>
                </a:lnTo>
                <a:lnTo>
                  <a:pt x="59232" y="258808"/>
                </a:lnTo>
                <a:cubicBezTo>
                  <a:pt x="59232" y="254845"/>
                  <a:pt x="57788" y="250882"/>
                  <a:pt x="55259" y="248000"/>
                </a:cubicBezTo>
                <a:cubicBezTo>
                  <a:pt x="53454" y="245838"/>
                  <a:pt x="54176" y="242956"/>
                  <a:pt x="55982" y="241515"/>
                </a:cubicBezTo>
                <a:cubicBezTo>
                  <a:pt x="57788" y="239713"/>
                  <a:pt x="60677" y="240074"/>
                  <a:pt x="61761" y="242235"/>
                </a:cubicBezTo>
                <a:cubicBezTo>
                  <a:pt x="65734" y="246559"/>
                  <a:pt x="67901" y="252683"/>
                  <a:pt x="67901" y="258808"/>
                </a:cubicBezTo>
                <a:lnTo>
                  <a:pt x="67901" y="285830"/>
                </a:lnTo>
                <a:cubicBezTo>
                  <a:pt x="67901" y="288712"/>
                  <a:pt x="65734" y="290153"/>
                  <a:pt x="63566" y="290153"/>
                </a:cubicBezTo>
                <a:lnTo>
                  <a:pt x="4695" y="290153"/>
                </a:lnTo>
                <a:cubicBezTo>
                  <a:pt x="2528" y="290153"/>
                  <a:pt x="0" y="288712"/>
                  <a:pt x="0" y="285830"/>
                </a:cubicBezTo>
                <a:lnTo>
                  <a:pt x="0" y="258808"/>
                </a:lnTo>
                <a:cubicBezTo>
                  <a:pt x="0" y="252683"/>
                  <a:pt x="2528" y="246559"/>
                  <a:pt x="6140" y="242235"/>
                </a:cubicBezTo>
                <a:cubicBezTo>
                  <a:pt x="7946" y="240074"/>
                  <a:pt x="10835" y="239713"/>
                  <a:pt x="12280" y="241515"/>
                </a:cubicBezTo>
                <a:close/>
                <a:moveTo>
                  <a:pt x="256816" y="213690"/>
                </a:moveTo>
                <a:cubicBezTo>
                  <a:pt x="251065" y="213690"/>
                  <a:pt x="246752" y="217963"/>
                  <a:pt x="246752" y="223660"/>
                </a:cubicBezTo>
                <a:cubicBezTo>
                  <a:pt x="246752" y="229357"/>
                  <a:pt x="251065" y="233630"/>
                  <a:pt x="256816" y="233630"/>
                </a:cubicBezTo>
                <a:cubicBezTo>
                  <a:pt x="262926" y="233630"/>
                  <a:pt x="267599" y="229357"/>
                  <a:pt x="267599" y="223660"/>
                </a:cubicBezTo>
                <a:cubicBezTo>
                  <a:pt x="267599" y="217963"/>
                  <a:pt x="262926" y="213690"/>
                  <a:pt x="256816" y="213690"/>
                </a:cubicBezTo>
                <a:close/>
                <a:moveTo>
                  <a:pt x="34565" y="213690"/>
                </a:moveTo>
                <a:cubicBezTo>
                  <a:pt x="29174" y="213690"/>
                  <a:pt x="24501" y="217963"/>
                  <a:pt x="24501" y="223660"/>
                </a:cubicBezTo>
                <a:cubicBezTo>
                  <a:pt x="24501" y="229357"/>
                  <a:pt x="29174" y="233630"/>
                  <a:pt x="34565" y="233630"/>
                </a:cubicBezTo>
                <a:cubicBezTo>
                  <a:pt x="40316" y="233630"/>
                  <a:pt x="44629" y="229357"/>
                  <a:pt x="44629" y="223660"/>
                </a:cubicBezTo>
                <a:cubicBezTo>
                  <a:pt x="44629" y="217963"/>
                  <a:pt x="40316" y="213690"/>
                  <a:pt x="34565" y="213690"/>
                </a:cubicBezTo>
                <a:close/>
                <a:moveTo>
                  <a:pt x="256816" y="204788"/>
                </a:moveTo>
                <a:cubicBezTo>
                  <a:pt x="267599" y="204788"/>
                  <a:pt x="275866" y="213334"/>
                  <a:pt x="275866" y="223660"/>
                </a:cubicBezTo>
                <a:cubicBezTo>
                  <a:pt x="275866" y="234342"/>
                  <a:pt x="267599" y="242532"/>
                  <a:pt x="256816" y="242532"/>
                </a:cubicBezTo>
                <a:cubicBezTo>
                  <a:pt x="246752" y="242532"/>
                  <a:pt x="238125" y="234342"/>
                  <a:pt x="238125" y="223660"/>
                </a:cubicBezTo>
                <a:cubicBezTo>
                  <a:pt x="238125" y="213334"/>
                  <a:pt x="246752" y="204788"/>
                  <a:pt x="256816" y="204788"/>
                </a:cubicBezTo>
                <a:close/>
                <a:moveTo>
                  <a:pt x="34565" y="204788"/>
                </a:moveTo>
                <a:cubicBezTo>
                  <a:pt x="45348" y="204788"/>
                  <a:pt x="53615" y="213334"/>
                  <a:pt x="53615" y="223660"/>
                </a:cubicBezTo>
                <a:cubicBezTo>
                  <a:pt x="53615" y="234342"/>
                  <a:pt x="45348" y="242532"/>
                  <a:pt x="34565" y="242532"/>
                </a:cubicBezTo>
                <a:cubicBezTo>
                  <a:pt x="24142" y="242532"/>
                  <a:pt x="15875" y="234342"/>
                  <a:pt x="15875" y="223660"/>
                </a:cubicBezTo>
                <a:cubicBezTo>
                  <a:pt x="15875" y="213334"/>
                  <a:pt x="24142" y="204788"/>
                  <a:pt x="34565" y="204788"/>
                </a:cubicBezTo>
                <a:close/>
                <a:moveTo>
                  <a:pt x="188791" y="189157"/>
                </a:moveTo>
                <a:cubicBezTo>
                  <a:pt x="190622" y="187325"/>
                  <a:pt x="193553" y="187325"/>
                  <a:pt x="195385" y="189157"/>
                </a:cubicBezTo>
                <a:lnTo>
                  <a:pt x="228356" y="221762"/>
                </a:lnTo>
                <a:cubicBezTo>
                  <a:pt x="229821" y="223960"/>
                  <a:pt x="229821" y="226891"/>
                  <a:pt x="228356" y="228356"/>
                </a:cubicBezTo>
                <a:cubicBezTo>
                  <a:pt x="226890" y="229089"/>
                  <a:pt x="226157" y="229822"/>
                  <a:pt x="225058" y="229822"/>
                </a:cubicBezTo>
                <a:cubicBezTo>
                  <a:pt x="223593" y="229822"/>
                  <a:pt x="222860" y="229089"/>
                  <a:pt x="222128" y="228356"/>
                </a:cubicBezTo>
                <a:lnTo>
                  <a:pt x="188791" y="195751"/>
                </a:lnTo>
                <a:cubicBezTo>
                  <a:pt x="187325" y="193553"/>
                  <a:pt x="187325" y="190622"/>
                  <a:pt x="188791" y="189157"/>
                </a:cubicBezTo>
                <a:close/>
                <a:moveTo>
                  <a:pt x="96349" y="189157"/>
                </a:moveTo>
                <a:cubicBezTo>
                  <a:pt x="98180" y="187325"/>
                  <a:pt x="100745" y="187325"/>
                  <a:pt x="102577" y="189157"/>
                </a:cubicBezTo>
                <a:cubicBezTo>
                  <a:pt x="104408" y="190622"/>
                  <a:pt x="104408" y="193553"/>
                  <a:pt x="102577" y="195751"/>
                </a:cubicBezTo>
                <a:lnTo>
                  <a:pt x="69971" y="228356"/>
                </a:lnTo>
                <a:cubicBezTo>
                  <a:pt x="68872" y="229089"/>
                  <a:pt x="67773" y="229822"/>
                  <a:pt x="66674" y="229822"/>
                </a:cubicBezTo>
                <a:cubicBezTo>
                  <a:pt x="65575" y="229822"/>
                  <a:pt x="64476" y="229089"/>
                  <a:pt x="63744" y="228356"/>
                </a:cubicBezTo>
                <a:cubicBezTo>
                  <a:pt x="61912" y="226891"/>
                  <a:pt x="61912" y="223960"/>
                  <a:pt x="63744" y="221762"/>
                </a:cubicBezTo>
                <a:lnTo>
                  <a:pt x="96349" y="189157"/>
                </a:lnTo>
                <a:close/>
                <a:moveTo>
                  <a:pt x="123405" y="141862"/>
                </a:moveTo>
                <a:cubicBezTo>
                  <a:pt x="125572" y="142943"/>
                  <a:pt x="125572" y="145825"/>
                  <a:pt x="123766" y="147987"/>
                </a:cubicBezTo>
                <a:cubicBezTo>
                  <a:pt x="121599" y="150509"/>
                  <a:pt x="120154" y="154832"/>
                  <a:pt x="120154" y="158795"/>
                </a:cubicBezTo>
                <a:lnTo>
                  <a:pt x="120154" y="181493"/>
                </a:lnTo>
                <a:lnTo>
                  <a:pt x="169996" y="181493"/>
                </a:lnTo>
                <a:lnTo>
                  <a:pt x="169996" y="158795"/>
                </a:lnTo>
                <a:cubicBezTo>
                  <a:pt x="169996" y="154832"/>
                  <a:pt x="168913" y="150509"/>
                  <a:pt x="166023" y="147987"/>
                </a:cubicBezTo>
                <a:cubicBezTo>
                  <a:pt x="164217" y="145825"/>
                  <a:pt x="164940" y="142943"/>
                  <a:pt x="166746" y="141862"/>
                </a:cubicBezTo>
                <a:cubicBezTo>
                  <a:pt x="168552" y="140061"/>
                  <a:pt x="171802" y="140421"/>
                  <a:pt x="172886" y="142222"/>
                </a:cubicBezTo>
                <a:cubicBezTo>
                  <a:pt x="176498" y="146546"/>
                  <a:pt x="179026" y="152670"/>
                  <a:pt x="179026" y="158795"/>
                </a:cubicBezTo>
                <a:lnTo>
                  <a:pt x="179026" y="186177"/>
                </a:lnTo>
                <a:cubicBezTo>
                  <a:pt x="179026" y="188699"/>
                  <a:pt x="176859" y="190140"/>
                  <a:pt x="174691" y="190140"/>
                </a:cubicBezTo>
                <a:lnTo>
                  <a:pt x="115820" y="190140"/>
                </a:lnTo>
                <a:cubicBezTo>
                  <a:pt x="113292" y="190140"/>
                  <a:pt x="111125" y="188699"/>
                  <a:pt x="111125" y="186177"/>
                </a:cubicBezTo>
                <a:lnTo>
                  <a:pt x="111125" y="158795"/>
                </a:lnTo>
                <a:cubicBezTo>
                  <a:pt x="111125" y="152670"/>
                  <a:pt x="113292" y="146546"/>
                  <a:pt x="117265" y="142222"/>
                </a:cubicBezTo>
                <a:cubicBezTo>
                  <a:pt x="118709" y="140421"/>
                  <a:pt x="121599" y="139700"/>
                  <a:pt x="123405" y="141862"/>
                </a:cubicBezTo>
                <a:close/>
                <a:moveTo>
                  <a:pt x="145872" y="114990"/>
                </a:moveTo>
                <a:cubicBezTo>
                  <a:pt x="140175" y="114990"/>
                  <a:pt x="135902" y="119662"/>
                  <a:pt x="135902" y="125054"/>
                </a:cubicBezTo>
                <a:cubicBezTo>
                  <a:pt x="135902" y="130805"/>
                  <a:pt x="140175" y="135118"/>
                  <a:pt x="145872" y="135118"/>
                </a:cubicBezTo>
                <a:cubicBezTo>
                  <a:pt x="151569" y="135118"/>
                  <a:pt x="155842" y="130805"/>
                  <a:pt x="155842" y="125054"/>
                </a:cubicBezTo>
                <a:cubicBezTo>
                  <a:pt x="155842" y="119662"/>
                  <a:pt x="151569" y="114990"/>
                  <a:pt x="145872" y="114990"/>
                </a:cubicBezTo>
                <a:close/>
                <a:moveTo>
                  <a:pt x="145872" y="106363"/>
                </a:moveTo>
                <a:cubicBezTo>
                  <a:pt x="156554" y="106363"/>
                  <a:pt x="164744" y="114271"/>
                  <a:pt x="164744" y="125054"/>
                </a:cubicBezTo>
                <a:cubicBezTo>
                  <a:pt x="164744" y="135477"/>
                  <a:pt x="156554" y="144104"/>
                  <a:pt x="145872" y="144104"/>
                </a:cubicBezTo>
                <a:cubicBezTo>
                  <a:pt x="135546" y="144104"/>
                  <a:pt x="127000" y="135477"/>
                  <a:pt x="127000" y="125054"/>
                </a:cubicBezTo>
                <a:cubicBezTo>
                  <a:pt x="127000" y="114271"/>
                  <a:pt x="135546" y="106363"/>
                  <a:pt x="145872" y="106363"/>
                </a:cubicBezTo>
                <a:close/>
                <a:moveTo>
                  <a:pt x="256603" y="96838"/>
                </a:moveTo>
                <a:cubicBezTo>
                  <a:pt x="259270" y="96838"/>
                  <a:pt x="261556" y="98998"/>
                  <a:pt x="261556" y="101158"/>
                </a:cubicBezTo>
                <a:lnTo>
                  <a:pt x="261556" y="189355"/>
                </a:lnTo>
                <a:cubicBezTo>
                  <a:pt x="261556" y="191875"/>
                  <a:pt x="259270" y="193315"/>
                  <a:pt x="256603" y="193315"/>
                </a:cubicBezTo>
                <a:cubicBezTo>
                  <a:pt x="254317" y="193315"/>
                  <a:pt x="252412" y="191875"/>
                  <a:pt x="252412" y="189355"/>
                </a:cubicBezTo>
                <a:lnTo>
                  <a:pt x="252412" y="101158"/>
                </a:lnTo>
                <a:cubicBezTo>
                  <a:pt x="252412" y="98998"/>
                  <a:pt x="254317" y="96838"/>
                  <a:pt x="256603" y="96838"/>
                </a:cubicBezTo>
                <a:close/>
                <a:moveTo>
                  <a:pt x="34558" y="96838"/>
                </a:moveTo>
                <a:cubicBezTo>
                  <a:pt x="37122" y="96838"/>
                  <a:pt x="39320" y="98998"/>
                  <a:pt x="39320" y="101158"/>
                </a:cubicBezTo>
                <a:lnTo>
                  <a:pt x="39320" y="189355"/>
                </a:lnTo>
                <a:cubicBezTo>
                  <a:pt x="39320" y="191875"/>
                  <a:pt x="37122" y="193315"/>
                  <a:pt x="34558" y="193315"/>
                </a:cubicBezTo>
                <a:cubicBezTo>
                  <a:pt x="31993" y="193315"/>
                  <a:pt x="30162" y="191875"/>
                  <a:pt x="30162" y="189355"/>
                </a:cubicBezTo>
                <a:lnTo>
                  <a:pt x="30162" y="101158"/>
                </a:lnTo>
                <a:cubicBezTo>
                  <a:pt x="30162" y="98998"/>
                  <a:pt x="31993" y="96838"/>
                  <a:pt x="34558" y="96838"/>
                </a:cubicBezTo>
                <a:close/>
                <a:moveTo>
                  <a:pt x="204410" y="81201"/>
                </a:moveTo>
                <a:cubicBezTo>
                  <a:pt x="206218" y="79375"/>
                  <a:pt x="208387" y="79375"/>
                  <a:pt x="210556" y="81201"/>
                </a:cubicBezTo>
                <a:cubicBezTo>
                  <a:pt x="212364" y="82661"/>
                  <a:pt x="212364" y="85582"/>
                  <a:pt x="210556" y="87408"/>
                </a:cubicBezTo>
                <a:lnTo>
                  <a:pt x="184166" y="114063"/>
                </a:lnTo>
                <a:cubicBezTo>
                  <a:pt x="183081" y="114793"/>
                  <a:pt x="181996" y="115523"/>
                  <a:pt x="180912" y="115523"/>
                </a:cubicBezTo>
                <a:cubicBezTo>
                  <a:pt x="179466" y="115523"/>
                  <a:pt x="178743" y="114793"/>
                  <a:pt x="177297" y="114063"/>
                </a:cubicBezTo>
                <a:cubicBezTo>
                  <a:pt x="176212" y="112602"/>
                  <a:pt x="176212" y="109681"/>
                  <a:pt x="177297" y="107855"/>
                </a:cubicBezTo>
                <a:lnTo>
                  <a:pt x="204410" y="81201"/>
                </a:lnTo>
                <a:close/>
                <a:moveTo>
                  <a:pt x="80835" y="81201"/>
                </a:moveTo>
                <a:cubicBezTo>
                  <a:pt x="82661" y="79375"/>
                  <a:pt x="85947" y="79375"/>
                  <a:pt x="87042" y="81201"/>
                </a:cubicBezTo>
                <a:lnTo>
                  <a:pt x="114061" y="107855"/>
                </a:lnTo>
                <a:cubicBezTo>
                  <a:pt x="115522" y="109681"/>
                  <a:pt x="115522" y="112602"/>
                  <a:pt x="114061" y="114063"/>
                </a:cubicBezTo>
                <a:cubicBezTo>
                  <a:pt x="113331" y="114793"/>
                  <a:pt x="111870" y="115523"/>
                  <a:pt x="111140" y="115523"/>
                </a:cubicBezTo>
                <a:cubicBezTo>
                  <a:pt x="109680" y="115523"/>
                  <a:pt x="108584" y="114793"/>
                  <a:pt x="107854" y="114063"/>
                </a:cubicBezTo>
                <a:lnTo>
                  <a:pt x="80835" y="87408"/>
                </a:lnTo>
                <a:cubicBezTo>
                  <a:pt x="79375" y="85582"/>
                  <a:pt x="79375" y="82661"/>
                  <a:pt x="80835" y="81201"/>
                </a:cubicBezTo>
                <a:close/>
                <a:moveTo>
                  <a:pt x="83671" y="38100"/>
                </a:moveTo>
                <a:lnTo>
                  <a:pt x="206125" y="38100"/>
                </a:lnTo>
                <a:cubicBezTo>
                  <a:pt x="208631" y="38100"/>
                  <a:pt x="210779" y="40386"/>
                  <a:pt x="210779" y="42672"/>
                </a:cubicBezTo>
                <a:cubicBezTo>
                  <a:pt x="210779" y="45339"/>
                  <a:pt x="208631" y="47244"/>
                  <a:pt x="206125" y="47244"/>
                </a:cubicBezTo>
                <a:lnTo>
                  <a:pt x="83671" y="47244"/>
                </a:lnTo>
                <a:cubicBezTo>
                  <a:pt x="81523" y="47244"/>
                  <a:pt x="79375" y="45339"/>
                  <a:pt x="79375" y="42672"/>
                </a:cubicBezTo>
                <a:cubicBezTo>
                  <a:pt x="79375" y="40386"/>
                  <a:pt x="81523" y="38100"/>
                  <a:pt x="83671" y="38100"/>
                </a:cubicBezTo>
                <a:close/>
                <a:moveTo>
                  <a:pt x="236183" y="36366"/>
                </a:moveTo>
                <a:cubicBezTo>
                  <a:pt x="237998" y="38167"/>
                  <a:pt x="238361" y="41050"/>
                  <a:pt x="236546" y="42491"/>
                </a:cubicBezTo>
                <a:cubicBezTo>
                  <a:pt x="233641" y="45733"/>
                  <a:pt x="232552" y="50057"/>
                  <a:pt x="232552" y="54020"/>
                </a:cubicBezTo>
                <a:lnTo>
                  <a:pt x="232552" y="76718"/>
                </a:lnTo>
                <a:lnTo>
                  <a:pt x="283023" y="76718"/>
                </a:lnTo>
                <a:lnTo>
                  <a:pt x="283023" y="54020"/>
                </a:lnTo>
                <a:cubicBezTo>
                  <a:pt x="283023" y="50057"/>
                  <a:pt x="281570" y="45733"/>
                  <a:pt x="279029" y="42491"/>
                </a:cubicBezTo>
                <a:cubicBezTo>
                  <a:pt x="277213" y="41050"/>
                  <a:pt x="277939" y="38167"/>
                  <a:pt x="279392" y="36366"/>
                </a:cubicBezTo>
                <a:cubicBezTo>
                  <a:pt x="281570" y="34925"/>
                  <a:pt x="284475" y="35285"/>
                  <a:pt x="285928" y="37447"/>
                </a:cubicBezTo>
                <a:cubicBezTo>
                  <a:pt x="289559" y="41770"/>
                  <a:pt x="291737" y="47895"/>
                  <a:pt x="291737" y="54020"/>
                </a:cubicBezTo>
                <a:lnTo>
                  <a:pt x="291737" y="81042"/>
                </a:lnTo>
                <a:cubicBezTo>
                  <a:pt x="291737" y="83924"/>
                  <a:pt x="289922" y="85365"/>
                  <a:pt x="287743" y="85365"/>
                </a:cubicBezTo>
                <a:lnTo>
                  <a:pt x="228194" y="85365"/>
                </a:lnTo>
                <a:cubicBezTo>
                  <a:pt x="226016" y="85365"/>
                  <a:pt x="223837" y="83924"/>
                  <a:pt x="223837" y="81042"/>
                </a:cubicBezTo>
                <a:lnTo>
                  <a:pt x="223837" y="54020"/>
                </a:lnTo>
                <a:cubicBezTo>
                  <a:pt x="223837" y="47895"/>
                  <a:pt x="226016" y="41770"/>
                  <a:pt x="229647" y="37447"/>
                </a:cubicBezTo>
                <a:cubicBezTo>
                  <a:pt x="231462" y="35285"/>
                  <a:pt x="234367" y="34925"/>
                  <a:pt x="236183" y="36366"/>
                </a:cubicBezTo>
                <a:close/>
                <a:moveTo>
                  <a:pt x="12280" y="36366"/>
                </a:moveTo>
                <a:cubicBezTo>
                  <a:pt x="14447" y="38167"/>
                  <a:pt x="14808" y="41050"/>
                  <a:pt x="13002" y="42491"/>
                </a:cubicBezTo>
                <a:cubicBezTo>
                  <a:pt x="10835" y="45733"/>
                  <a:pt x="9029" y="50057"/>
                  <a:pt x="9029" y="54020"/>
                </a:cubicBezTo>
                <a:lnTo>
                  <a:pt x="9029" y="76718"/>
                </a:lnTo>
                <a:lnTo>
                  <a:pt x="58871" y="76718"/>
                </a:lnTo>
                <a:lnTo>
                  <a:pt x="58871" y="54020"/>
                </a:lnTo>
                <a:cubicBezTo>
                  <a:pt x="58871" y="50057"/>
                  <a:pt x="57788" y="45733"/>
                  <a:pt x="55259" y="42491"/>
                </a:cubicBezTo>
                <a:cubicBezTo>
                  <a:pt x="53454" y="41050"/>
                  <a:pt x="54176" y="38167"/>
                  <a:pt x="55982" y="36366"/>
                </a:cubicBezTo>
                <a:cubicBezTo>
                  <a:pt x="57788" y="34925"/>
                  <a:pt x="60677" y="35285"/>
                  <a:pt x="61761" y="37447"/>
                </a:cubicBezTo>
                <a:cubicBezTo>
                  <a:pt x="65734" y="41770"/>
                  <a:pt x="67901" y="47895"/>
                  <a:pt x="67901" y="54020"/>
                </a:cubicBezTo>
                <a:lnTo>
                  <a:pt x="67901" y="81042"/>
                </a:lnTo>
                <a:cubicBezTo>
                  <a:pt x="67901" y="83924"/>
                  <a:pt x="65734" y="85365"/>
                  <a:pt x="63566" y="85365"/>
                </a:cubicBezTo>
                <a:lnTo>
                  <a:pt x="4695" y="85365"/>
                </a:lnTo>
                <a:cubicBezTo>
                  <a:pt x="2528" y="85365"/>
                  <a:pt x="0" y="83924"/>
                  <a:pt x="0" y="81042"/>
                </a:cubicBezTo>
                <a:lnTo>
                  <a:pt x="0" y="54020"/>
                </a:lnTo>
                <a:cubicBezTo>
                  <a:pt x="0" y="47895"/>
                  <a:pt x="2528" y="41770"/>
                  <a:pt x="6140" y="37447"/>
                </a:cubicBezTo>
                <a:cubicBezTo>
                  <a:pt x="7946" y="35285"/>
                  <a:pt x="10835" y="34925"/>
                  <a:pt x="12280" y="36366"/>
                </a:cubicBezTo>
                <a:close/>
                <a:moveTo>
                  <a:pt x="256816" y="8902"/>
                </a:moveTo>
                <a:cubicBezTo>
                  <a:pt x="251065" y="8902"/>
                  <a:pt x="246752" y="13175"/>
                  <a:pt x="246752" y="18872"/>
                </a:cubicBezTo>
                <a:cubicBezTo>
                  <a:pt x="246752" y="24569"/>
                  <a:pt x="251065" y="29198"/>
                  <a:pt x="256816" y="29198"/>
                </a:cubicBezTo>
                <a:cubicBezTo>
                  <a:pt x="262926" y="29198"/>
                  <a:pt x="267599" y="24569"/>
                  <a:pt x="267599" y="18872"/>
                </a:cubicBezTo>
                <a:cubicBezTo>
                  <a:pt x="267599" y="13175"/>
                  <a:pt x="262926" y="8902"/>
                  <a:pt x="256816" y="8902"/>
                </a:cubicBezTo>
                <a:close/>
                <a:moveTo>
                  <a:pt x="34565" y="8902"/>
                </a:moveTo>
                <a:cubicBezTo>
                  <a:pt x="29174" y="8902"/>
                  <a:pt x="24501" y="13175"/>
                  <a:pt x="24501" y="18872"/>
                </a:cubicBezTo>
                <a:cubicBezTo>
                  <a:pt x="24501" y="24569"/>
                  <a:pt x="29174" y="29198"/>
                  <a:pt x="34565" y="29198"/>
                </a:cubicBezTo>
                <a:cubicBezTo>
                  <a:pt x="40316" y="29198"/>
                  <a:pt x="44629" y="24569"/>
                  <a:pt x="44629" y="18872"/>
                </a:cubicBezTo>
                <a:cubicBezTo>
                  <a:pt x="44629" y="13175"/>
                  <a:pt x="40316" y="8902"/>
                  <a:pt x="34565" y="8902"/>
                </a:cubicBezTo>
                <a:close/>
                <a:moveTo>
                  <a:pt x="256816" y="0"/>
                </a:moveTo>
                <a:cubicBezTo>
                  <a:pt x="267599" y="0"/>
                  <a:pt x="275866" y="8189"/>
                  <a:pt x="275866" y="18872"/>
                </a:cubicBezTo>
                <a:cubicBezTo>
                  <a:pt x="275866" y="29198"/>
                  <a:pt x="267599" y="37744"/>
                  <a:pt x="256816" y="37744"/>
                </a:cubicBezTo>
                <a:cubicBezTo>
                  <a:pt x="246752" y="37744"/>
                  <a:pt x="238125" y="29198"/>
                  <a:pt x="238125" y="18872"/>
                </a:cubicBezTo>
                <a:cubicBezTo>
                  <a:pt x="238125" y="8189"/>
                  <a:pt x="246752" y="0"/>
                  <a:pt x="256816" y="0"/>
                </a:cubicBezTo>
                <a:close/>
                <a:moveTo>
                  <a:pt x="34565" y="0"/>
                </a:moveTo>
                <a:cubicBezTo>
                  <a:pt x="45348" y="0"/>
                  <a:pt x="53615" y="8189"/>
                  <a:pt x="53615" y="18872"/>
                </a:cubicBezTo>
                <a:cubicBezTo>
                  <a:pt x="53615" y="29198"/>
                  <a:pt x="45348" y="37744"/>
                  <a:pt x="34565" y="37744"/>
                </a:cubicBezTo>
                <a:cubicBezTo>
                  <a:pt x="24142" y="37744"/>
                  <a:pt x="15875" y="29198"/>
                  <a:pt x="15875" y="18872"/>
                </a:cubicBezTo>
                <a:cubicBezTo>
                  <a:pt x="15875" y="8189"/>
                  <a:pt x="24142" y="0"/>
                  <a:pt x="34565" y="0"/>
                </a:cubicBezTo>
                <a:close/>
              </a:path>
            </a:pathLst>
          </a:custGeom>
          <a:solidFill>
            <a:schemeClr val="bg1"/>
          </a:solidFill>
          <a:ln>
            <a:noFill/>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Lato Light" panose="020F0502020204030203" pitchFamily="34" charset="0"/>
              <a:ea typeface="+mn-ea"/>
              <a:cs typeface="+mn-cs"/>
            </a:endParaRPr>
          </a:p>
        </p:txBody>
      </p:sp>
      <p:sp>
        <p:nvSpPr>
          <p:cNvPr id="32" name="Freeform 1021">
            <a:extLst>
              <a:ext uri="{FF2B5EF4-FFF2-40B4-BE49-F238E27FC236}">
                <a16:creationId xmlns:a16="http://schemas.microsoft.com/office/drawing/2014/main" id="{5718FFF6-E1E5-0F4C-B677-FF958BD52D73}"/>
              </a:ext>
            </a:extLst>
          </p:cNvPr>
          <p:cNvSpPr>
            <a:spLocks noChangeAspect="1" noChangeArrowheads="1"/>
          </p:cNvSpPr>
          <p:nvPr/>
        </p:nvSpPr>
        <p:spPr bwMode="auto">
          <a:xfrm>
            <a:off x="3413195" y="841755"/>
            <a:ext cx="526257" cy="527050"/>
          </a:xfrm>
          <a:custGeom>
            <a:avLst/>
            <a:gdLst>
              <a:gd name="T0" fmla="*/ 69401580 w 290150"/>
              <a:gd name="T1" fmla="*/ 121905821 h 290152"/>
              <a:gd name="T2" fmla="*/ 101735209 w 290150"/>
              <a:gd name="T3" fmla="*/ 104566787 h 290152"/>
              <a:gd name="T4" fmla="*/ 122048015 w 290150"/>
              <a:gd name="T5" fmla="*/ 121907862 h 290152"/>
              <a:gd name="T6" fmla="*/ 123308159 w 290150"/>
              <a:gd name="T7" fmla="*/ 104878861 h 290152"/>
              <a:gd name="T8" fmla="*/ 98428740 w 290150"/>
              <a:gd name="T9" fmla="*/ 125812788 h 290152"/>
              <a:gd name="T10" fmla="*/ 101735209 w 290150"/>
              <a:gd name="T11" fmla="*/ 104566787 h 290152"/>
              <a:gd name="T12" fmla="*/ 3711393 w 290150"/>
              <a:gd name="T13" fmla="*/ 121907862 h 290152"/>
              <a:gd name="T14" fmla="*/ 23657262 w 290150"/>
              <a:gd name="T15" fmla="*/ 104566787 h 290152"/>
              <a:gd name="T16" fmla="*/ 26904877 w 290150"/>
              <a:gd name="T17" fmla="*/ 125812788 h 290152"/>
              <a:gd name="T18" fmla="*/ 2629532 w 290150"/>
              <a:gd name="T19" fmla="*/ 104878861 h 290152"/>
              <a:gd name="T20" fmla="*/ 80814075 w 290150"/>
              <a:gd name="T21" fmla="*/ 110495926 h 290152"/>
              <a:gd name="T22" fmla="*/ 106318684 w 290150"/>
              <a:gd name="T23" fmla="*/ 97058230 h 290152"/>
              <a:gd name="T24" fmla="*/ 14300614 w 290150"/>
              <a:gd name="T25" fmla="*/ 92538574 h 290152"/>
              <a:gd name="T26" fmla="*/ 14300614 w 290150"/>
              <a:gd name="T27" fmla="*/ 92538574 h 290152"/>
              <a:gd name="T28" fmla="*/ 102577386 w 290150"/>
              <a:gd name="T29" fmla="*/ 97058230 h 290152"/>
              <a:gd name="T30" fmla="*/ 14300614 w 290150"/>
              <a:gd name="T31" fmla="*/ 105162994 h 290152"/>
              <a:gd name="T32" fmla="*/ 57207559 w 290150"/>
              <a:gd name="T33" fmla="*/ 99086212 h 290152"/>
              <a:gd name="T34" fmla="*/ 76124319 w 290150"/>
              <a:gd name="T35" fmla="*/ 71108083 h 290152"/>
              <a:gd name="T36" fmla="*/ 80032537 w 290150"/>
              <a:gd name="T37" fmla="*/ 74859260 h 290152"/>
              <a:gd name="T38" fmla="*/ 49547474 w 290150"/>
              <a:gd name="T39" fmla="*/ 78766754 h 290152"/>
              <a:gd name="T40" fmla="*/ 7803059 w 290150"/>
              <a:gd name="T41" fmla="*/ 43366069 h 290152"/>
              <a:gd name="T42" fmla="*/ 8874038 w 290150"/>
              <a:gd name="T43" fmla="*/ 85731906 h 290152"/>
              <a:gd name="T44" fmla="*/ 0 w 290150"/>
              <a:gd name="T45" fmla="*/ 51338760 h 290152"/>
              <a:gd name="T46" fmla="*/ 121572332 w 290150"/>
              <a:gd name="T47" fmla="*/ 75808223 h 290152"/>
              <a:gd name="T48" fmla="*/ 117848892 w 290150"/>
              <a:gd name="T49" fmla="*/ 74564562 h 290152"/>
              <a:gd name="T50" fmla="*/ 87807546 w 290150"/>
              <a:gd name="T51" fmla="*/ 58917106 h 290152"/>
              <a:gd name="T52" fmla="*/ 62460013 w 290150"/>
              <a:gd name="T53" fmla="*/ 41082802 h 290152"/>
              <a:gd name="T54" fmla="*/ 29224563 w 290150"/>
              <a:gd name="T55" fmla="*/ 62824121 h 290152"/>
              <a:gd name="T56" fmla="*/ 53456051 w 290150"/>
              <a:gd name="T57" fmla="*/ 82518084 h 290152"/>
              <a:gd name="T58" fmla="*/ 57207559 w 290150"/>
              <a:gd name="T59" fmla="*/ 74859260 h 290152"/>
              <a:gd name="T60" fmla="*/ 76124319 w 290150"/>
              <a:gd name="T61" fmla="*/ 67356844 h 290152"/>
              <a:gd name="T62" fmla="*/ 72372353 w 290150"/>
              <a:gd name="T63" fmla="*/ 99086212 h 290152"/>
              <a:gd name="T64" fmla="*/ 62835889 w 290150"/>
              <a:gd name="T65" fmla="*/ 29220374 h 290152"/>
              <a:gd name="T66" fmla="*/ 84722256 w 290150"/>
              <a:gd name="T67" fmla="*/ 101430210 h 290152"/>
              <a:gd name="T68" fmla="*/ 78938244 w 290150"/>
              <a:gd name="T69" fmla="*/ 116279211 h 290152"/>
              <a:gd name="T70" fmla="*/ 47203090 w 290150"/>
              <a:gd name="T71" fmla="*/ 114246758 h 290152"/>
              <a:gd name="T72" fmla="*/ 36415736 w 290150"/>
              <a:gd name="T73" fmla="*/ 89238866 h 290152"/>
              <a:gd name="T74" fmla="*/ 102050172 w 290150"/>
              <a:gd name="T75" fmla="*/ 18424697 h 290152"/>
              <a:gd name="T76" fmla="*/ 122048015 w 290150"/>
              <a:gd name="T77" fmla="*/ 23268009 h 290152"/>
              <a:gd name="T78" fmla="*/ 125826538 w 290150"/>
              <a:gd name="T79" fmla="*/ 23268009 h 290152"/>
              <a:gd name="T80" fmla="*/ 96381088 w 290150"/>
              <a:gd name="T81" fmla="*/ 35140894 h 290152"/>
              <a:gd name="T82" fmla="*/ 5103055 w 290150"/>
              <a:gd name="T83" fmla="*/ 15925338 h 290152"/>
              <a:gd name="T84" fmla="*/ 25048641 w 290150"/>
              <a:gd name="T85" fmla="*/ 33265548 h 290152"/>
              <a:gd name="T86" fmla="*/ 26285795 w 290150"/>
              <a:gd name="T87" fmla="*/ 16080347 h 290152"/>
              <a:gd name="T88" fmla="*/ 1854307 w 290150"/>
              <a:gd name="T89" fmla="*/ 37015182 h 290152"/>
              <a:gd name="T90" fmla="*/ 5103055 w 290150"/>
              <a:gd name="T91" fmla="*/ 15925338 h 290152"/>
              <a:gd name="T92" fmla="*/ 115203078 w 290150"/>
              <a:gd name="T93" fmla="*/ 8183128 h 290152"/>
              <a:gd name="T94" fmla="*/ 14300614 w 290150"/>
              <a:gd name="T95" fmla="*/ 12660410 h 290152"/>
              <a:gd name="T96" fmla="*/ 85475857 w 290150"/>
              <a:gd name="T97" fmla="*/ 7107584 h 290152"/>
              <a:gd name="T98" fmla="*/ 83908002 w 290150"/>
              <a:gd name="T99" fmla="*/ 10353978 h 290152"/>
              <a:gd name="T100" fmla="*/ 31389377 w 290150"/>
              <a:gd name="T101" fmla="*/ 11435744 h 290152"/>
              <a:gd name="T102" fmla="*/ 110839091 w 290150"/>
              <a:gd name="T103" fmla="*/ 16366151 h 290152"/>
              <a:gd name="T104" fmla="*/ 22561810 w 290150"/>
              <a:gd name="T105" fmla="*/ 8183128 h 29015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90150" h="290152">
                <a:moveTo>
                  <a:pt x="117499" y="263478"/>
                </a:moveTo>
                <a:lnTo>
                  <a:pt x="117499" y="268164"/>
                </a:lnTo>
                <a:cubicBezTo>
                  <a:pt x="117499" y="275373"/>
                  <a:pt x="123627" y="281140"/>
                  <a:pt x="130837" y="281140"/>
                </a:cubicBezTo>
                <a:lnTo>
                  <a:pt x="160037" y="281140"/>
                </a:lnTo>
                <a:cubicBezTo>
                  <a:pt x="167247" y="281140"/>
                  <a:pt x="173015" y="275373"/>
                  <a:pt x="173015" y="268164"/>
                </a:cubicBezTo>
                <a:lnTo>
                  <a:pt x="173015" y="263478"/>
                </a:lnTo>
                <a:lnTo>
                  <a:pt x="117499" y="263478"/>
                </a:lnTo>
                <a:close/>
                <a:moveTo>
                  <a:pt x="234596" y="241153"/>
                </a:moveTo>
                <a:cubicBezTo>
                  <a:pt x="236774" y="242955"/>
                  <a:pt x="236774" y="245477"/>
                  <a:pt x="235322" y="247278"/>
                </a:cubicBezTo>
                <a:cubicBezTo>
                  <a:pt x="232417" y="250521"/>
                  <a:pt x="231328" y="254124"/>
                  <a:pt x="231328" y="258447"/>
                </a:cubicBezTo>
                <a:lnTo>
                  <a:pt x="231328" y="281145"/>
                </a:lnTo>
                <a:lnTo>
                  <a:pt x="281436" y="281145"/>
                </a:lnTo>
                <a:lnTo>
                  <a:pt x="281436" y="258447"/>
                </a:lnTo>
                <a:cubicBezTo>
                  <a:pt x="281436" y="254124"/>
                  <a:pt x="279983" y="250521"/>
                  <a:pt x="277442" y="247278"/>
                </a:cubicBezTo>
                <a:cubicBezTo>
                  <a:pt x="275626" y="245477"/>
                  <a:pt x="275989" y="242955"/>
                  <a:pt x="278168" y="241153"/>
                </a:cubicBezTo>
                <a:cubicBezTo>
                  <a:pt x="279983" y="239712"/>
                  <a:pt x="282525" y="239712"/>
                  <a:pt x="284341" y="241874"/>
                </a:cubicBezTo>
                <a:cubicBezTo>
                  <a:pt x="287972" y="246558"/>
                  <a:pt x="290150" y="252322"/>
                  <a:pt x="290150" y="258447"/>
                </a:cubicBezTo>
                <a:lnTo>
                  <a:pt x="290150" y="285829"/>
                </a:lnTo>
                <a:cubicBezTo>
                  <a:pt x="290150" y="287990"/>
                  <a:pt x="288335" y="290152"/>
                  <a:pt x="285793" y="290152"/>
                </a:cubicBezTo>
                <a:lnTo>
                  <a:pt x="226971" y="290152"/>
                </a:lnTo>
                <a:cubicBezTo>
                  <a:pt x="224429" y="290152"/>
                  <a:pt x="222250" y="287990"/>
                  <a:pt x="222250" y="285829"/>
                </a:cubicBezTo>
                <a:lnTo>
                  <a:pt x="222250" y="258447"/>
                </a:lnTo>
                <a:cubicBezTo>
                  <a:pt x="222250" y="252322"/>
                  <a:pt x="224429" y="246558"/>
                  <a:pt x="228423" y="241874"/>
                </a:cubicBezTo>
                <a:cubicBezTo>
                  <a:pt x="229875" y="239712"/>
                  <a:pt x="232780" y="239712"/>
                  <a:pt x="234596" y="241153"/>
                </a:cubicBezTo>
                <a:close/>
                <a:moveTo>
                  <a:pt x="11766" y="241153"/>
                </a:moveTo>
                <a:cubicBezTo>
                  <a:pt x="13905" y="242955"/>
                  <a:pt x="14262" y="245477"/>
                  <a:pt x="12479" y="247278"/>
                </a:cubicBezTo>
                <a:cubicBezTo>
                  <a:pt x="9983" y="250521"/>
                  <a:pt x="8557" y="254124"/>
                  <a:pt x="8557" y="258447"/>
                </a:cubicBezTo>
                <a:lnTo>
                  <a:pt x="8557" y="281145"/>
                </a:lnTo>
                <a:lnTo>
                  <a:pt x="57761" y="281145"/>
                </a:lnTo>
                <a:lnTo>
                  <a:pt x="57761" y="258447"/>
                </a:lnTo>
                <a:cubicBezTo>
                  <a:pt x="57761" y="254124"/>
                  <a:pt x="56335" y="250521"/>
                  <a:pt x="53839" y="247278"/>
                </a:cubicBezTo>
                <a:cubicBezTo>
                  <a:pt x="52413" y="245477"/>
                  <a:pt x="52413" y="242955"/>
                  <a:pt x="54552" y="241153"/>
                </a:cubicBezTo>
                <a:cubicBezTo>
                  <a:pt x="56335" y="239712"/>
                  <a:pt x="59188" y="239712"/>
                  <a:pt x="60614" y="241874"/>
                </a:cubicBezTo>
                <a:cubicBezTo>
                  <a:pt x="64179" y="246558"/>
                  <a:pt x="66319" y="252322"/>
                  <a:pt x="66319" y="258447"/>
                </a:cubicBezTo>
                <a:lnTo>
                  <a:pt x="66319" y="285829"/>
                </a:lnTo>
                <a:cubicBezTo>
                  <a:pt x="66319" y="287990"/>
                  <a:pt x="64536" y="290152"/>
                  <a:pt x="62040" y="290152"/>
                </a:cubicBezTo>
                <a:lnTo>
                  <a:pt x="4278" y="290152"/>
                </a:lnTo>
                <a:cubicBezTo>
                  <a:pt x="1783" y="290152"/>
                  <a:pt x="0" y="287990"/>
                  <a:pt x="0" y="285829"/>
                </a:cubicBezTo>
                <a:lnTo>
                  <a:pt x="0" y="258447"/>
                </a:lnTo>
                <a:cubicBezTo>
                  <a:pt x="0" y="252322"/>
                  <a:pt x="2139" y="246558"/>
                  <a:pt x="6061" y="241874"/>
                </a:cubicBezTo>
                <a:cubicBezTo>
                  <a:pt x="7487" y="239712"/>
                  <a:pt x="9983" y="239712"/>
                  <a:pt x="11766" y="241153"/>
                </a:cubicBezTo>
                <a:close/>
                <a:moveTo>
                  <a:pt x="104160" y="237525"/>
                </a:moveTo>
                <a:lnTo>
                  <a:pt x="104160" y="254827"/>
                </a:lnTo>
                <a:lnTo>
                  <a:pt x="186353" y="254827"/>
                </a:lnTo>
                <a:lnTo>
                  <a:pt x="186353" y="237525"/>
                </a:lnTo>
                <a:lnTo>
                  <a:pt x="104160" y="237525"/>
                </a:lnTo>
                <a:close/>
                <a:moveTo>
                  <a:pt x="255588" y="213414"/>
                </a:moveTo>
                <a:cubicBezTo>
                  <a:pt x="249837" y="213414"/>
                  <a:pt x="245165" y="218086"/>
                  <a:pt x="245165" y="223837"/>
                </a:cubicBezTo>
                <a:cubicBezTo>
                  <a:pt x="245165" y="229229"/>
                  <a:pt x="249837" y="233901"/>
                  <a:pt x="255588" y="233901"/>
                </a:cubicBezTo>
                <a:cubicBezTo>
                  <a:pt x="260980" y="233901"/>
                  <a:pt x="265652" y="229229"/>
                  <a:pt x="265652" y="223837"/>
                </a:cubicBezTo>
                <a:cubicBezTo>
                  <a:pt x="265652" y="218086"/>
                  <a:pt x="260980" y="213414"/>
                  <a:pt x="255588" y="213414"/>
                </a:cubicBezTo>
                <a:close/>
                <a:moveTo>
                  <a:pt x="32978" y="213414"/>
                </a:moveTo>
                <a:cubicBezTo>
                  <a:pt x="27587" y="213414"/>
                  <a:pt x="22914" y="218086"/>
                  <a:pt x="22914" y="223837"/>
                </a:cubicBezTo>
                <a:cubicBezTo>
                  <a:pt x="22914" y="229229"/>
                  <a:pt x="27587" y="233901"/>
                  <a:pt x="32978" y="233901"/>
                </a:cubicBezTo>
                <a:cubicBezTo>
                  <a:pt x="38729" y="233901"/>
                  <a:pt x="43402" y="229229"/>
                  <a:pt x="43402" y="223837"/>
                </a:cubicBezTo>
                <a:cubicBezTo>
                  <a:pt x="43402" y="218086"/>
                  <a:pt x="38729" y="213414"/>
                  <a:pt x="32978" y="213414"/>
                </a:cubicBezTo>
                <a:close/>
                <a:moveTo>
                  <a:pt x="255588" y="204787"/>
                </a:moveTo>
                <a:cubicBezTo>
                  <a:pt x="266012" y="204787"/>
                  <a:pt x="274279" y="213414"/>
                  <a:pt x="274279" y="223837"/>
                </a:cubicBezTo>
                <a:cubicBezTo>
                  <a:pt x="274279" y="234261"/>
                  <a:pt x="266012" y="242528"/>
                  <a:pt x="255588" y="242528"/>
                </a:cubicBezTo>
                <a:cubicBezTo>
                  <a:pt x="245165" y="242528"/>
                  <a:pt x="236538" y="234261"/>
                  <a:pt x="236538" y="223837"/>
                </a:cubicBezTo>
                <a:cubicBezTo>
                  <a:pt x="236538" y="213414"/>
                  <a:pt x="245165" y="204787"/>
                  <a:pt x="255588" y="204787"/>
                </a:cubicBezTo>
                <a:close/>
                <a:moveTo>
                  <a:pt x="32978" y="204787"/>
                </a:moveTo>
                <a:cubicBezTo>
                  <a:pt x="43402" y="204787"/>
                  <a:pt x="52028" y="213414"/>
                  <a:pt x="52028" y="223837"/>
                </a:cubicBezTo>
                <a:cubicBezTo>
                  <a:pt x="52028" y="234261"/>
                  <a:pt x="43402" y="242528"/>
                  <a:pt x="32978" y="242528"/>
                </a:cubicBezTo>
                <a:cubicBezTo>
                  <a:pt x="22555" y="242528"/>
                  <a:pt x="14288" y="234261"/>
                  <a:pt x="14288" y="223837"/>
                </a:cubicBezTo>
                <a:cubicBezTo>
                  <a:pt x="14288" y="213414"/>
                  <a:pt x="22555" y="204787"/>
                  <a:pt x="32978" y="204787"/>
                </a:cubicBezTo>
                <a:close/>
                <a:moveTo>
                  <a:pt x="131918" y="190305"/>
                </a:moveTo>
                <a:lnTo>
                  <a:pt x="131918" y="228513"/>
                </a:lnTo>
                <a:lnTo>
                  <a:pt x="158235" y="228513"/>
                </a:lnTo>
                <a:lnTo>
                  <a:pt x="158235" y="190305"/>
                </a:lnTo>
                <a:lnTo>
                  <a:pt x="131918" y="190305"/>
                </a:lnTo>
                <a:close/>
                <a:moveTo>
                  <a:pt x="175538" y="163991"/>
                </a:moveTo>
                <a:cubicBezTo>
                  <a:pt x="171212" y="163991"/>
                  <a:pt x="166886" y="168317"/>
                  <a:pt x="166886" y="172642"/>
                </a:cubicBezTo>
                <a:lnTo>
                  <a:pt x="166886" y="181654"/>
                </a:lnTo>
                <a:lnTo>
                  <a:pt x="175538" y="181654"/>
                </a:lnTo>
                <a:cubicBezTo>
                  <a:pt x="180585" y="181654"/>
                  <a:pt x="184551" y="177689"/>
                  <a:pt x="184551" y="172642"/>
                </a:cubicBezTo>
                <a:cubicBezTo>
                  <a:pt x="184551" y="168317"/>
                  <a:pt x="180585" y="163991"/>
                  <a:pt x="175538" y="163991"/>
                </a:cubicBezTo>
                <a:close/>
                <a:moveTo>
                  <a:pt x="114254" y="163991"/>
                </a:moveTo>
                <a:cubicBezTo>
                  <a:pt x="109568" y="163991"/>
                  <a:pt x="105602" y="168317"/>
                  <a:pt x="105602" y="172642"/>
                </a:cubicBezTo>
                <a:cubicBezTo>
                  <a:pt x="105602" y="177689"/>
                  <a:pt x="109568" y="181654"/>
                  <a:pt x="114254" y="181654"/>
                </a:cubicBezTo>
                <a:lnTo>
                  <a:pt x="123267" y="181654"/>
                </a:lnTo>
                <a:lnTo>
                  <a:pt x="123267" y="172642"/>
                </a:lnTo>
                <a:cubicBezTo>
                  <a:pt x="123267" y="168317"/>
                  <a:pt x="119301" y="163991"/>
                  <a:pt x="114254" y="163991"/>
                </a:cubicBezTo>
                <a:close/>
                <a:moveTo>
                  <a:pt x="17991" y="100012"/>
                </a:moveTo>
                <a:lnTo>
                  <a:pt x="25047" y="125249"/>
                </a:lnTo>
                <a:lnTo>
                  <a:pt x="16580" y="123086"/>
                </a:lnTo>
                <a:cubicBezTo>
                  <a:pt x="12700" y="146160"/>
                  <a:pt x="14816" y="169955"/>
                  <a:pt x="22930" y="191948"/>
                </a:cubicBezTo>
                <a:cubicBezTo>
                  <a:pt x="23636" y="194471"/>
                  <a:pt x="22578" y="196995"/>
                  <a:pt x="20461" y="197716"/>
                </a:cubicBezTo>
                <a:cubicBezTo>
                  <a:pt x="19755" y="198077"/>
                  <a:pt x="19403" y="198077"/>
                  <a:pt x="18697" y="198077"/>
                </a:cubicBezTo>
                <a:cubicBezTo>
                  <a:pt x="17286" y="198077"/>
                  <a:pt x="15522" y="196995"/>
                  <a:pt x="14816" y="195192"/>
                </a:cubicBezTo>
                <a:cubicBezTo>
                  <a:pt x="5997" y="171397"/>
                  <a:pt x="3880" y="145800"/>
                  <a:pt x="8114" y="120923"/>
                </a:cubicBezTo>
                <a:lnTo>
                  <a:pt x="0" y="118399"/>
                </a:lnTo>
                <a:lnTo>
                  <a:pt x="17991" y="100012"/>
                </a:lnTo>
                <a:close/>
                <a:moveTo>
                  <a:pt x="270322" y="95609"/>
                </a:moveTo>
                <a:cubicBezTo>
                  <a:pt x="272469" y="95250"/>
                  <a:pt x="274615" y="95967"/>
                  <a:pt x="275689" y="98476"/>
                </a:cubicBezTo>
                <a:cubicBezTo>
                  <a:pt x="284275" y="123211"/>
                  <a:pt x="285706" y="149020"/>
                  <a:pt x="280339" y="174830"/>
                </a:cubicBezTo>
                <a:lnTo>
                  <a:pt x="288568" y="176980"/>
                </a:lnTo>
                <a:lnTo>
                  <a:pt x="269249" y="194904"/>
                </a:lnTo>
                <a:lnTo>
                  <a:pt x="263525" y="169453"/>
                </a:lnTo>
                <a:lnTo>
                  <a:pt x="271753" y="171962"/>
                </a:lnTo>
                <a:cubicBezTo>
                  <a:pt x="276762" y="148662"/>
                  <a:pt x="275331" y="124286"/>
                  <a:pt x="267460" y="101344"/>
                </a:cubicBezTo>
                <a:cubicBezTo>
                  <a:pt x="266745" y="99193"/>
                  <a:pt x="267818" y="96326"/>
                  <a:pt x="270322" y="95609"/>
                </a:cubicBezTo>
                <a:close/>
                <a:moveTo>
                  <a:pt x="144030" y="85725"/>
                </a:moveTo>
                <a:cubicBezTo>
                  <a:pt x="173615" y="85725"/>
                  <a:pt x="197788" y="107012"/>
                  <a:pt x="202479" y="135875"/>
                </a:cubicBezTo>
                <a:cubicBezTo>
                  <a:pt x="202839" y="138401"/>
                  <a:pt x="201396" y="140205"/>
                  <a:pt x="198871" y="140926"/>
                </a:cubicBezTo>
                <a:cubicBezTo>
                  <a:pt x="198510" y="140926"/>
                  <a:pt x="198149" y="140926"/>
                  <a:pt x="198149" y="140926"/>
                </a:cubicBezTo>
                <a:cubicBezTo>
                  <a:pt x="195984" y="140926"/>
                  <a:pt x="194180" y="139483"/>
                  <a:pt x="193820" y="137319"/>
                </a:cubicBezTo>
                <a:cubicBezTo>
                  <a:pt x="190212" y="112785"/>
                  <a:pt x="168925" y="94745"/>
                  <a:pt x="144030" y="94745"/>
                </a:cubicBezTo>
                <a:cubicBezTo>
                  <a:pt x="141865" y="94745"/>
                  <a:pt x="139700" y="92580"/>
                  <a:pt x="139700" y="90416"/>
                </a:cubicBezTo>
                <a:cubicBezTo>
                  <a:pt x="139700" y="87890"/>
                  <a:pt x="141865" y="85725"/>
                  <a:pt x="144030" y="85725"/>
                </a:cubicBezTo>
                <a:close/>
                <a:moveTo>
                  <a:pt x="144896" y="67388"/>
                </a:moveTo>
                <a:cubicBezTo>
                  <a:pt x="102358" y="67388"/>
                  <a:pt x="67390" y="102353"/>
                  <a:pt x="67390" y="144887"/>
                </a:cubicBezTo>
                <a:cubicBezTo>
                  <a:pt x="67390" y="165433"/>
                  <a:pt x="75681" y="184898"/>
                  <a:pt x="89741" y="199677"/>
                </a:cubicBezTo>
                <a:cubicBezTo>
                  <a:pt x="97672" y="207607"/>
                  <a:pt x="102718" y="217700"/>
                  <a:pt x="103800" y="228513"/>
                </a:cubicBezTo>
                <a:lnTo>
                  <a:pt x="123267" y="228513"/>
                </a:lnTo>
                <a:lnTo>
                  <a:pt x="123267" y="190305"/>
                </a:lnTo>
                <a:lnTo>
                  <a:pt x="114254" y="190305"/>
                </a:lnTo>
                <a:cubicBezTo>
                  <a:pt x="104881" y="190305"/>
                  <a:pt x="96590" y="182375"/>
                  <a:pt x="96590" y="172642"/>
                </a:cubicBezTo>
                <a:cubicBezTo>
                  <a:pt x="96590" y="163270"/>
                  <a:pt x="104881" y="155340"/>
                  <a:pt x="114254" y="155340"/>
                </a:cubicBezTo>
                <a:cubicBezTo>
                  <a:pt x="123988" y="155340"/>
                  <a:pt x="131918" y="163270"/>
                  <a:pt x="131918" y="172642"/>
                </a:cubicBezTo>
                <a:lnTo>
                  <a:pt x="131918" y="181654"/>
                </a:lnTo>
                <a:lnTo>
                  <a:pt x="158235" y="181654"/>
                </a:lnTo>
                <a:lnTo>
                  <a:pt x="158235" y="172642"/>
                </a:lnTo>
                <a:cubicBezTo>
                  <a:pt x="158235" y="163270"/>
                  <a:pt x="166165" y="155340"/>
                  <a:pt x="175538" y="155340"/>
                </a:cubicBezTo>
                <a:cubicBezTo>
                  <a:pt x="185272" y="155340"/>
                  <a:pt x="193202" y="163270"/>
                  <a:pt x="193202" y="172642"/>
                </a:cubicBezTo>
                <a:cubicBezTo>
                  <a:pt x="193202" y="182375"/>
                  <a:pt x="185272" y="190305"/>
                  <a:pt x="175538" y="190305"/>
                </a:cubicBezTo>
                <a:lnTo>
                  <a:pt x="166886" y="190305"/>
                </a:lnTo>
                <a:lnTo>
                  <a:pt x="166886" y="228513"/>
                </a:lnTo>
                <a:lnTo>
                  <a:pt x="187074" y="228513"/>
                </a:lnTo>
                <a:cubicBezTo>
                  <a:pt x="187795" y="217339"/>
                  <a:pt x="192842" y="207246"/>
                  <a:pt x="200412" y="199316"/>
                </a:cubicBezTo>
                <a:cubicBezTo>
                  <a:pt x="214832" y="184537"/>
                  <a:pt x="222402" y="165433"/>
                  <a:pt x="222402" y="144887"/>
                </a:cubicBezTo>
                <a:cubicBezTo>
                  <a:pt x="222402" y="102353"/>
                  <a:pt x="187795" y="67388"/>
                  <a:pt x="144896" y="67388"/>
                </a:cubicBezTo>
                <a:close/>
                <a:moveTo>
                  <a:pt x="144896" y="58737"/>
                </a:moveTo>
                <a:cubicBezTo>
                  <a:pt x="192481" y="58737"/>
                  <a:pt x="231415" y="97306"/>
                  <a:pt x="231415" y="144887"/>
                </a:cubicBezTo>
                <a:cubicBezTo>
                  <a:pt x="231415" y="167596"/>
                  <a:pt x="222763" y="189223"/>
                  <a:pt x="206901" y="205444"/>
                </a:cubicBezTo>
                <a:cubicBezTo>
                  <a:pt x="199331" y="213014"/>
                  <a:pt x="195365" y="223106"/>
                  <a:pt x="195365" y="233920"/>
                </a:cubicBezTo>
                <a:lnTo>
                  <a:pt x="195365" y="254827"/>
                </a:lnTo>
                <a:cubicBezTo>
                  <a:pt x="195365" y="259513"/>
                  <a:pt x="191400" y="263478"/>
                  <a:pt x="186353" y="263478"/>
                </a:cubicBezTo>
                <a:lnTo>
                  <a:pt x="182027" y="263478"/>
                </a:lnTo>
                <a:lnTo>
                  <a:pt x="182027" y="268164"/>
                </a:lnTo>
                <a:cubicBezTo>
                  <a:pt x="182027" y="280059"/>
                  <a:pt x="171933" y="290152"/>
                  <a:pt x="160037" y="290152"/>
                </a:cubicBezTo>
                <a:lnTo>
                  <a:pt x="130837" y="290152"/>
                </a:lnTo>
                <a:cubicBezTo>
                  <a:pt x="118580" y="290152"/>
                  <a:pt x="108847" y="280059"/>
                  <a:pt x="108847" y="268164"/>
                </a:cubicBezTo>
                <a:lnTo>
                  <a:pt x="108847" y="263478"/>
                </a:lnTo>
                <a:lnTo>
                  <a:pt x="104521" y="263478"/>
                </a:lnTo>
                <a:cubicBezTo>
                  <a:pt x="99474" y="263478"/>
                  <a:pt x="95509" y="259513"/>
                  <a:pt x="95509" y="254827"/>
                </a:cubicBezTo>
                <a:lnTo>
                  <a:pt x="95509" y="234641"/>
                </a:lnTo>
                <a:cubicBezTo>
                  <a:pt x="95509" y="223467"/>
                  <a:pt x="91543" y="213374"/>
                  <a:pt x="83973" y="205804"/>
                </a:cubicBezTo>
                <a:cubicBezTo>
                  <a:pt x="67751" y="189584"/>
                  <a:pt x="58738" y="167956"/>
                  <a:pt x="58738" y="144887"/>
                </a:cubicBezTo>
                <a:cubicBezTo>
                  <a:pt x="58738" y="97306"/>
                  <a:pt x="97672" y="58737"/>
                  <a:pt x="144896" y="58737"/>
                </a:cubicBezTo>
                <a:close/>
                <a:moveTo>
                  <a:pt x="234596" y="36726"/>
                </a:moveTo>
                <a:cubicBezTo>
                  <a:pt x="236774" y="38167"/>
                  <a:pt x="236774" y="40689"/>
                  <a:pt x="235322" y="42491"/>
                </a:cubicBezTo>
                <a:cubicBezTo>
                  <a:pt x="232417" y="45733"/>
                  <a:pt x="231328" y="49696"/>
                  <a:pt x="231328" y="53660"/>
                </a:cubicBezTo>
                <a:lnTo>
                  <a:pt x="231328" y="76718"/>
                </a:lnTo>
                <a:lnTo>
                  <a:pt x="281436" y="76718"/>
                </a:lnTo>
                <a:lnTo>
                  <a:pt x="281436" y="53660"/>
                </a:lnTo>
                <a:cubicBezTo>
                  <a:pt x="281436" y="49696"/>
                  <a:pt x="279983" y="45733"/>
                  <a:pt x="277442" y="42491"/>
                </a:cubicBezTo>
                <a:cubicBezTo>
                  <a:pt x="275626" y="40689"/>
                  <a:pt x="275989" y="38167"/>
                  <a:pt x="278168" y="36726"/>
                </a:cubicBezTo>
                <a:cubicBezTo>
                  <a:pt x="279983" y="34925"/>
                  <a:pt x="282525" y="35285"/>
                  <a:pt x="284341" y="37086"/>
                </a:cubicBezTo>
                <a:cubicBezTo>
                  <a:pt x="287972" y="41770"/>
                  <a:pt x="290150" y="47895"/>
                  <a:pt x="290150" y="53660"/>
                </a:cubicBezTo>
                <a:lnTo>
                  <a:pt x="290150" y="81042"/>
                </a:lnTo>
                <a:cubicBezTo>
                  <a:pt x="290150" y="83203"/>
                  <a:pt x="288335" y="85365"/>
                  <a:pt x="285793" y="85365"/>
                </a:cubicBezTo>
                <a:lnTo>
                  <a:pt x="226971" y="85365"/>
                </a:lnTo>
                <a:cubicBezTo>
                  <a:pt x="224429" y="85365"/>
                  <a:pt x="222250" y="83203"/>
                  <a:pt x="222250" y="81042"/>
                </a:cubicBezTo>
                <a:lnTo>
                  <a:pt x="222250" y="53660"/>
                </a:lnTo>
                <a:cubicBezTo>
                  <a:pt x="222250" y="47895"/>
                  <a:pt x="224429" y="41770"/>
                  <a:pt x="228423" y="37086"/>
                </a:cubicBezTo>
                <a:cubicBezTo>
                  <a:pt x="229875" y="35285"/>
                  <a:pt x="232780" y="34925"/>
                  <a:pt x="234596" y="36726"/>
                </a:cubicBezTo>
                <a:close/>
                <a:moveTo>
                  <a:pt x="11766" y="36726"/>
                </a:moveTo>
                <a:cubicBezTo>
                  <a:pt x="13905" y="38167"/>
                  <a:pt x="14262" y="40689"/>
                  <a:pt x="12479" y="42491"/>
                </a:cubicBezTo>
                <a:cubicBezTo>
                  <a:pt x="9983" y="45733"/>
                  <a:pt x="8557" y="49696"/>
                  <a:pt x="8557" y="53660"/>
                </a:cubicBezTo>
                <a:lnTo>
                  <a:pt x="8557" y="76718"/>
                </a:lnTo>
                <a:lnTo>
                  <a:pt x="57761" y="76718"/>
                </a:lnTo>
                <a:lnTo>
                  <a:pt x="57761" y="53660"/>
                </a:lnTo>
                <a:cubicBezTo>
                  <a:pt x="57761" y="49696"/>
                  <a:pt x="56335" y="45733"/>
                  <a:pt x="53839" y="42491"/>
                </a:cubicBezTo>
                <a:cubicBezTo>
                  <a:pt x="52413" y="40689"/>
                  <a:pt x="52413" y="38167"/>
                  <a:pt x="54552" y="36726"/>
                </a:cubicBezTo>
                <a:cubicBezTo>
                  <a:pt x="56335" y="34925"/>
                  <a:pt x="59188" y="35285"/>
                  <a:pt x="60614" y="37086"/>
                </a:cubicBezTo>
                <a:cubicBezTo>
                  <a:pt x="64179" y="41770"/>
                  <a:pt x="66319" y="47895"/>
                  <a:pt x="66319" y="53660"/>
                </a:cubicBezTo>
                <a:lnTo>
                  <a:pt x="66319" y="81042"/>
                </a:lnTo>
                <a:cubicBezTo>
                  <a:pt x="66319" y="83203"/>
                  <a:pt x="64536" y="85365"/>
                  <a:pt x="62040" y="85365"/>
                </a:cubicBezTo>
                <a:lnTo>
                  <a:pt x="4278" y="85365"/>
                </a:lnTo>
                <a:cubicBezTo>
                  <a:pt x="1783" y="85365"/>
                  <a:pt x="0" y="83203"/>
                  <a:pt x="0" y="81042"/>
                </a:cubicBezTo>
                <a:lnTo>
                  <a:pt x="0" y="53660"/>
                </a:lnTo>
                <a:cubicBezTo>
                  <a:pt x="0" y="47895"/>
                  <a:pt x="2139" y="41770"/>
                  <a:pt x="6061" y="37086"/>
                </a:cubicBezTo>
                <a:cubicBezTo>
                  <a:pt x="7487" y="35285"/>
                  <a:pt x="9983" y="34925"/>
                  <a:pt x="11766" y="36726"/>
                </a:cubicBezTo>
                <a:close/>
                <a:moveTo>
                  <a:pt x="255588" y="8902"/>
                </a:moveTo>
                <a:cubicBezTo>
                  <a:pt x="249837" y="8902"/>
                  <a:pt x="245165" y="13531"/>
                  <a:pt x="245165" y="18872"/>
                </a:cubicBezTo>
                <a:cubicBezTo>
                  <a:pt x="245165" y="24569"/>
                  <a:pt x="249837" y="29198"/>
                  <a:pt x="255588" y="29198"/>
                </a:cubicBezTo>
                <a:cubicBezTo>
                  <a:pt x="260980" y="29198"/>
                  <a:pt x="265652" y="24569"/>
                  <a:pt x="265652" y="18872"/>
                </a:cubicBezTo>
                <a:cubicBezTo>
                  <a:pt x="265652" y="13531"/>
                  <a:pt x="260980" y="8902"/>
                  <a:pt x="255588" y="8902"/>
                </a:cubicBezTo>
                <a:close/>
                <a:moveTo>
                  <a:pt x="32978" y="8902"/>
                </a:moveTo>
                <a:cubicBezTo>
                  <a:pt x="27587" y="8902"/>
                  <a:pt x="22914" y="13531"/>
                  <a:pt x="22914" y="18872"/>
                </a:cubicBezTo>
                <a:cubicBezTo>
                  <a:pt x="22914" y="24569"/>
                  <a:pt x="27587" y="29198"/>
                  <a:pt x="32978" y="29198"/>
                </a:cubicBezTo>
                <a:cubicBezTo>
                  <a:pt x="38729" y="29198"/>
                  <a:pt x="43402" y="24569"/>
                  <a:pt x="43402" y="18872"/>
                </a:cubicBezTo>
                <a:cubicBezTo>
                  <a:pt x="43402" y="13531"/>
                  <a:pt x="38729" y="8902"/>
                  <a:pt x="32978" y="8902"/>
                </a:cubicBezTo>
                <a:close/>
                <a:moveTo>
                  <a:pt x="133521" y="6815"/>
                </a:moveTo>
                <a:cubicBezTo>
                  <a:pt x="154896" y="5078"/>
                  <a:pt x="176676" y="8197"/>
                  <a:pt x="197102" y="16393"/>
                </a:cubicBezTo>
                <a:lnTo>
                  <a:pt x="201078" y="8553"/>
                </a:lnTo>
                <a:lnTo>
                  <a:pt x="215539" y="30292"/>
                </a:lnTo>
                <a:lnTo>
                  <a:pt x="189149" y="31717"/>
                </a:lnTo>
                <a:lnTo>
                  <a:pt x="193487" y="23877"/>
                </a:lnTo>
                <a:cubicBezTo>
                  <a:pt x="155167" y="9266"/>
                  <a:pt x="112147" y="12829"/>
                  <a:pt x="77080" y="33856"/>
                </a:cubicBezTo>
                <a:cubicBezTo>
                  <a:pt x="76357" y="34212"/>
                  <a:pt x="75634" y="34568"/>
                  <a:pt x="74911" y="34568"/>
                </a:cubicBezTo>
                <a:cubicBezTo>
                  <a:pt x="73465" y="34568"/>
                  <a:pt x="72019" y="33856"/>
                  <a:pt x="70935" y="32430"/>
                </a:cubicBezTo>
                <a:cubicBezTo>
                  <a:pt x="69850" y="30292"/>
                  <a:pt x="70212" y="27441"/>
                  <a:pt x="72381" y="26372"/>
                </a:cubicBezTo>
                <a:cubicBezTo>
                  <a:pt x="91179" y="15146"/>
                  <a:pt x="112147" y="8553"/>
                  <a:pt x="133521" y="6815"/>
                </a:cubicBezTo>
                <a:close/>
                <a:moveTo>
                  <a:pt x="255588" y="0"/>
                </a:moveTo>
                <a:cubicBezTo>
                  <a:pt x="266012" y="0"/>
                  <a:pt x="274279" y="8546"/>
                  <a:pt x="274279" y="18872"/>
                </a:cubicBezTo>
                <a:cubicBezTo>
                  <a:pt x="274279" y="29198"/>
                  <a:pt x="266012" y="37744"/>
                  <a:pt x="255588" y="37744"/>
                </a:cubicBezTo>
                <a:cubicBezTo>
                  <a:pt x="245165" y="37744"/>
                  <a:pt x="236538" y="29198"/>
                  <a:pt x="236538" y="18872"/>
                </a:cubicBezTo>
                <a:cubicBezTo>
                  <a:pt x="236538" y="8546"/>
                  <a:pt x="245165" y="0"/>
                  <a:pt x="255588" y="0"/>
                </a:cubicBezTo>
                <a:close/>
                <a:moveTo>
                  <a:pt x="32978" y="0"/>
                </a:moveTo>
                <a:cubicBezTo>
                  <a:pt x="43402" y="0"/>
                  <a:pt x="52028" y="8546"/>
                  <a:pt x="52028" y="18872"/>
                </a:cubicBezTo>
                <a:cubicBezTo>
                  <a:pt x="52028" y="29198"/>
                  <a:pt x="43402" y="37744"/>
                  <a:pt x="32978" y="37744"/>
                </a:cubicBezTo>
                <a:cubicBezTo>
                  <a:pt x="22555" y="37744"/>
                  <a:pt x="14288" y="29198"/>
                  <a:pt x="14288" y="18872"/>
                </a:cubicBezTo>
                <a:cubicBezTo>
                  <a:pt x="14288" y="8546"/>
                  <a:pt x="22555" y="0"/>
                  <a:pt x="32978" y="0"/>
                </a:cubicBezTo>
                <a:close/>
              </a:path>
            </a:pathLst>
          </a:custGeom>
          <a:solidFill>
            <a:schemeClr val="bg1"/>
          </a:solidFill>
          <a:ln>
            <a:noFill/>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Lato Light" panose="020F0502020204030203" pitchFamily="34" charset="0"/>
              <a:ea typeface="+mn-ea"/>
              <a:cs typeface="+mn-cs"/>
            </a:endParaRPr>
          </a:p>
        </p:txBody>
      </p:sp>
      <p:sp>
        <p:nvSpPr>
          <p:cNvPr id="33" name="Freeform 1031">
            <a:extLst>
              <a:ext uri="{FF2B5EF4-FFF2-40B4-BE49-F238E27FC236}">
                <a16:creationId xmlns:a16="http://schemas.microsoft.com/office/drawing/2014/main" id="{3B3DF43B-B699-FA42-B171-FBC838C61FD7}"/>
              </a:ext>
            </a:extLst>
          </p:cNvPr>
          <p:cNvSpPr>
            <a:spLocks noChangeAspect="1" noChangeArrowheads="1"/>
          </p:cNvSpPr>
          <p:nvPr/>
        </p:nvSpPr>
        <p:spPr bwMode="auto">
          <a:xfrm>
            <a:off x="1320563" y="838977"/>
            <a:ext cx="531813" cy="532607"/>
          </a:xfrm>
          <a:custGeom>
            <a:avLst/>
            <a:gdLst>
              <a:gd name="T0" fmla="*/ 68774937 w 293328"/>
              <a:gd name="T1" fmla="*/ 119643747 h 293328"/>
              <a:gd name="T2" fmla="*/ 77985361 w 293328"/>
              <a:gd name="T3" fmla="*/ 119643747 h 293328"/>
              <a:gd name="T4" fmla="*/ 79828350 w 293328"/>
              <a:gd name="T5" fmla="*/ 88042880 h 293328"/>
              <a:gd name="T6" fmla="*/ 81670393 w 293328"/>
              <a:gd name="T7" fmla="*/ 119643747 h 293328"/>
              <a:gd name="T8" fmla="*/ 90880933 w 293328"/>
              <a:gd name="T9" fmla="*/ 119643747 h 293328"/>
              <a:gd name="T10" fmla="*/ 68774937 w 293328"/>
              <a:gd name="T11" fmla="*/ 83169438 h 293328"/>
              <a:gd name="T12" fmla="*/ 81769808 w 293328"/>
              <a:gd name="T13" fmla="*/ 72036662 h 293328"/>
              <a:gd name="T14" fmla="*/ 77869883 w 293328"/>
              <a:gd name="T15" fmla="*/ 72036662 h 293328"/>
              <a:gd name="T16" fmla="*/ 79820244 w 293328"/>
              <a:gd name="T17" fmla="*/ 61024530 h 293328"/>
              <a:gd name="T18" fmla="*/ 79820244 w 293328"/>
              <a:gd name="T19" fmla="*/ 65025693 h 293328"/>
              <a:gd name="T20" fmla="*/ 79820244 w 293328"/>
              <a:gd name="T21" fmla="*/ 61024530 h 293328"/>
              <a:gd name="T22" fmla="*/ 81769808 w 293328"/>
              <a:gd name="T23" fmla="*/ 53313538 h 293328"/>
              <a:gd name="T24" fmla="*/ 77869883 w 293328"/>
              <a:gd name="T25" fmla="*/ 53313538 h 293328"/>
              <a:gd name="T26" fmla="*/ 41142411 w 293328"/>
              <a:gd name="T27" fmla="*/ 25155529 h 293328"/>
              <a:gd name="T28" fmla="*/ 65551253 w 293328"/>
              <a:gd name="T29" fmla="*/ 55026678 h 293328"/>
              <a:gd name="T30" fmla="*/ 68774937 w 293328"/>
              <a:gd name="T31" fmla="*/ 79238482 h 293328"/>
              <a:gd name="T32" fmla="*/ 90880933 w 293328"/>
              <a:gd name="T33" fmla="*/ 56284742 h 293328"/>
              <a:gd name="T34" fmla="*/ 94719662 w 293328"/>
              <a:gd name="T35" fmla="*/ 56284742 h 293328"/>
              <a:gd name="T36" fmla="*/ 97943104 w 293328"/>
              <a:gd name="T37" fmla="*/ 84898726 h 293328"/>
              <a:gd name="T38" fmla="*/ 101166843 w 293328"/>
              <a:gd name="T39" fmla="*/ 54555247 h 293328"/>
              <a:gd name="T40" fmla="*/ 71077972 w 293328"/>
              <a:gd name="T41" fmla="*/ 46065160 h 293328"/>
              <a:gd name="T42" fmla="*/ 45594413 w 293328"/>
              <a:gd name="T43" fmla="*/ 25155529 h 293328"/>
              <a:gd name="T44" fmla="*/ 79900704 w 293328"/>
              <a:gd name="T45" fmla="*/ 19856664 h 293328"/>
              <a:gd name="T46" fmla="*/ 79900704 w 293328"/>
              <a:gd name="T47" fmla="*/ 34077248 h 293328"/>
              <a:gd name="T48" fmla="*/ 79900704 w 293328"/>
              <a:gd name="T49" fmla="*/ 19856664 h 293328"/>
              <a:gd name="T50" fmla="*/ 90582629 w 293328"/>
              <a:gd name="T51" fmla="*/ 26889373 h 293328"/>
              <a:gd name="T52" fmla="*/ 69066944 w 293328"/>
              <a:gd name="T53" fmla="*/ 26889373 h 293328"/>
              <a:gd name="T54" fmla="*/ 1841582 w 293328"/>
              <a:gd name="T55" fmla="*/ 0 h 293328"/>
              <a:gd name="T56" fmla="*/ 125114871 w 293328"/>
              <a:gd name="T57" fmla="*/ 2044476 h 293328"/>
              <a:gd name="T58" fmla="*/ 117592766 w 293328"/>
              <a:gd name="T59" fmla="*/ 3930422 h 293328"/>
              <a:gd name="T60" fmla="*/ 115597421 w 293328"/>
              <a:gd name="T61" fmla="*/ 73735681 h 293328"/>
              <a:gd name="T62" fmla="*/ 105004974 w 293328"/>
              <a:gd name="T63" fmla="*/ 81754117 h 293328"/>
              <a:gd name="T64" fmla="*/ 94719662 w 293328"/>
              <a:gd name="T65" fmla="*/ 88042880 h 293328"/>
              <a:gd name="T66" fmla="*/ 86275502 w 293328"/>
              <a:gd name="T67" fmla="*/ 128133161 h 293328"/>
              <a:gd name="T68" fmla="*/ 73380249 w 293328"/>
              <a:gd name="T69" fmla="*/ 128133161 h 293328"/>
              <a:gd name="T70" fmla="*/ 64937487 w 293328"/>
              <a:gd name="T71" fmla="*/ 62730148 h 293328"/>
              <a:gd name="T72" fmla="*/ 38379011 w 293328"/>
              <a:gd name="T73" fmla="*/ 32544374 h 293328"/>
              <a:gd name="T74" fmla="*/ 48357047 w 293328"/>
              <a:gd name="T75" fmla="*/ 22325141 h 293328"/>
              <a:gd name="T76" fmla="*/ 71077972 w 293328"/>
              <a:gd name="T77" fmla="*/ 42134862 h 293328"/>
              <a:gd name="T78" fmla="*/ 105004974 w 293328"/>
              <a:gd name="T79" fmla="*/ 54555247 h 293328"/>
              <a:gd name="T80" fmla="*/ 113755352 w 293328"/>
              <a:gd name="T81" fmla="*/ 69962757 h 293328"/>
              <a:gd name="T82" fmla="*/ 11360453 w 293328"/>
              <a:gd name="T83" fmla="*/ 3930422 h 293328"/>
              <a:gd name="T84" fmla="*/ 59103376 w 293328"/>
              <a:gd name="T85" fmla="*/ 69962757 h 293328"/>
              <a:gd name="T86" fmla="*/ 59103376 w 293328"/>
              <a:gd name="T87" fmla="*/ 73735681 h 293328"/>
              <a:gd name="T88" fmla="*/ 7522971 w 293328"/>
              <a:gd name="T89" fmla="*/ 71849273 h 293328"/>
              <a:gd name="T90" fmla="*/ 1841582 w 293328"/>
              <a:gd name="T91" fmla="*/ 3930422 h 293328"/>
              <a:gd name="T92" fmla="*/ 1841582 w 293328"/>
              <a:gd name="T93" fmla="*/ 0 h 29332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93328" h="293328">
                <a:moveTo>
                  <a:pt x="161240" y="190394"/>
                </a:moveTo>
                <a:lnTo>
                  <a:pt x="161240" y="273893"/>
                </a:lnTo>
                <a:cubicBezTo>
                  <a:pt x="161240" y="279652"/>
                  <a:pt x="165919" y="284690"/>
                  <a:pt x="172038" y="284690"/>
                </a:cubicBezTo>
                <a:cubicBezTo>
                  <a:pt x="177796" y="284690"/>
                  <a:pt x="182835" y="279652"/>
                  <a:pt x="182835" y="273893"/>
                </a:cubicBezTo>
                <a:lnTo>
                  <a:pt x="182835" y="205870"/>
                </a:lnTo>
                <a:cubicBezTo>
                  <a:pt x="182835" y="203350"/>
                  <a:pt x="184635" y="201551"/>
                  <a:pt x="187154" y="201551"/>
                </a:cubicBezTo>
                <a:cubicBezTo>
                  <a:pt x="189674" y="201551"/>
                  <a:pt x="191473" y="203350"/>
                  <a:pt x="191473" y="205870"/>
                </a:cubicBezTo>
                <a:lnTo>
                  <a:pt x="191473" y="273893"/>
                </a:lnTo>
                <a:cubicBezTo>
                  <a:pt x="191473" y="279652"/>
                  <a:pt x="196512" y="284690"/>
                  <a:pt x="202270" y="284690"/>
                </a:cubicBezTo>
                <a:cubicBezTo>
                  <a:pt x="208389" y="284690"/>
                  <a:pt x="213068" y="279652"/>
                  <a:pt x="213068" y="273893"/>
                </a:cubicBezTo>
                <a:lnTo>
                  <a:pt x="213068" y="190394"/>
                </a:lnTo>
                <a:lnTo>
                  <a:pt x="161240" y="190394"/>
                </a:lnTo>
                <a:close/>
                <a:moveTo>
                  <a:pt x="187135" y="160338"/>
                </a:moveTo>
                <a:cubicBezTo>
                  <a:pt x="189802" y="160338"/>
                  <a:pt x="191707" y="162624"/>
                  <a:pt x="191707" y="164910"/>
                </a:cubicBezTo>
                <a:cubicBezTo>
                  <a:pt x="191707" y="167577"/>
                  <a:pt x="189802" y="169482"/>
                  <a:pt x="187135" y="169482"/>
                </a:cubicBezTo>
                <a:cubicBezTo>
                  <a:pt x="184468" y="169482"/>
                  <a:pt x="182563" y="167577"/>
                  <a:pt x="182563" y="164910"/>
                </a:cubicBezTo>
                <a:cubicBezTo>
                  <a:pt x="182563" y="162243"/>
                  <a:pt x="184468" y="160338"/>
                  <a:pt x="187135" y="160338"/>
                </a:cubicBezTo>
                <a:close/>
                <a:moveTo>
                  <a:pt x="187135" y="139700"/>
                </a:moveTo>
                <a:cubicBezTo>
                  <a:pt x="189802" y="139700"/>
                  <a:pt x="191707" y="141532"/>
                  <a:pt x="191707" y="144096"/>
                </a:cubicBezTo>
                <a:cubicBezTo>
                  <a:pt x="191707" y="146661"/>
                  <a:pt x="189802" y="148859"/>
                  <a:pt x="187135" y="148859"/>
                </a:cubicBezTo>
                <a:cubicBezTo>
                  <a:pt x="184468" y="148859"/>
                  <a:pt x="182563" y="146661"/>
                  <a:pt x="182563" y="144096"/>
                </a:cubicBezTo>
                <a:cubicBezTo>
                  <a:pt x="182563" y="141532"/>
                  <a:pt x="184468" y="139700"/>
                  <a:pt x="187135" y="139700"/>
                </a:cubicBezTo>
                <a:close/>
                <a:moveTo>
                  <a:pt x="187135" y="117475"/>
                </a:moveTo>
                <a:cubicBezTo>
                  <a:pt x="189802" y="117475"/>
                  <a:pt x="191707" y="119761"/>
                  <a:pt x="191707" y="122047"/>
                </a:cubicBezTo>
                <a:cubicBezTo>
                  <a:pt x="191707" y="124714"/>
                  <a:pt x="189802" y="126619"/>
                  <a:pt x="187135" y="126619"/>
                </a:cubicBezTo>
                <a:cubicBezTo>
                  <a:pt x="184468" y="126619"/>
                  <a:pt x="182563" y="124714"/>
                  <a:pt x="182563" y="122047"/>
                </a:cubicBezTo>
                <a:cubicBezTo>
                  <a:pt x="182563" y="119761"/>
                  <a:pt x="184468" y="117475"/>
                  <a:pt x="187135" y="117475"/>
                </a:cubicBezTo>
                <a:close/>
                <a:moveTo>
                  <a:pt x="96456" y="57586"/>
                </a:moveTo>
                <a:cubicBezTo>
                  <a:pt x="93577" y="60465"/>
                  <a:pt x="93577" y="65144"/>
                  <a:pt x="96456" y="68023"/>
                </a:cubicBezTo>
                <a:lnTo>
                  <a:pt x="153682" y="125969"/>
                </a:lnTo>
                <a:cubicBezTo>
                  <a:pt x="158361" y="130648"/>
                  <a:pt x="161240" y="136767"/>
                  <a:pt x="161240" y="143605"/>
                </a:cubicBezTo>
                <a:lnTo>
                  <a:pt x="161240" y="181396"/>
                </a:lnTo>
                <a:lnTo>
                  <a:pt x="213068" y="181396"/>
                </a:lnTo>
                <a:lnTo>
                  <a:pt x="213068" y="128849"/>
                </a:lnTo>
                <a:cubicBezTo>
                  <a:pt x="213068" y="126329"/>
                  <a:pt x="215227" y="124530"/>
                  <a:pt x="217387" y="124530"/>
                </a:cubicBezTo>
                <a:cubicBezTo>
                  <a:pt x="219906" y="124530"/>
                  <a:pt x="222066" y="126329"/>
                  <a:pt x="222066" y="128849"/>
                </a:cubicBezTo>
                <a:lnTo>
                  <a:pt x="222066" y="187154"/>
                </a:lnTo>
                <a:cubicBezTo>
                  <a:pt x="222066" y="191113"/>
                  <a:pt x="225305" y="194353"/>
                  <a:pt x="229624" y="194353"/>
                </a:cubicBezTo>
                <a:cubicBezTo>
                  <a:pt x="233943" y="194353"/>
                  <a:pt x="237182" y="191113"/>
                  <a:pt x="237182" y="187154"/>
                </a:cubicBezTo>
                <a:lnTo>
                  <a:pt x="237182" y="124890"/>
                </a:lnTo>
                <a:cubicBezTo>
                  <a:pt x="237182" y="114092"/>
                  <a:pt x="228184" y="105454"/>
                  <a:pt x="217387" y="105454"/>
                </a:cubicBezTo>
                <a:lnTo>
                  <a:pt x="166639" y="105454"/>
                </a:lnTo>
                <a:cubicBezTo>
                  <a:pt x="159081" y="105454"/>
                  <a:pt x="151883" y="102575"/>
                  <a:pt x="146124" y="96816"/>
                </a:cubicBezTo>
                <a:lnTo>
                  <a:pt x="106894" y="57586"/>
                </a:lnTo>
                <a:cubicBezTo>
                  <a:pt x="104014" y="54706"/>
                  <a:pt x="98976" y="54706"/>
                  <a:pt x="96456" y="57586"/>
                </a:cubicBezTo>
                <a:close/>
                <a:moveTo>
                  <a:pt x="187325" y="45456"/>
                </a:moveTo>
                <a:cubicBezTo>
                  <a:pt x="178381" y="45456"/>
                  <a:pt x="170869" y="52611"/>
                  <a:pt x="170869" y="61555"/>
                </a:cubicBezTo>
                <a:cubicBezTo>
                  <a:pt x="170869" y="70856"/>
                  <a:pt x="178381" y="78011"/>
                  <a:pt x="187325" y="78011"/>
                </a:cubicBezTo>
                <a:cubicBezTo>
                  <a:pt x="196269" y="78011"/>
                  <a:pt x="203781" y="70856"/>
                  <a:pt x="203781" y="61555"/>
                </a:cubicBezTo>
                <a:cubicBezTo>
                  <a:pt x="203781" y="52611"/>
                  <a:pt x="196269" y="45456"/>
                  <a:pt x="187325" y="45456"/>
                </a:cubicBezTo>
                <a:close/>
                <a:moveTo>
                  <a:pt x="187325" y="36513"/>
                </a:moveTo>
                <a:cubicBezTo>
                  <a:pt x="201277" y="36513"/>
                  <a:pt x="212367" y="47961"/>
                  <a:pt x="212367" y="61555"/>
                </a:cubicBezTo>
                <a:cubicBezTo>
                  <a:pt x="212367" y="75507"/>
                  <a:pt x="201277" y="86955"/>
                  <a:pt x="187325" y="86955"/>
                </a:cubicBezTo>
                <a:cubicBezTo>
                  <a:pt x="173373" y="86955"/>
                  <a:pt x="161925" y="75507"/>
                  <a:pt x="161925" y="61555"/>
                </a:cubicBezTo>
                <a:cubicBezTo>
                  <a:pt x="161925" y="47961"/>
                  <a:pt x="173373" y="36513"/>
                  <a:pt x="187325" y="36513"/>
                </a:cubicBezTo>
                <a:close/>
                <a:moveTo>
                  <a:pt x="4319" y="0"/>
                </a:moveTo>
                <a:lnTo>
                  <a:pt x="289009" y="0"/>
                </a:lnTo>
                <a:cubicBezTo>
                  <a:pt x="291529" y="0"/>
                  <a:pt x="293328" y="1799"/>
                  <a:pt x="293328" y="4679"/>
                </a:cubicBezTo>
                <a:cubicBezTo>
                  <a:pt x="293328" y="6838"/>
                  <a:pt x="291529" y="8998"/>
                  <a:pt x="289009" y="8998"/>
                </a:cubicBezTo>
                <a:lnTo>
                  <a:pt x="275692" y="8998"/>
                </a:lnTo>
                <a:lnTo>
                  <a:pt x="275692" y="164480"/>
                </a:lnTo>
                <a:cubicBezTo>
                  <a:pt x="275692" y="166999"/>
                  <a:pt x="273893" y="168799"/>
                  <a:pt x="271014" y="168799"/>
                </a:cubicBezTo>
                <a:lnTo>
                  <a:pt x="246180" y="168799"/>
                </a:lnTo>
                <a:lnTo>
                  <a:pt x="246180" y="187154"/>
                </a:lnTo>
                <a:cubicBezTo>
                  <a:pt x="246180" y="196152"/>
                  <a:pt x="238622" y="203710"/>
                  <a:pt x="229624" y="203710"/>
                </a:cubicBezTo>
                <a:cubicBezTo>
                  <a:pt x="226744" y="203710"/>
                  <a:pt x="224225" y="202631"/>
                  <a:pt x="222066" y="201551"/>
                </a:cubicBezTo>
                <a:lnTo>
                  <a:pt x="222066" y="273893"/>
                </a:lnTo>
                <a:cubicBezTo>
                  <a:pt x="222066" y="284690"/>
                  <a:pt x="213068" y="293328"/>
                  <a:pt x="202270" y="293328"/>
                </a:cubicBezTo>
                <a:cubicBezTo>
                  <a:pt x="196152" y="293328"/>
                  <a:pt x="190753" y="290449"/>
                  <a:pt x="187154" y="286130"/>
                </a:cubicBezTo>
                <a:cubicBezTo>
                  <a:pt x="183555" y="290449"/>
                  <a:pt x="178156" y="293328"/>
                  <a:pt x="172038" y="293328"/>
                </a:cubicBezTo>
                <a:cubicBezTo>
                  <a:pt x="161240" y="293328"/>
                  <a:pt x="152243" y="284690"/>
                  <a:pt x="152243" y="273893"/>
                </a:cubicBezTo>
                <a:lnTo>
                  <a:pt x="152243" y="143605"/>
                </a:lnTo>
                <a:cubicBezTo>
                  <a:pt x="152243" y="139286"/>
                  <a:pt x="150443" y="135327"/>
                  <a:pt x="147204" y="132088"/>
                </a:cubicBezTo>
                <a:lnTo>
                  <a:pt x="89978" y="74501"/>
                </a:lnTo>
                <a:cubicBezTo>
                  <a:pt x="83859" y="68023"/>
                  <a:pt x="83859" y="57586"/>
                  <a:pt x="89978" y="51107"/>
                </a:cubicBezTo>
                <a:cubicBezTo>
                  <a:pt x="96456" y="44989"/>
                  <a:pt x="106894" y="44989"/>
                  <a:pt x="113372" y="51107"/>
                </a:cubicBezTo>
                <a:lnTo>
                  <a:pt x="152603" y="90698"/>
                </a:lnTo>
                <a:cubicBezTo>
                  <a:pt x="156562" y="94297"/>
                  <a:pt x="161600" y="96456"/>
                  <a:pt x="166639" y="96456"/>
                </a:cubicBezTo>
                <a:lnTo>
                  <a:pt x="217387" y="96456"/>
                </a:lnTo>
                <a:cubicBezTo>
                  <a:pt x="233223" y="96456"/>
                  <a:pt x="246180" y="109053"/>
                  <a:pt x="246180" y="124890"/>
                </a:cubicBezTo>
                <a:lnTo>
                  <a:pt x="246180" y="160161"/>
                </a:lnTo>
                <a:lnTo>
                  <a:pt x="266695" y="160161"/>
                </a:lnTo>
                <a:lnTo>
                  <a:pt x="266695" y="8998"/>
                </a:lnTo>
                <a:lnTo>
                  <a:pt x="26633" y="8998"/>
                </a:lnTo>
                <a:lnTo>
                  <a:pt x="26633" y="160161"/>
                </a:lnTo>
                <a:lnTo>
                  <a:pt x="138566" y="160161"/>
                </a:lnTo>
                <a:cubicBezTo>
                  <a:pt x="141085" y="160161"/>
                  <a:pt x="143245" y="161961"/>
                  <a:pt x="143245" y="164480"/>
                </a:cubicBezTo>
                <a:cubicBezTo>
                  <a:pt x="143245" y="166999"/>
                  <a:pt x="141085" y="168799"/>
                  <a:pt x="138566" y="168799"/>
                </a:cubicBezTo>
                <a:lnTo>
                  <a:pt x="22314" y="168799"/>
                </a:lnTo>
                <a:cubicBezTo>
                  <a:pt x="19795" y="168799"/>
                  <a:pt x="17636" y="166999"/>
                  <a:pt x="17636" y="164480"/>
                </a:cubicBezTo>
                <a:lnTo>
                  <a:pt x="17636" y="8998"/>
                </a:lnTo>
                <a:lnTo>
                  <a:pt x="4319" y="8998"/>
                </a:lnTo>
                <a:cubicBezTo>
                  <a:pt x="1799" y="8998"/>
                  <a:pt x="0" y="6838"/>
                  <a:pt x="0" y="4679"/>
                </a:cubicBezTo>
                <a:cubicBezTo>
                  <a:pt x="0" y="1799"/>
                  <a:pt x="1799" y="0"/>
                  <a:pt x="4319" y="0"/>
                </a:cubicBezTo>
                <a:close/>
              </a:path>
            </a:pathLst>
          </a:custGeom>
          <a:solidFill>
            <a:schemeClr val="bg1"/>
          </a:solidFill>
          <a:ln>
            <a:noFill/>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Lato Light" panose="020F0502020204030203" pitchFamily="34" charset="0"/>
              <a:ea typeface="+mn-ea"/>
              <a:cs typeface="+mn-cs"/>
            </a:endParaRPr>
          </a:p>
        </p:txBody>
      </p:sp>
      <p:sp>
        <p:nvSpPr>
          <p:cNvPr id="8" name="Femkant 7"/>
          <p:cNvSpPr/>
          <p:nvPr/>
        </p:nvSpPr>
        <p:spPr>
          <a:xfrm>
            <a:off x="64360" y="4404261"/>
            <a:ext cx="2686156" cy="636550"/>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Poppins"/>
                <a:ea typeface="+mn-ea"/>
                <a:cs typeface="+mn-cs"/>
              </a:rPr>
              <a:t>Basiskurs i prosjektstrukturer og datainnsamlingsark </a:t>
            </a:r>
          </a:p>
        </p:txBody>
      </p:sp>
      <p:sp>
        <p:nvSpPr>
          <p:cNvPr id="35" name="Femkant 34"/>
          <p:cNvSpPr/>
          <p:nvPr/>
        </p:nvSpPr>
        <p:spPr>
          <a:xfrm>
            <a:off x="7823730" y="5570767"/>
            <a:ext cx="4382470" cy="557350"/>
          </a:xfrm>
          <a:prstGeom prst="homePlate">
            <a:avLst/>
          </a:prstGeom>
          <a:gradFill flip="none" rotWithShape="1">
            <a:gsLst>
              <a:gs pos="30000">
                <a:schemeClr val="accent4"/>
              </a:gs>
              <a:gs pos="67000">
                <a:srgbClr val="5B9BD5"/>
              </a:gs>
              <a:gs pos="83000">
                <a:schemeClr val="accent1">
                  <a:lumMod val="45000"/>
                  <a:lumOff val="55000"/>
                </a:schemeClr>
              </a:gs>
              <a:gs pos="100000">
                <a:schemeClr val="accent1">
                  <a:lumMod val="30000"/>
                  <a:lumOff val="70000"/>
                </a:schemeClr>
              </a:gs>
            </a:gsLst>
            <a:lin ang="27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prstClr val="white"/>
                </a:solidFill>
                <a:effectLst/>
                <a:uLnTx/>
                <a:uFillTx/>
                <a:latin typeface="Poppins"/>
                <a:ea typeface="+mn-ea"/>
                <a:cs typeface="+mn-cs"/>
              </a:rPr>
              <a:t>Ferdigstille årsbudsjett</a:t>
            </a:r>
          </a:p>
        </p:txBody>
      </p:sp>
      <p:sp>
        <p:nvSpPr>
          <p:cNvPr id="10" name="Pil høyre 9"/>
          <p:cNvSpPr/>
          <p:nvPr/>
        </p:nvSpPr>
        <p:spPr>
          <a:xfrm>
            <a:off x="64360" y="6185458"/>
            <a:ext cx="12141840" cy="529763"/>
          </a:xfrm>
          <a:prstGeom prst="rightArrow">
            <a:avLst>
              <a:gd name="adj1" fmla="val 100000"/>
              <a:gd name="adj2" fmla="val 53783"/>
            </a:avLst>
          </a:prstGeom>
          <a:solidFill>
            <a:schemeClr val="bg2"/>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prstClr val="white"/>
              </a:solidFill>
              <a:effectLst/>
              <a:uLnTx/>
              <a:uFillTx/>
              <a:latin typeface="Poppins"/>
              <a:ea typeface="+mn-ea"/>
              <a:cs typeface="+mn-cs"/>
            </a:endParaRPr>
          </a:p>
        </p:txBody>
      </p:sp>
      <p:sp>
        <p:nvSpPr>
          <p:cNvPr id="13" name="TekstSylinder 12"/>
          <p:cNvSpPr txBox="1"/>
          <p:nvPr/>
        </p:nvSpPr>
        <p:spPr>
          <a:xfrm>
            <a:off x="-3671" y="6314683"/>
            <a:ext cx="87611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a:ln>
                  <a:noFill/>
                </a:ln>
                <a:solidFill>
                  <a:prstClr val="black"/>
                </a:solidFill>
                <a:effectLst/>
                <a:uLnTx/>
                <a:uFillTx/>
                <a:latin typeface="Calibri" panose="020F0502020204030204"/>
                <a:ea typeface="+mn-ea"/>
                <a:cs typeface="+mn-cs"/>
              </a:rPr>
              <a:t>21. juni</a:t>
            </a:r>
          </a:p>
        </p:txBody>
      </p:sp>
      <p:sp>
        <p:nvSpPr>
          <p:cNvPr id="36" name="TekstSylinder 35"/>
          <p:cNvSpPr txBox="1"/>
          <p:nvPr/>
        </p:nvSpPr>
        <p:spPr>
          <a:xfrm>
            <a:off x="2179781" y="6314684"/>
            <a:ext cx="87611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a:ln>
                  <a:noFill/>
                </a:ln>
                <a:solidFill>
                  <a:prstClr val="black"/>
                </a:solidFill>
                <a:effectLst/>
                <a:uLnTx/>
                <a:uFillTx/>
                <a:latin typeface="Calibri" panose="020F0502020204030204"/>
                <a:ea typeface="+mn-ea"/>
                <a:cs typeface="+mn-cs"/>
              </a:rPr>
              <a:t>28. juni</a:t>
            </a:r>
          </a:p>
        </p:txBody>
      </p:sp>
      <p:sp>
        <p:nvSpPr>
          <p:cNvPr id="37" name="TekstSylinder 36"/>
          <p:cNvSpPr txBox="1"/>
          <p:nvPr/>
        </p:nvSpPr>
        <p:spPr>
          <a:xfrm>
            <a:off x="4299583" y="6295936"/>
            <a:ext cx="87611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a:ln>
                  <a:noFill/>
                </a:ln>
                <a:solidFill>
                  <a:prstClr val="black"/>
                </a:solidFill>
                <a:effectLst/>
                <a:uLnTx/>
                <a:uFillTx/>
                <a:latin typeface="Calibri" panose="020F0502020204030204"/>
                <a:ea typeface="+mn-ea"/>
                <a:cs typeface="+mn-cs"/>
              </a:rPr>
              <a:t>3. </a:t>
            </a:r>
            <a:r>
              <a:rPr kumimoji="0" lang="nb-NO" sz="1200" b="0" i="0" u="none" strike="noStrike" kern="1200" cap="none" spc="0" normalizeH="0" baseline="0" noProof="0" dirty="0" err="1">
                <a:ln>
                  <a:noFill/>
                </a:ln>
                <a:solidFill>
                  <a:prstClr val="black"/>
                </a:solidFill>
                <a:effectLst/>
                <a:uLnTx/>
                <a:uFillTx/>
                <a:latin typeface="Calibri" panose="020F0502020204030204"/>
                <a:ea typeface="+mn-ea"/>
                <a:cs typeface="+mn-cs"/>
              </a:rPr>
              <a:t>sep</a:t>
            </a:r>
            <a:endParaRPr kumimoji="0" lang="nb-NO"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TekstSylinder 37"/>
          <p:cNvSpPr txBox="1"/>
          <p:nvPr/>
        </p:nvSpPr>
        <p:spPr>
          <a:xfrm>
            <a:off x="4730502" y="6302984"/>
            <a:ext cx="71108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prstClr val="black"/>
                </a:solidFill>
                <a:latin typeface="Calibri" panose="020F0502020204030204"/>
              </a:rPr>
              <a:t>1</a:t>
            </a:r>
            <a:r>
              <a:rPr kumimoji="0" lang="nb-NO" sz="1200" b="0" i="0" u="none" strike="noStrike" kern="1200" cap="none" spc="0" normalizeH="0" baseline="0" noProof="0" dirty="0">
                <a:ln>
                  <a:noFill/>
                </a:ln>
                <a:solidFill>
                  <a:prstClr val="black"/>
                </a:solidFill>
                <a:effectLst/>
                <a:uLnTx/>
                <a:uFillTx/>
                <a:latin typeface="Calibri" panose="020F0502020204030204"/>
                <a:ea typeface="+mn-ea"/>
                <a:cs typeface="+mn-cs"/>
              </a:rPr>
              <a:t>0. </a:t>
            </a:r>
            <a:r>
              <a:rPr kumimoji="0" lang="nb-NO" sz="1200" b="0" i="0" u="none" strike="noStrike" kern="1200" cap="none" spc="0" normalizeH="0" baseline="0" noProof="0" dirty="0" err="1">
                <a:ln>
                  <a:noFill/>
                </a:ln>
                <a:solidFill>
                  <a:prstClr val="black"/>
                </a:solidFill>
                <a:effectLst/>
                <a:uLnTx/>
                <a:uFillTx/>
                <a:latin typeface="Calibri" panose="020F0502020204030204"/>
                <a:ea typeface="+mn-ea"/>
                <a:cs typeface="+mn-cs"/>
              </a:rPr>
              <a:t>sep</a:t>
            </a:r>
            <a:endParaRPr kumimoji="0" lang="nb-NO"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TekstSylinder 38"/>
          <p:cNvSpPr txBox="1"/>
          <p:nvPr/>
        </p:nvSpPr>
        <p:spPr>
          <a:xfrm>
            <a:off x="6546024" y="6306365"/>
            <a:ext cx="87611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a:ln>
                  <a:noFill/>
                </a:ln>
                <a:solidFill>
                  <a:prstClr val="black"/>
                </a:solidFill>
                <a:effectLst/>
                <a:uLnTx/>
                <a:uFillTx/>
                <a:latin typeface="Calibri" panose="020F0502020204030204"/>
                <a:ea typeface="+mn-ea"/>
                <a:cs typeface="+mn-cs"/>
              </a:rPr>
              <a:t>20. </a:t>
            </a:r>
            <a:r>
              <a:rPr kumimoji="0" lang="nb-NO" sz="1200" b="0" i="0" u="none" strike="noStrike" kern="1200" cap="none" spc="0" normalizeH="0" baseline="0" noProof="0" dirty="0" err="1">
                <a:ln>
                  <a:noFill/>
                </a:ln>
                <a:solidFill>
                  <a:prstClr val="black"/>
                </a:solidFill>
                <a:effectLst/>
                <a:uLnTx/>
                <a:uFillTx/>
                <a:latin typeface="Calibri" panose="020F0502020204030204"/>
                <a:ea typeface="+mn-ea"/>
                <a:cs typeface="+mn-cs"/>
              </a:rPr>
              <a:t>okt</a:t>
            </a:r>
            <a:endParaRPr kumimoji="0" lang="nb-NO"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TekstSylinder 39"/>
          <p:cNvSpPr txBox="1"/>
          <p:nvPr/>
        </p:nvSpPr>
        <p:spPr>
          <a:xfrm>
            <a:off x="8255360" y="6232450"/>
            <a:ext cx="148410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a:ln>
                  <a:noFill/>
                </a:ln>
                <a:solidFill>
                  <a:prstClr val="black"/>
                </a:solidFill>
                <a:effectLst/>
                <a:uLnTx/>
                <a:uFillTx/>
                <a:latin typeface="Calibri" panose="020F0502020204030204"/>
                <a:ea typeface="+mn-ea"/>
                <a:cs typeface="+mn-cs"/>
              </a:rPr>
              <a:t>Budsjettfrist blir bestemt senere</a:t>
            </a:r>
          </a:p>
        </p:txBody>
      </p:sp>
      <p:sp>
        <p:nvSpPr>
          <p:cNvPr id="41" name="TekstSylinder 40"/>
          <p:cNvSpPr txBox="1"/>
          <p:nvPr/>
        </p:nvSpPr>
        <p:spPr>
          <a:xfrm>
            <a:off x="10221452" y="6306363"/>
            <a:ext cx="87611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a:ln>
                  <a:noFill/>
                </a:ln>
                <a:solidFill>
                  <a:prstClr val="black"/>
                </a:solidFill>
                <a:effectLst/>
                <a:uLnTx/>
                <a:uFillTx/>
                <a:latin typeface="Calibri" panose="020F0502020204030204"/>
                <a:ea typeface="+mn-ea"/>
                <a:cs typeface="+mn-cs"/>
              </a:rPr>
              <a:t>1. jan</a:t>
            </a:r>
          </a:p>
        </p:txBody>
      </p:sp>
      <p:sp>
        <p:nvSpPr>
          <p:cNvPr id="42" name="TextBox 17">
            <a:extLst>
              <a:ext uri="{FF2B5EF4-FFF2-40B4-BE49-F238E27FC236}">
                <a16:creationId xmlns:a16="http://schemas.microsoft.com/office/drawing/2014/main" id="{219185C5-7AA2-2F42-85D4-57CDBC84DE12}"/>
              </a:ext>
            </a:extLst>
          </p:cNvPr>
          <p:cNvSpPr txBox="1"/>
          <p:nvPr/>
        </p:nvSpPr>
        <p:spPr>
          <a:xfrm>
            <a:off x="832244" y="2901881"/>
            <a:ext cx="1592103" cy="1084912"/>
          </a:xfrm>
          <a:prstGeom prst="rect">
            <a:avLst/>
          </a:prstGeom>
          <a:noFill/>
        </p:spPr>
        <p:txBody>
          <a:bodyPr wrap="non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Milepæl</a:t>
            </a:r>
            <a:r>
              <a:rPr kumimoji="0" lang="en-US" sz="1800" b="1"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Frist: 28.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Basiskurs</a:t>
            </a:r>
            <a:r>
              <a:rPr kumimoji="0" lang="en-US" sz="105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a:t>
            </a:r>
            <a:r>
              <a:rPr kumimoji="0" lang="en-US" sz="1050" b="0"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ferdig</a:t>
            </a:r>
            <a:r>
              <a:rPr kumimoji="0" lang="en-US" sz="105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a:t>
            </a:r>
            <a:r>
              <a:rPr kumimoji="0" lang="en-US" sz="1050" b="0"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avholdt</a:t>
            </a:r>
            <a:endParaRPr kumimoji="0" lang="en-US" sz="105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a:t>
            </a:r>
          </a:p>
        </p:txBody>
      </p:sp>
      <p:sp>
        <p:nvSpPr>
          <p:cNvPr id="43" name="TextBox 18">
            <a:extLst>
              <a:ext uri="{FF2B5EF4-FFF2-40B4-BE49-F238E27FC236}">
                <a16:creationId xmlns:a16="http://schemas.microsoft.com/office/drawing/2014/main" id="{0B64F306-65E4-CD4C-9FDB-544083200ED5}"/>
              </a:ext>
            </a:extLst>
          </p:cNvPr>
          <p:cNvSpPr txBox="1"/>
          <p:nvPr/>
        </p:nvSpPr>
        <p:spPr>
          <a:xfrm>
            <a:off x="2792907" y="2888193"/>
            <a:ext cx="1766829" cy="1277273"/>
          </a:xfrm>
          <a:prstGeom prst="rect">
            <a:avLst/>
          </a:prstGeom>
          <a:noFill/>
        </p:spPr>
        <p:txBody>
          <a:bodyPr wrap="non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Milepæl</a:t>
            </a:r>
            <a:r>
              <a:rPr kumimoji="0" lang="en-US" sz="1800" b="1"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Frister</a:t>
            </a:r>
            <a:r>
              <a:rPr kumimoji="0" lang="en-US" sz="1200" b="1"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BFV: 3.9 </a:t>
            </a:r>
            <a:r>
              <a:rPr lang="en-US" sz="1200" b="1" dirty="0">
                <a:solidFill>
                  <a:srgbClr val="44546A"/>
                </a:solidFill>
                <a:latin typeface="Poppins" pitchFamily="2" charset="77"/>
                <a:ea typeface="League Spartan" charset="0"/>
                <a:cs typeface="Poppins" pitchFamily="2" charset="77"/>
              </a:rPr>
              <a:t>BOA:10.9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Kvalitetssikring</a:t>
            </a:r>
            <a:r>
              <a:rPr kumimoji="0" lang="en-US" sz="105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a:t>
            </a:r>
            <a:r>
              <a:rPr kumimoji="0" lang="en-US" sz="1050" b="0"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av</a:t>
            </a:r>
            <a:r>
              <a:rPr kumimoji="0" lang="en-US" sz="105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a:t>
            </a:r>
            <a:r>
              <a:rPr kumimoji="0" lang="en-US" sz="1050" b="0"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oppsett</a:t>
            </a:r>
            <a:r>
              <a:rPr kumimoji="0" lang="en-US" sz="105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a:t>
            </a:r>
            <a:br>
              <a:rPr kumimoji="0" lang="en-US" sz="105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br>
            <a:r>
              <a:rPr kumimoji="0" lang="en-US" sz="1050" b="0"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av</a:t>
            </a:r>
            <a:r>
              <a:rPr kumimoji="0" lang="en-US" sz="105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a:t>
            </a:r>
            <a:r>
              <a:rPr kumimoji="0" lang="en-US" sz="1050" b="0"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prosjektstruktur</a:t>
            </a:r>
            <a:r>
              <a:rPr kumimoji="0" lang="en-US" sz="105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for </a:t>
            </a:r>
            <a:br>
              <a:rPr kumimoji="0" lang="en-US" sz="105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br>
            <a:r>
              <a:rPr kumimoji="0" lang="en-US" sz="105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BFV og BOA </a:t>
            </a:r>
            <a:r>
              <a:rPr kumimoji="0" lang="en-US" sz="1050" b="0"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er</a:t>
            </a:r>
            <a:r>
              <a:rPr kumimoji="0" lang="en-US" sz="105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a:t>
            </a:r>
            <a:r>
              <a:rPr kumimoji="0" lang="en-US" sz="1050" b="0"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ferdig</a:t>
            </a:r>
            <a:r>
              <a:rPr kumimoji="0" lang="en-US" sz="140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a:t>
            </a:r>
          </a:p>
        </p:txBody>
      </p:sp>
      <p:cxnSp>
        <p:nvCxnSpPr>
          <p:cNvPr id="51" name="Rett linje 50"/>
          <p:cNvCxnSpPr/>
          <p:nvPr/>
        </p:nvCxnSpPr>
        <p:spPr>
          <a:xfrm>
            <a:off x="6947864" y="1358060"/>
            <a:ext cx="161" cy="540933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31" name="Femkant 30"/>
          <p:cNvSpPr/>
          <p:nvPr/>
        </p:nvSpPr>
        <p:spPr>
          <a:xfrm>
            <a:off x="277977" y="5083675"/>
            <a:ext cx="4384659" cy="529957"/>
          </a:xfrm>
          <a:prstGeom prst="homePlat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a:ln>
                  <a:noFill/>
                </a:ln>
                <a:solidFill>
                  <a:prstClr val="white"/>
                </a:solidFill>
                <a:effectLst/>
                <a:uLnTx/>
                <a:uFillTx/>
                <a:latin typeface="Poppins"/>
                <a:ea typeface="+mn-ea"/>
                <a:cs typeface="+mn-cs"/>
              </a:rPr>
              <a:t>Fakultet/institutt bestemmer prosjektstrukturer for BFV og BOA. Samtidig fortsetter arbeidet med datainnsamlingsarket</a:t>
            </a:r>
          </a:p>
        </p:txBody>
      </p:sp>
      <p:sp>
        <p:nvSpPr>
          <p:cNvPr id="34" name="Femkant 33"/>
          <p:cNvSpPr/>
          <p:nvPr/>
        </p:nvSpPr>
        <p:spPr>
          <a:xfrm>
            <a:off x="277977" y="5649111"/>
            <a:ext cx="6637366" cy="497328"/>
          </a:xfrm>
          <a:prstGeom prst="homePlat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Poppins"/>
                <a:ea typeface="+mn-ea"/>
                <a:cs typeface="+mn-cs"/>
              </a:rPr>
              <a:t>Fakultet/institutt jobber med å konvertere eksisterende prosjekter og legger inn i datainnsamlingsarket</a:t>
            </a:r>
          </a:p>
        </p:txBody>
      </p:sp>
      <p:sp>
        <p:nvSpPr>
          <p:cNvPr id="59" name="TekstSylinder 58"/>
          <p:cNvSpPr txBox="1"/>
          <p:nvPr/>
        </p:nvSpPr>
        <p:spPr>
          <a:xfrm>
            <a:off x="59795" y="4002055"/>
            <a:ext cx="219757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dirty="0">
                <a:ln>
                  <a:noFill/>
                </a:ln>
                <a:solidFill>
                  <a:prstClr val="black">
                    <a:lumMod val="65000"/>
                    <a:lumOff val="35000"/>
                  </a:prstClr>
                </a:solidFill>
                <a:effectLst/>
                <a:uLnTx/>
                <a:uFillTx/>
                <a:latin typeface="Poppins"/>
                <a:ea typeface="+mn-ea"/>
                <a:cs typeface="+mn-cs"/>
              </a:rPr>
              <a:t>TIDSLINJE</a:t>
            </a:r>
            <a:r>
              <a:rPr kumimoji="0" lang="nb-NO" sz="1800" b="0" i="0" u="none" strike="noStrike" kern="1200" cap="none" spc="0" normalizeH="0" baseline="0" noProof="0" dirty="0">
                <a:ln>
                  <a:noFill/>
                </a:ln>
                <a:solidFill>
                  <a:prstClr val="black">
                    <a:lumMod val="65000"/>
                    <a:lumOff val="35000"/>
                  </a:prstClr>
                </a:solidFill>
                <a:effectLst/>
                <a:uLnTx/>
                <a:uFillTx/>
                <a:latin typeface="Poppins"/>
                <a:ea typeface="+mn-ea"/>
                <a:cs typeface="+mn-cs"/>
              </a:rPr>
              <a:t>:</a:t>
            </a:r>
          </a:p>
        </p:txBody>
      </p:sp>
      <p:sp>
        <p:nvSpPr>
          <p:cNvPr id="61" name="TextBox 20">
            <a:extLst>
              <a:ext uri="{FF2B5EF4-FFF2-40B4-BE49-F238E27FC236}">
                <a16:creationId xmlns:a16="http://schemas.microsoft.com/office/drawing/2014/main" id="{DA2B861B-385A-B74B-A10D-E9FECEF727ED}"/>
              </a:ext>
            </a:extLst>
          </p:cNvPr>
          <p:cNvSpPr txBox="1"/>
          <p:nvPr/>
        </p:nvSpPr>
        <p:spPr>
          <a:xfrm>
            <a:off x="10109742" y="2970417"/>
            <a:ext cx="833883" cy="646331"/>
          </a:xfrm>
          <a:prstGeom prst="rect">
            <a:avLst/>
          </a:prstGeom>
          <a:noFill/>
        </p:spPr>
        <p:txBody>
          <a:bodyPr wrap="non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DRIF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1. jan</a:t>
            </a:r>
          </a:p>
        </p:txBody>
      </p:sp>
      <p:sp>
        <p:nvSpPr>
          <p:cNvPr id="44" name="TekstSylinder 43"/>
          <p:cNvSpPr txBox="1"/>
          <p:nvPr/>
        </p:nvSpPr>
        <p:spPr>
          <a:xfrm>
            <a:off x="5621228" y="6296974"/>
            <a:ext cx="71108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noProof="0" dirty="0">
                <a:solidFill>
                  <a:prstClr val="black"/>
                </a:solidFill>
                <a:latin typeface="Calibri" panose="020F0502020204030204"/>
              </a:rPr>
              <a:t>4</a:t>
            </a:r>
            <a:r>
              <a:rPr kumimoji="0" lang="nb-NO" sz="1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nb-NO" sz="1200" b="0" i="0" u="none" strike="noStrike" kern="1200" cap="none" spc="0" normalizeH="0" baseline="0" noProof="0" dirty="0" err="1">
                <a:ln>
                  <a:noFill/>
                </a:ln>
                <a:solidFill>
                  <a:prstClr val="black"/>
                </a:solidFill>
                <a:effectLst/>
                <a:uLnTx/>
                <a:uFillTx/>
                <a:latin typeface="Calibri" panose="020F0502020204030204"/>
                <a:ea typeface="+mn-ea"/>
                <a:cs typeface="+mn-cs"/>
              </a:rPr>
              <a:t>okt</a:t>
            </a:r>
            <a:endParaRPr kumimoji="0" lang="nb-NO"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30776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3">
            <a:extLst>
              <a:ext uri="{FF2B5EF4-FFF2-40B4-BE49-F238E27FC236}">
                <a16:creationId xmlns:a16="http://schemas.microsoft.com/office/drawing/2014/main" id="{B7DC162C-03A8-4FDE-BD21-5D03E61C308A}"/>
              </a:ext>
            </a:extLst>
          </p:cNvPr>
          <p:cNvPicPr>
            <a:picLocks noChangeAspect="1"/>
          </p:cNvPicPr>
          <p:nvPr/>
        </p:nvPicPr>
        <p:blipFill rotWithShape="1">
          <a:blip r:embed="rId6"/>
          <a:srcRect r="23522"/>
          <a:stretch/>
        </p:blipFill>
        <p:spPr>
          <a:xfrm rot="5400000">
            <a:off x="3203814" y="-3233170"/>
            <a:ext cx="791377" cy="7199002"/>
          </a:xfrm>
          <a:prstGeom prst="rect">
            <a:avLst/>
          </a:prstGeom>
        </p:spPr>
      </p:pic>
      <p:graphicFrame>
        <p:nvGraphicFramePr>
          <p:cNvPr id="91" name="Object 90" hidden="1">
            <a:extLst>
              <a:ext uri="{FF2B5EF4-FFF2-40B4-BE49-F238E27FC236}">
                <a16:creationId xmlns:a16="http://schemas.microsoft.com/office/drawing/2014/main" id="{523924EF-6901-46E3-A852-C9609C985CE0}"/>
              </a:ext>
            </a:extLst>
          </p:cNvPr>
          <p:cNvGraphicFramePr>
            <a:graphicFrameLocks noChangeAspect="1"/>
          </p:cNvGraphicFramePr>
          <p:nvPr>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7" imgW="473" imgH="473" progId="TCLayout.ActiveDocument.1">
                  <p:embed/>
                </p:oleObj>
              </mc:Choice>
              <mc:Fallback>
                <p:oleObj name="think-cell Slide" r:id="rId7" imgW="473" imgH="473" progId="TCLayout.ActiveDocument.1">
                  <p:embed/>
                  <p:pic>
                    <p:nvPicPr>
                      <p:cNvPr id="91" name="Object 90" hidden="1">
                        <a:extLst>
                          <a:ext uri="{FF2B5EF4-FFF2-40B4-BE49-F238E27FC236}">
                            <a16:creationId xmlns:a16="http://schemas.microsoft.com/office/drawing/2014/main" id="{523924EF-6901-46E3-A852-C9609C985CE0}"/>
                          </a:ext>
                        </a:extLst>
                      </p:cNvPr>
                      <p:cNvPicPr/>
                      <p:nvPr/>
                    </p:nvPicPr>
                    <p:blipFill>
                      <a:blip r:embed="rId8"/>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2419E6-8EDA-40C9-B4A5-9B8FD471B5A8}"/>
              </a:ext>
            </a:extLst>
          </p:cNvPr>
          <p:cNvSpPr/>
          <p:nvPr>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28" name="Rektangel 27">
            <a:extLst>
              <a:ext uri="{FF2B5EF4-FFF2-40B4-BE49-F238E27FC236}">
                <a16:creationId xmlns:a16="http://schemas.microsoft.com/office/drawing/2014/main" id="{1B73FFB3-1691-49FF-B309-E67BFDC227E2}"/>
              </a:ext>
            </a:extLst>
          </p:cNvPr>
          <p:cNvSpPr/>
          <p:nvPr/>
        </p:nvSpPr>
        <p:spPr>
          <a:xfrm>
            <a:off x="9464862" y="42989"/>
            <a:ext cx="2381328" cy="96103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Tittel 1">
            <a:extLst>
              <a:ext uri="{FF2B5EF4-FFF2-40B4-BE49-F238E27FC236}">
                <a16:creationId xmlns:a16="http://schemas.microsoft.com/office/drawing/2014/main" id="{A614AD0E-9C0A-4DA7-8460-1D959D407DE6}"/>
              </a:ext>
            </a:extLst>
          </p:cNvPr>
          <p:cNvSpPr txBox="1">
            <a:spLocks/>
          </p:cNvSpPr>
          <p:nvPr/>
        </p:nvSpPr>
        <p:spPr>
          <a:xfrm>
            <a:off x="40348" y="-844"/>
            <a:ext cx="7158655" cy="7728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b-NO" sz="2800" b="1">
                <a:solidFill>
                  <a:schemeClr val="bg1"/>
                </a:solidFill>
              </a:rPr>
              <a:t>Aktiviteter enheter relatert til datainnsamling BFV</a:t>
            </a:r>
          </a:p>
        </p:txBody>
      </p:sp>
      <p:graphicFrame>
        <p:nvGraphicFramePr>
          <p:cNvPr id="2" name="Table 2">
            <a:extLst>
              <a:ext uri="{FF2B5EF4-FFF2-40B4-BE49-F238E27FC236}">
                <a16:creationId xmlns:a16="http://schemas.microsoft.com/office/drawing/2014/main" id="{46903557-1162-49A8-8012-46CA3634D180}"/>
              </a:ext>
            </a:extLst>
          </p:cNvPr>
          <p:cNvGraphicFramePr>
            <a:graphicFrameLocks noGrp="1"/>
          </p:cNvGraphicFramePr>
          <p:nvPr>
            <p:extLst>
              <p:ext uri="{D42A27DB-BD31-4B8C-83A1-F6EECF244321}">
                <p14:modId xmlns:p14="http://schemas.microsoft.com/office/powerpoint/2010/main" val="4007472029"/>
              </p:ext>
            </p:extLst>
          </p:nvPr>
        </p:nvGraphicFramePr>
        <p:xfrm>
          <a:off x="0" y="2061449"/>
          <a:ext cx="12047458" cy="3640299"/>
        </p:xfrm>
        <a:graphic>
          <a:graphicData uri="http://schemas.openxmlformats.org/drawingml/2006/table">
            <a:tbl>
              <a:tblPr firstRow="1" bandRow="1">
                <a:tableStyleId>{2D5ABB26-0587-4C30-8999-92F81FD0307C}</a:tableStyleId>
              </a:tblPr>
              <a:tblGrid>
                <a:gridCol w="1112363">
                  <a:extLst>
                    <a:ext uri="{9D8B030D-6E8A-4147-A177-3AD203B41FA5}">
                      <a16:colId xmlns:a16="http://schemas.microsoft.com/office/drawing/2014/main" val="2149771528"/>
                    </a:ext>
                  </a:extLst>
                </a:gridCol>
                <a:gridCol w="2187019">
                  <a:extLst>
                    <a:ext uri="{9D8B030D-6E8A-4147-A177-3AD203B41FA5}">
                      <a16:colId xmlns:a16="http://schemas.microsoft.com/office/drawing/2014/main" val="3718653296"/>
                    </a:ext>
                  </a:extLst>
                </a:gridCol>
                <a:gridCol w="2187019">
                  <a:extLst>
                    <a:ext uri="{9D8B030D-6E8A-4147-A177-3AD203B41FA5}">
                      <a16:colId xmlns:a16="http://schemas.microsoft.com/office/drawing/2014/main" val="521958144"/>
                    </a:ext>
                  </a:extLst>
                </a:gridCol>
                <a:gridCol w="2187019">
                  <a:extLst>
                    <a:ext uri="{9D8B030D-6E8A-4147-A177-3AD203B41FA5}">
                      <a16:colId xmlns:a16="http://schemas.microsoft.com/office/drawing/2014/main" val="1132455760"/>
                    </a:ext>
                  </a:extLst>
                </a:gridCol>
                <a:gridCol w="2187019">
                  <a:extLst>
                    <a:ext uri="{9D8B030D-6E8A-4147-A177-3AD203B41FA5}">
                      <a16:colId xmlns:a16="http://schemas.microsoft.com/office/drawing/2014/main" val="178821685"/>
                    </a:ext>
                  </a:extLst>
                </a:gridCol>
                <a:gridCol w="2187019">
                  <a:extLst>
                    <a:ext uri="{9D8B030D-6E8A-4147-A177-3AD203B41FA5}">
                      <a16:colId xmlns:a16="http://schemas.microsoft.com/office/drawing/2014/main" val="1133238447"/>
                    </a:ext>
                  </a:extLst>
                </a:gridCol>
              </a:tblGrid>
              <a:tr h="370840">
                <a:tc>
                  <a:txBody>
                    <a:bodyPr/>
                    <a:lstStyle/>
                    <a:p>
                      <a:endParaRPr lang="nb-NO" sz="1400">
                        <a:solidFill>
                          <a:schemeClr val="bg1">
                            <a:lumMod val="65000"/>
                          </a:schemeClr>
                        </a:solidFill>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r>
                        <a:rPr lang="nb-NO" sz="1400">
                          <a:solidFill>
                            <a:schemeClr val="bg1">
                              <a:lumMod val="65000"/>
                            </a:schemeClr>
                          </a:solidFill>
                        </a:rPr>
                        <a:t>Uke 25-33</a:t>
                      </a: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r>
                        <a:rPr lang="nb-NO" sz="1400" b="1"/>
                        <a:t>Uke 3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r>
                        <a:rPr lang="nb-NO" sz="1400"/>
                        <a:t>Uke 33-3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r>
                        <a:rPr lang="nb-NO" sz="1400"/>
                        <a:t>Uke 35-39</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r>
                        <a:rPr lang="nb-NO" sz="1400"/>
                        <a:t>Uke 4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624390063"/>
                  </a:ext>
                </a:extLst>
              </a:tr>
              <a:tr h="787989">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b-NO" sz="140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nb-NO" sz="140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nb-NO" sz="140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nb-NO" sz="140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sz="1400">
                          <a:solidFill>
                            <a:schemeClr val="tx1"/>
                          </a:solidFill>
                        </a:rPr>
                        <a:t>Aktiviteter</a:t>
                      </a:r>
                    </a:p>
                  </a:txBody>
                  <a:tcPr>
                    <a:lnR w="12700" cap="flat" cmpd="sng" algn="ctr">
                      <a:solidFill>
                        <a:schemeClr val="tx1"/>
                      </a:solidFill>
                      <a:prstDash val="solid"/>
                      <a:round/>
                      <a:headEnd type="none" w="med" len="med"/>
                      <a:tailEnd type="none" w="med" len="med"/>
                    </a:lnR>
                    <a:lnT>
                      <a:noFill/>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400">
                          <a:solidFill>
                            <a:schemeClr val="bg1">
                              <a:lumMod val="65000"/>
                            </a:schemeClr>
                          </a:solidFill>
                        </a:rPr>
                        <a:t>Delta på basisku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400" b="0"/>
                        <a:t>Superbrukere deltar på kurs i datainnsamlingsar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tcPr>
                </a:tc>
                <a:tc>
                  <a:txBody>
                    <a:bodyPr/>
                    <a:lstStyle/>
                    <a:p>
                      <a:r>
                        <a:rPr lang="nb-NO" sz="1400"/>
                        <a:t>Enhetene fyller ut datainnsamlingsar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400"/>
                        <a:t>Enhetene fyller ut datainnsamlingsarke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tcPr>
                </a:tc>
                <a:tc>
                  <a:txBody>
                    <a:bodyPr/>
                    <a:lstStyle/>
                    <a:p>
                      <a:r>
                        <a:rPr lang="nb-NO" sz="1400"/>
                        <a:t>Konverteringsressurser tilgjengelig for avklaring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tcPr>
                </a:tc>
                <a:extLst>
                  <a:ext uri="{0D108BD9-81ED-4DB2-BD59-A6C34878D82A}">
                    <a16:rowId xmlns:a16="http://schemas.microsoft.com/office/drawing/2014/main" val="1949771206"/>
                  </a:ext>
                </a:extLst>
              </a:tr>
              <a:tr h="80507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b-NO" sz="1400">
                        <a:solidFill>
                          <a:schemeClr val="bg1">
                            <a:lumMod val="65000"/>
                          </a:schemeClr>
                        </a:solidFill>
                      </a:endParaRPr>
                    </a:p>
                  </a:txBody>
                  <a:tcPr>
                    <a:lnR w="12700" cap="flat" cmpd="sng" algn="ctr">
                      <a:solidFill>
                        <a:schemeClr val="tx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400">
                          <a:solidFill>
                            <a:schemeClr val="bg1">
                              <a:lumMod val="65000"/>
                            </a:schemeClr>
                          </a:solidFill>
                        </a:rPr>
                        <a:t>Motta aktive prosjekter og analyseverdi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nb-NO" sz="1400" b="0"/>
                        <a:t>Motta bestilling og veiledn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nb-NO" sz="1400"/>
                        <a:t>Superbruker støtter enheten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nb-NO" sz="1400"/>
                        <a:t>Superbruker støtter enheten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nb-NO"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170169560"/>
                  </a:ext>
                </a:extLst>
              </a:tr>
              <a:tr h="37084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b-NO" sz="1400">
                        <a:solidFill>
                          <a:schemeClr val="bg1">
                            <a:lumMod val="65000"/>
                          </a:schemeClr>
                        </a:solidFill>
                      </a:endParaRPr>
                    </a:p>
                  </a:txBody>
                  <a:tcPr>
                    <a:lnR w="12700" cap="flat" cmpd="sng" algn="ctr">
                      <a:solidFill>
                        <a:schemeClr val="tx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400">
                          <a:solidFill>
                            <a:schemeClr val="bg1">
                              <a:lumMod val="65000"/>
                            </a:schemeClr>
                          </a:solidFill>
                        </a:rPr>
                        <a:t>Vurdere struktur ved egen enhe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r>
                        <a:rPr lang="nb-NO" sz="1400" b="0"/>
                        <a:t>Tilgang til datainnsamlingsar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r>
                        <a:rPr lang="nb-NO" sz="1400"/>
                        <a:t>Superbruker deltar i superbrukerforu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400"/>
                        <a:t>Superbruker deltar i superbrukerforu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endParaRPr lang="nb-NO"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5137630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400">
                          <a:solidFill>
                            <a:schemeClr val="tx1"/>
                          </a:solidFill>
                        </a:rPr>
                        <a:t>Leveranser</a:t>
                      </a:r>
                    </a:p>
                  </a:txBody>
                  <a:tcPr>
                    <a:lnR w="12700" cap="flat" cmpd="sng" algn="ctr">
                      <a:solidFill>
                        <a:schemeClr val="tx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b-NO" sz="1400">
                        <a:solidFill>
                          <a:schemeClr val="bg1">
                            <a:lumMod val="6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endParaRPr lang="nb-NO" sz="1400" b="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400" b="1"/>
                        <a:t>Delleveranse 03.09</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400"/>
                        <a:t>Innlevering utvalg BFV-prosjekter fra fakultet/F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400" b="1"/>
                        <a:t>Hovedleveranse 04.10</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400"/>
                        <a:t>Innlevering endelig datainnsamlingsark BFV fra fakultet/FA</a:t>
                      </a:r>
                    </a:p>
                    <a:p>
                      <a:endParaRPr lang="nb-NO"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endParaRPr lang="nb-NO"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530159898"/>
                  </a:ext>
                </a:extLst>
              </a:tr>
            </a:tbl>
          </a:graphicData>
        </a:graphic>
      </p:graphicFrame>
      <p:sp>
        <p:nvSpPr>
          <p:cNvPr id="3" name="Rectangle 2">
            <a:extLst>
              <a:ext uri="{FF2B5EF4-FFF2-40B4-BE49-F238E27FC236}">
                <a16:creationId xmlns:a16="http://schemas.microsoft.com/office/drawing/2014/main" id="{BC3BF6FE-171D-44F7-A6F0-E0B2B27D0440}"/>
              </a:ext>
            </a:extLst>
          </p:cNvPr>
          <p:cNvSpPr/>
          <p:nvPr/>
        </p:nvSpPr>
        <p:spPr>
          <a:xfrm>
            <a:off x="1140643" y="5835193"/>
            <a:ext cx="226244" cy="160261"/>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 name="Rectangle 11">
            <a:extLst>
              <a:ext uri="{FF2B5EF4-FFF2-40B4-BE49-F238E27FC236}">
                <a16:creationId xmlns:a16="http://schemas.microsoft.com/office/drawing/2014/main" id="{32C424C8-0F69-4ACB-ACF3-ED1A3DABAC82}"/>
              </a:ext>
            </a:extLst>
          </p:cNvPr>
          <p:cNvSpPr/>
          <p:nvPr/>
        </p:nvSpPr>
        <p:spPr>
          <a:xfrm>
            <a:off x="1140643" y="6125436"/>
            <a:ext cx="226244" cy="16026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TextBox 3">
            <a:extLst>
              <a:ext uri="{FF2B5EF4-FFF2-40B4-BE49-F238E27FC236}">
                <a16:creationId xmlns:a16="http://schemas.microsoft.com/office/drawing/2014/main" id="{F591D204-07D6-4B0D-B307-5CCDC9402B51}"/>
              </a:ext>
            </a:extLst>
          </p:cNvPr>
          <p:cNvSpPr txBox="1"/>
          <p:nvPr/>
        </p:nvSpPr>
        <p:spPr>
          <a:xfrm>
            <a:off x="1461155" y="5789229"/>
            <a:ext cx="1432874" cy="261610"/>
          </a:xfrm>
          <a:prstGeom prst="rect">
            <a:avLst/>
          </a:prstGeom>
          <a:noFill/>
        </p:spPr>
        <p:txBody>
          <a:bodyPr wrap="square" rtlCol="0">
            <a:spAutoFit/>
          </a:bodyPr>
          <a:lstStyle/>
          <a:p>
            <a:r>
              <a:rPr lang="nb-NO" sz="1100"/>
              <a:t>Gjennomført</a:t>
            </a:r>
          </a:p>
        </p:txBody>
      </p:sp>
      <p:sp>
        <p:nvSpPr>
          <p:cNvPr id="14" name="TextBox 13">
            <a:extLst>
              <a:ext uri="{FF2B5EF4-FFF2-40B4-BE49-F238E27FC236}">
                <a16:creationId xmlns:a16="http://schemas.microsoft.com/office/drawing/2014/main" id="{13471AEB-10B9-4489-98A3-3E763273B392}"/>
              </a:ext>
            </a:extLst>
          </p:cNvPr>
          <p:cNvSpPr txBox="1"/>
          <p:nvPr/>
        </p:nvSpPr>
        <p:spPr>
          <a:xfrm>
            <a:off x="1461155" y="6097155"/>
            <a:ext cx="1432874" cy="261610"/>
          </a:xfrm>
          <a:prstGeom prst="rect">
            <a:avLst/>
          </a:prstGeom>
          <a:noFill/>
        </p:spPr>
        <p:txBody>
          <a:bodyPr wrap="square" rtlCol="0">
            <a:spAutoFit/>
          </a:bodyPr>
          <a:lstStyle/>
          <a:p>
            <a:r>
              <a:rPr lang="nb-NO" sz="1100"/>
              <a:t>Gjenstår</a:t>
            </a:r>
          </a:p>
        </p:txBody>
      </p:sp>
    </p:spTree>
    <p:extLst>
      <p:ext uri="{BB962C8B-B14F-4D97-AF65-F5344CB8AC3E}">
        <p14:creationId xmlns:p14="http://schemas.microsoft.com/office/powerpoint/2010/main" val="37257484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3">
            <a:extLst>
              <a:ext uri="{FF2B5EF4-FFF2-40B4-BE49-F238E27FC236}">
                <a16:creationId xmlns:a16="http://schemas.microsoft.com/office/drawing/2014/main" id="{B7DC162C-03A8-4FDE-BD21-5D03E61C308A}"/>
              </a:ext>
            </a:extLst>
          </p:cNvPr>
          <p:cNvPicPr>
            <a:picLocks noChangeAspect="1"/>
          </p:cNvPicPr>
          <p:nvPr/>
        </p:nvPicPr>
        <p:blipFill rotWithShape="1">
          <a:blip r:embed="rId6"/>
          <a:srcRect r="23522"/>
          <a:stretch/>
        </p:blipFill>
        <p:spPr>
          <a:xfrm rot="5400000">
            <a:off x="3203812" y="-3223231"/>
            <a:ext cx="791377" cy="7199002"/>
          </a:xfrm>
          <a:prstGeom prst="rect">
            <a:avLst/>
          </a:prstGeom>
        </p:spPr>
      </p:pic>
      <p:graphicFrame>
        <p:nvGraphicFramePr>
          <p:cNvPr id="91" name="Object 90" hidden="1">
            <a:extLst>
              <a:ext uri="{FF2B5EF4-FFF2-40B4-BE49-F238E27FC236}">
                <a16:creationId xmlns:a16="http://schemas.microsoft.com/office/drawing/2014/main" id="{523924EF-6901-46E3-A852-C9609C985CE0}"/>
              </a:ext>
            </a:extLst>
          </p:cNvPr>
          <p:cNvGraphicFramePr>
            <a:graphicFrameLocks noChangeAspect="1"/>
          </p:cNvGraphicFramePr>
          <p:nvPr>
            <p:custDataLst>
              <p:tags r:id="rId2"/>
            </p:custDataLst>
            <p:extLst>
              <p:ext uri="{D42A27DB-BD31-4B8C-83A1-F6EECF244321}">
                <p14:modId xmlns:p14="http://schemas.microsoft.com/office/powerpoint/2010/main" val="203630066"/>
              </p:ext>
            </p:ext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7" imgW="473" imgH="473" progId="TCLayout.ActiveDocument.1">
                  <p:embed/>
                </p:oleObj>
              </mc:Choice>
              <mc:Fallback>
                <p:oleObj name="think-cell Slide" r:id="rId7" imgW="473" imgH="473" progId="TCLayout.ActiveDocument.1">
                  <p:embed/>
                  <p:pic>
                    <p:nvPicPr>
                      <p:cNvPr id="91" name="Object 90" hidden="1">
                        <a:extLst>
                          <a:ext uri="{FF2B5EF4-FFF2-40B4-BE49-F238E27FC236}">
                            <a16:creationId xmlns:a16="http://schemas.microsoft.com/office/drawing/2014/main" id="{523924EF-6901-46E3-A852-C9609C985CE0}"/>
                          </a:ext>
                        </a:extLst>
                      </p:cNvPr>
                      <p:cNvPicPr/>
                      <p:nvPr/>
                    </p:nvPicPr>
                    <p:blipFill>
                      <a:blip r:embed="rId8"/>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2419E6-8EDA-40C9-B4A5-9B8FD471B5A8}"/>
              </a:ext>
            </a:extLst>
          </p:cNvPr>
          <p:cNvSpPr/>
          <p:nvPr>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112" name="Tittel 1"/>
          <p:cNvSpPr>
            <a:spLocks noGrp="1"/>
          </p:cNvSpPr>
          <p:nvPr>
            <p:ph type="title"/>
          </p:nvPr>
        </p:nvSpPr>
        <p:spPr>
          <a:xfrm>
            <a:off x="40349" y="-844"/>
            <a:ext cx="6818930" cy="772800"/>
          </a:xfrm>
        </p:spPr>
        <p:txBody>
          <a:bodyPr vert="horz">
            <a:noAutofit/>
          </a:bodyPr>
          <a:lstStyle/>
          <a:p>
            <a:r>
              <a:rPr lang="nb-NO" sz="2800" b="1">
                <a:solidFill>
                  <a:schemeClr val="bg1"/>
                </a:solidFill>
              </a:rPr>
              <a:t>Formål med kurset</a:t>
            </a:r>
          </a:p>
        </p:txBody>
      </p:sp>
      <p:grpSp>
        <p:nvGrpSpPr>
          <p:cNvPr id="14" name="Group 13">
            <a:extLst>
              <a:ext uri="{FF2B5EF4-FFF2-40B4-BE49-F238E27FC236}">
                <a16:creationId xmlns:a16="http://schemas.microsoft.com/office/drawing/2014/main" id="{D8611A49-7AE4-4C87-85C7-9230C16D902B}"/>
              </a:ext>
            </a:extLst>
          </p:cNvPr>
          <p:cNvGrpSpPr/>
          <p:nvPr/>
        </p:nvGrpSpPr>
        <p:grpSpPr>
          <a:xfrm>
            <a:off x="670560" y="1497670"/>
            <a:ext cx="5981700" cy="914400"/>
            <a:chOff x="670560" y="1497670"/>
            <a:chExt cx="5981700" cy="914400"/>
          </a:xfrm>
        </p:grpSpPr>
        <p:sp>
          <p:nvSpPr>
            <p:cNvPr id="10" name="Rectangle 9">
              <a:extLst>
                <a:ext uri="{FF2B5EF4-FFF2-40B4-BE49-F238E27FC236}">
                  <a16:creationId xmlns:a16="http://schemas.microsoft.com/office/drawing/2014/main" id="{5D096DA9-87E3-4BB4-A15E-79E3A1FA90AA}"/>
                </a:ext>
              </a:extLst>
            </p:cNvPr>
            <p:cNvSpPr/>
            <p:nvPr/>
          </p:nvSpPr>
          <p:spPr>
            <a:xfrm>
              <a:off x="1815465" y="1713054"/>
              <a:ext cx="4836795" cy="369332"/>
            </a:xfrm>
            <a:prstGeom prst="rect">
              <a:avLst/>
            </a:prstGeom>
          </p:spPr>
          <p:txBody>
            <a:bodyPr wrap="square">
              <a:spAutoFit/>
            </a:bodyPr>
            <a:lstStyle/>
            <a:p>
              <a:r>
                <a:rPr lang="nb-NO"/>
                <a:t>Avklare superbrukerrollens ansvar</a:t>
              </a:r>
            </a:p>
          </p:txBody>
        </p:sp>
        <p:pic>
          <p:nvPicPr>
            <p:cNvPr id="11" name="Graphic 10" descr="Group of men">
              <a:extLst>
                <a:ext uri="{FF2B5EF4-FFF2-40B4-BE49-F238E27FC236}">
                  <a16:creationId xmlns:a16="http://schemas.microsoft.com/office/drawing/2014/main" id="{B24DF5C5-C757-4F30-8BC2-95A47DF052F8}"/>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670560" y="1497670"/>
              <a:ext cx="914400" cy="914400"/>
            </a:xfrm>
            <a:prstGeom prst="rect">
              <a:avLst/>
            </a:prstGeom>
          </p:spPr>
        </p:pic>
      </p:grpSp>
      <p:grpSp>
        <p:nvGrpSpPr>
          <p:cNvPr id="13" name="Group 12">
            <a:extLst>
              <a:ext uri="{FF2B5EF4-FFF2-40B4-BE49-F238E27FC236}">
                <a16:creationId xmlns:a16="http://schemas.microsoft.com/office/drawing/2014/main" id="{9B0D1EE7-EFEA-4CBC-9424-84C6BB3ACE3A}"/>
              </a:ext>
            </a:extLst>
          </p:cNvPr>
          <p:cNvGrpSpPr/>
          <p:nvPr/>
        </p:nvGrpSpPr>
        <p:grpSpPr>
          <a:xfrm>
            <a:off x="670560" y="4307150"/>
            <a:ext cx="5981700" cy="914400"/>
            <a:chOff x="670560" y="2769041"/>
            <a:chExt cx="5981700" cy="914400"/>
          </a:xfrm>
        </p:grpSpPr>
        <p:pic>
          <p:nvPicPr>
            <p:cNvPr id="6" name="Graphic 5" descr="Table">
              <a:extLst>
                <a:ext uri="{FF2B5EF4-FFF2-40B4-BE49-F238E27FC236}">
                  <a16:creationId xmlns:a16="http://schemas.microsoft.com/office/drawing/2014/main" id="{EF2369B6-32DA-4ADD-9BC1-76FF295ACA13}"/>
                </a:ext>
              </a:extLst>
            </p:cNvPr>
            <p:cNvPicPr>
              <a:picLocks noChangeAspect="1"/>
            </p:cNvPicPr>
            <p:nvPr/>
          </p:nvPicPr>
          <p:blipFill>
            <a:blip r:embed="rId11">
              <a:extLst>
                <a:ext uri="{96DAC541-7B7A-43D3-8B79-37D633B846F1}">
                  <asvg:svgBlip xmlns:asvg="http://schemas.microsoft.com/office/drawing/2016/SVG/main" xmlns="" r:embed="rId12"/>
                </a:ext>
              </a:extLst>
            </a:blip>
            <a:stretch>
              <a:fillRect/>
            </a:stretch>
          </p:blipFill>
          <p:spPr>
            <a:xfrm>
              <a:off x="670560" y="2769041"/>
              <a:ext cx="914400" cy="914400"/>
            </a:xfrm>
            <a:prstGeom prst="rect">
              <a:avLst/>
            </a:prstGeom>
          </p:spPr>
        </p:pic>
        <p:sp>
          <p:nvSpPr>
            <p:cNvPr id="17" name="Rectangle 16">
              <a:extLst>
                <a:ext uri="{FF2B5EF4-FFF2-40B4-BE49-F238E27FC236}">
                  <a16:creationId xmlns:a16="http://schemas.microsoft.com/office/drawing/2014/main" id="{841BF710-5EB6-4D05-8CA2-186FB45496C6}"/>
                </a:ext>
              </a:extLst>
            </p:cNvPr>
            <p:cNvSpPr/>
            <p:nvPr/>
          </p:nvSpPr>
          <p:spPr>
            <a:xfrm>
              <a:off x="1815465" y="3008454"/>
              <a:ext cx="4836795" cy="369332"/>
            </a:xfrm>
            <a:prstGeom prst="rect">
              <a:avLst/>
            </a:prstGeom>
          </p:spPr>
          <p:txBody>
            <a:bodyPr wrap="square">
              <a:spAutoFit/>
            </a:bodyPr>
            <a:lstStyle/>
            <a:p>
              <a:r>
                <a:rPr lang="nb-NO"/>
                <a:t>Opplæring datainnsamlingsark BFV</a:t>
              </a:r>
            </a:p>
          </p:txBody>
        </p:sp>
      </p:grpSp>
      <p:grpSp>
        <p:nvGrpSpPr>
          <p:cNvPr id="12" name="Group 11">
            <a:extLst>
              <a:ext uri="{FF2B5EF4-FFF2-40B4-BE49-F238E27FC236}">
                <a16:creationId xmlns:a16="http://schemas.microsoft.com/office/drawing/2014/main" id="{7773DD53-866F-4791-856A-DE44A3BDC324}"/>
              </a:ext>
            </a:extLst>
          </p:cNvPr>
          <p:cNvGrpSpPr/>
          <p:nvPr/>
        </p:nvGrpSpPr>
        <p:grpSpPr>
          <a:xfrm>
            <a:off x="670560" y="2902410"/>
            <a:ext cx="5981700" cy="914400"/>
            <a:chOff x="670560" y="4155881"/>
            <a:chExt cx="5981700" cy="914400"/>
          </a:xfrm>
        </p:grpSpPr>
        <p:pic>
          <p:nvPicPr>
            <p:cNvPr id="8" name="Graphic 7" descr="Questions">
              <a:extLst>
                <a:ext uri="{FF2B5EF4-FFF2-40B4-BE49-F238E27FC236}">
                  <a16:creationId xmlns:a16="http://schemas.microsoft.com/office/drawing/2014/main" id="{E3B3A118-E71D-4500-9643-0C018AD82659}"/>
                </a:ext>
              </a:extLst>
            </p:cNvPr>
            <p:cNvPicPr>
              <a:picLocks noChangeAspect="1"/>
            </p:cNvPicPr>
            <p:nvPr/>
          </p:nvPicPr>
          <p:blipFill>
            <a:blip r:embed="rId13">
              <a:extLst>
                <a:ext uri="{96DAC541-7B7A-43D3-8B79-37D633B846F1}">
                  <asvg:svgBlip xmlns:asvg="http://schemas.microsoft.com/office/drawing/2016/SVG/main" xmlns="" r:embed="rId14"/>
                </a:ext>
              </a:extLst>
            </a:blip>
            <a:stretch>
              <a:fillRect/>
            </a:stretch>
          </p:blipFill>
          <p:spPr>
            <a:xfrm>
              <a:off x="670560" y="4155881"/>
              <a:ext cx="914400" cy="914400"/>
            </a:xfrm>
            <a:prstGeom prst="rect">
              <a:avLst/>
            </a:prstGeom>
          </p:spPr>
        </p:pic>
        <p:sp>
          <p:nvSpPr>
            <p:cNvPr id="18" name="Rectangle 17">
              <a:extLst>
                <a:ext uri="{FF2B5EF4-FFF2-40B4-BE49-F238E27FC236}">
                  <a16:creationId xmlns:a16="http://schemas.microsoft.com/office/drawing/2014/main" id="{F866C019-1FCC-4C63-9088-CF33D3D86AC2}"/>
                </a:ext>
              </a:extLst>
            </p:cNvPr>
            <p:cNvSpPr/>
            <p:nvPr/>
          </p:nvSpPr>
          <p:spPr>
            <a:xfrm>
              <a:off x="1815465" y="4428415"/>
              <a:ext cx="4836795" cy="369332"/>
            </a:xfrm>
            <a:prstGeom prst="rect">
              <a:avLst/>
            </a:prstGeom>
          </p:spPr>
          <p:txBody>
            <a:bodyPr wrap="square">
              <a:spAutoFit/>
            </a:bodyPr>
            <a:lstStyle/>
            <a:p>
              <a:r>
                <a:rPr lang="nb-NO"/>
                <a:t>Informere om støttekanaler</a:t>
              </a:r>
            </a:p>
          </p:txBody>
        </p:sp>
      </p:grpSp>
    </p:spTree>
    <p:extLst>
      <p:ext uri="{BB962C8B-B14F-4D97-AF65-F5344CB8AC3E}">
        <p14:creationId xmlns:p14="http://schemas.microsoft.com/office/powerpoint/2010/main" val="16625238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3">
            <a:extLst>
              <a:ext uri="{FF2B5EF4-FFF2-40B4-BE49-F238E27FC236}">
                <a16:creationId xmlns:a16="http://schemas.microsoft.com/office/drawing/2014/main" id="{B7DC162C-03A8-4FDE-BD21-5D03E61C308A}"/>
              </a:ext>
            </a:extLst>
          </p:cNvPr>
          <p:cNvPicPr>
            <a:picLocks noChangeAspect="1"/>
          </p:cNvPicPr>
          <p:nvPr/>
        </p:nvPicPr>
        <p:blipFill rotWithShape="1">
          <a:blip r:embed="rId6"/>
          <a:srcRect r="23522"/>
          <a:stretch/>
        </p:blipFill>
        <p:spPr>
          <a:xfrm rot="5400000">
            <a:off x="3203812" y="-3223231"/>
            <a:ext cx="791377" cy="7199002"/>
          </a:xfrm>
          <a:prstGeom prst="rect">
            <a:avLst/>
          </a:prstGeom>
        </p:spPr>
      </p:pic>
      <p:graphicFrame>
        <p:nvGraphicFramePr>
          <p:cNvPr id="91" name="Object 90" hidden="1">
            <a:extLst>
              <a:ext uri="{FF2B5EF4-FFF2-40B4-BE49-F238E27FC236}">
                <a16:creationId xmlns:a16="http://schemas.microsoft.com/office/drawing/2014/main" id="{523924EF-6901-46E3-A852-C9609C985CE0}"/>
              </a:ext>
            </a:extLst>
          </p:cNvPr>
          <p:cNvGraphicFramePr>
            <a:graphicFrameLocks noChangeAspect="1"/>
          </p:cNvGraphicFramePr>
          <p:nvPr>
            <p:custDataLst>
              <p:tags r:id="rId2"/>
            </p:custDataLst>
            <p:extLst>
              <p:ext uri="{D42A27DB-BD31-4B8C-83A1-F6EECF244321}">
                <p14:modId xmlns:p14="http://schemas.microsoft.com/office/powerpoint/2010/main" val="4100306811"/>
              </p:ext>
            </p:ext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7" imgW="473" imgH="473" progId="TCLayout.ActiveDocument.1">
                  <p:embed/>
                </p:oleObj>
              </mc:Choice>
              <mc:Fallback>
                <p:oleObj name="think-cell Slide" r:id="rId7" imgW="473" imgH="473" progId="TCLayout.ActiveDocument.1">
                  <p:embed/>
                  <p:pic>
                    <p:nvPicPr>
                      <p:cNvPr id="91" name="Object 90" hidden="1">
                        <a:extLst>
                          <a:ext uri="{FF2B5EF4-FFF2-40B4-BE49-F238E27FC236}">
                            <a16:creationId xmlns:a16="http://schemas.microsoft.com/office/drawing/2014/main" id="{523924EF-6901-46E3-A852-C9609C985CE0}"/>
                          </a:ext>
                        </a:extLst>
                      </p:cNvPr>
                      <p:cNvPicPr/>
                      <p:nvPr/>
                    </p:nvPicPr>
                    <p:blipFill>
                      <a:blip r:embed="rId8"/>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2419E6-8EDA-40C9-B4A5-9B8FD471B5A8}"/>
              </a:ext>
            </a:extLst>
          </p:cNvPr>
          <p:cNvSpPr/>
          <p:nvPr>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112" name="Tittel 1"/>
          <p:cNvSpPr>
            <a:spLocks noGrp="1"/>
          </p:cNvSpPr>
          <p:nvPr>
            <p:ph type="title"/>
          </p:nvPr>
        </p:nvSpPr>
        <p:spPr>
          <a:xfrm>
            <a:off x="40349" y="-844"/>
            <a:ext cx="6818930" cy="772800"/>
          </a:xfrm>
        </p:spPr>
        <p:txBody>
          <a:bodyPr vert="horz">
            <a:noAutofit/>
          </a:bodyPr>
          <a:lstStyle/>
          <a:p>
            <a:r>
              <a:rPr lang="nb-NO" sz="2800" b="1">
                <a:solidFill>
                  <a:schemeClr val="bg1"/>
                </a:solidFill>
              </a:rPr>
              <a:t>Definisjon superbruker BFV</a:t>
            </a:r>
          </a:p>
        </p:txBody>
      </p:sp>
      <p:sp>
        <p:nvSpPr>
          <p:cNvPr id="3" name="Rectangle 2">
            <a:extLst>
              <a:ext uri="{FF2B5EF4-FFF2-40B4-BE49-F238E27FC236}">
                <a16:creationId xmlns:a16="http://schemas.microsoft.com/office/drawing/2014/main" id="{83757C9B-A9A0-43B0-BDEF-123A6E567302}"/>
              </a:ext>
            </a:extLst>
          </p:cNvPr>
          <p:cNvSpPr/>
          <p:nvPr/>
        </p:nvSpPr>
        <p:spPr>
          <a:xfrm>
            <a:off x="495298" y="1447799"/>
            <a:ext cx="10983339" cy="4524315"/>
          </a:xfrm>
          <a:prstGeom prst="rect">
            <a:avLst/>
          </a:prstGeom>
        </p:spPr>
        <p:txBody>
          <a:bodyPr wrap="square">
            <a:spAutoFit/>
          </a:bodyPr>
          <a:lstStyle/>
          <a:p>
            <a:r>
              <a:rPr lang="nb-NO"/>
              <a:t>Superbruker </a:t>
            </a:r>
            <a:r>
              <a:rPr lang="nb-NO" err="1"/>
              <a:t>fasiliterer</a:t>
            </a:r>
            <a:r>
              <a:rPr lang="nb-NO"/>
              <a:t> og bistår økonomisjefen i gjennomføringen av arbeidet.</a:t>
            </a:r>
          </a:p>
          <a:p>
            <a:endParaRPr lang="nb-NO" b="1"/>
          </a:p>
          <a:p>
            <a:r>
              <a:rPr lang="nb-NO" b="1"/>
              <a:t>Prosjektstrukturer</a:t>
            </a:r>
          </a:p>
          <a:p>
            <a:pPr marL="285750" indent="-285750">
              <a:buFont typeface="Arial" panose="020B0604020202020204" pitchFamily="34" charset="0"/>
              <a:buChar char="•"/>
            </a:pPr>
            <a:r>
              <a:rPr lang="nb-NO"/>
              <a:t>Superbruker BFV har kunnskap om prinsippene for prosjektstrukturer BFV</a:t>
            </a:r>
          </a:p>
          <a:p>
            <a:pPr marL="285750" indent="-285750">
              <a:buFont typeface="Arial" panose="020B0604020202020204" pitchFamily="34" charset="0"/>
              <a:buChar char="•"/>
            </a:pPr>
            <a:r>
              <a:rPr lang="nb-NO"/>
              <a:t>Superbruker BFV er lokal brukerstøtte for spørsmål om prosjektstrukturer BFV</a:t>
            </a:r>
          </a:p>
          <a:p>
            <a:endParaRPr lang="nb-NO"/>
          </a:p>
          <a:p>
            <a:r>
              <a:rPr lang="nb-NO" b="1"/>
              <a:t>Datainnsamlingsark</a:t>
            </a:r>
          </a:p>
          <a:p>
            <a:pPr marL="285750" indent="-285750">
              <a:buFont typeface="Arial" panose="020B0604020202020204" pitchFamily="34" charset="0"/>
              <a:buChar char="•"/>
            </a:pPr>
            <a:r>
              <a:rPr lang="nb-NO"/>
              <a:t>Superbruker BFV er ekspertressurs i utfylling av datainnsamlingsark BFV</a:t>
            </a:r>
          </a:p>
          <a:p>
            <a:pPr marL="285750" indent="-285750">
              <a:buFont typeface="Arial" panose="020B0604020202020204" pitchFamily="34" charset="0"/>
              <a:buChar char="•"/>
            </a:pPr>
            <a:r>
              <a:rPr lang="nb-NO"/>
              <a:t>Superbruker BFV skal gi opplæring i utfylling av datainnsamlingsark BFV ved eget fakultet/VM/FA </a:t>
            </a:r>
          </a:p>
          <a:p>
            <a:pPr marL="285750" indent="-285750">
              <a:buFont typeface="Arial" panose="020B0604020202020204" pitchFamily="34" charset="0"/>
              <a:buChar char="•"/>
            </a:pPr>
            <a:r>
              <a:rPr lang="nb-NO"/>
              <a:t>Superbruker BFV er lokal brukerstøtte for spørsmål om utfylling av datainnsamlingsark BFV</a:t>
            </a:r>
          </a:p>
          <a:p>
            <a:pPr marL="285750" indent="-285750">
              <a:buFont typeface="Arial" panose="020B0604020202020204" pitchFamily="34" charset="0"/>
              <a:buChar char="•"/>
            </a:pPr>
            <a:r>
              <a:rPr lang="nb-NO"/>
              <a:t>Superbruker BFV utfører eventuell sammenstilling til ett datainnsamlingsark BFV fra fakultetet/VM/FA</a:t>
            </a:r>
          </a:p>
          <a:p>
            <a:pPr marL="285750" indent="-285750">
              <a:buFont typeface="Arial" panose="020B0604020202020204" pitchFamily="34" charset="0"/>
              <a:buChar char="•"/>
            </a:pPr>
            <a:r>
              <a:rPr lang="nb-NO"/>
              <a:t>Superbruker BFV utfører kvalitetssikring av datainnsamlingsark BFV</a:t>
            </a:r>
          </a:p>
          <a:p>
            <a:endParaRPr lang="nb-NO"/>
          </a:p>
          <a:p>
            <a:r>
              <a:rPr lang="nb-NO"/>
              <a:t>Superbruker vil være kontaktledd mot sentral støtte og veiledning i BOTT ØL innføringsprosjektet.</a:t>
            </a:r>
          </a:p>
          <a:p>
            <a:endParaRPr lang="nb-NO"/>
          </a:p>
          <a:p>
            <a:endParaRPr lang="nb-NO"/>
          </a:p>
        </p:txBody>
      </p:sp>
    </p:spTree>
    <p:extLst>
      <p:ext uri="{BB962C8B-B14F-4D97-AF65-F5344CB8AC3E}">
        <p14:creationId xmlns:p14="http://schemas.microsoft.com/office/powerpoint/2010/main" val="32858434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3">
            <a:extLst>
              <a:ext uri="{FF2B5EF4-FFF2-40B4-BE49-F238E27FC236}">
                <a16:creationId xmlns:a16="http://schemas.microsoft.com/office/drawing/2014/main" id="{B7DC162C-03A8-4FDE-BD21-5D03E61C308A}"/>
              </a:ext>
            </a:extLst>
          </p:cNvPr>
          <p:cNvPicPr>
            <a:picLocks noChangeAspect="1"/>
          </p:cNvPicPr>
          <p:nvPr/>
        </p:nvPicPr>
        <p:blipFill rotWithShape="1">
          <a:blip r:embed="rId6"/>
          <a:srcRect r="23522"/>
          <a:stretch/>
        </p:blipFill>
        <p:spPr>
          <a:xfrm rot="5400000">
            <a:off x="3203812" y="-3223231"/>
            <a:ext cx="791377" cy="7199002"/>
          </a:xfrm>
          <a:prstGeom prst="rect">
            <a:avLst/>
          </a:prstGeom>
        </p:spPr>
      </p:pic>
      <p:graphicFrame>
        <p:nvGraphicFramePr>
          <p:cNvPr id="91" name="Object 90" hidden="1">
            <a:extLst>
              <a:ext uri="{FF2B5EF4-FFF2-40B4-BE49-F238E27FC236}">
                <a16:creationId xmlns:a16="http://schemas.microsoft.com/office/drawing/2014/main" id="{523924EF-6901-46E3-A852-C9609C985CE0}"/>
              </a:ext>
            </a:extLst>
          </p:cNvPr>
          <p:cNvGraphicFramePr>
            <a:graphicFrameLocks noChangeAspect="1"/>
          </p:cNvGraphicFramePr>
          <p:nvPr>
            <p:custDataLst>
              <p:tags r:id="rId2"/>
            </p:custDataLst>
            <p:extLst>
              <p:ext uri="{D42A27DB-BD31-4B8C-83A1-F6EECF244321}">
                <p14:modId xmlns:p14="http://schemas.microsoft.com/office/powerpoint/2010/main" val="1698964888"/>
              </p:ext>
            </p:ext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7" imgW="473" imgH="473" progId="TCLayout.ActiveDocument.1">
                  <p:embed/>
                </p:oleObj>
              </mc:Choice>
              <mc:Fallback>
                <p:oleObj name="think-cell Slide" r:id="rId7" imgW="473" imgH="473" progId="TCLayout.ActiveDocument.1">
                  <p:embed/>
                  <p:pic>
                    <p:nvPicPr>
                      <p:cNvPr id="91" name="Object 90" hidden="1">
                        <a:extLst>
                          <a:ext uri="{FF2B5EF4-FFF2-40B4-BE49-F238E27FC236}">
                            <a16:creationId xmlns:a16="http://schemas.microsoft.com/office/drawing/2014/main" id="{523924EF-6901-46E3-A852-C9609C985CE0}"/>
                          </a:ext>
                        </a:extLst>
                      </p:cNvPr>
                      <p:cNvPicPr/>
                      <p:nvPr/>
                    </p:nvPicPr>
                    <p:blipFill>
                      <a:blip r:embed="rId8"/>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2419E6-8EDA-40C9-B4A5-9B8FD471B5A8}"/>
              </a:ext>
            </a:extLst>
          </p:cNvPr>
          <p:cNvSpPr/>
          <p:nvPr>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112" name="Tittel 1"/>
          <p:cNvSpPr>
            <a:spLocks noGrp="1"/>
          </p:cNvSpPr>
          <p:nvPr>
            <p:ph type="title"/>
          </p:nvPr>
        </p:nvSpPr>
        <p:spPr>
          <a:xfrm>
            <a:off x="40349" y="-844"/>
            <a:ext cx="6818930" cy="772800"/>
          </a:xfrm>
        </p:spPr>
        <p:txBody>
          <a:bodyPr vert="horz">
            <a:noAutofit/>
          </a:bodyPr>
          <a:lstStyle/>
          <a:p>
            <a:r>
              <a:rPr lang="nb-NO" sz="2800" b="1">
                <a:solidFill>
                  <a:schemeClr val="bg1"/>
                </a:solidFill>
              </a:rPr>
              <a:t>Støtte og veiledning</a:t>
            </a:r>
          </a:p>
        </p:txBody>
      </p:sp>
      <p:sp>
        <p:nvSpPr>
          <p:cNvPr id="13" name="Rectangle 12">
            <a:extLst>
              <a:ext uri="{FF2B5EF4-FFF2-40B4-BE49-F238E27FC236}">
                <a16:creationId xmlns:a16="http://schemas.microsoft.com/office/drawing/2014/main" id="{7D1BCAA6-B19C-4B7C-9040-0399936607B3}"/>
              </a:ext>
            </a:extLst>
          </p:cNvPr>
          <p:cNvSpPr/>
          <p:nvPr/>
        </p:nvSpPr>
        <p:spPr>
          <a:xfrm>
            <a:off x="238125" y="1352193"/>
            <a:ext cx="10839450" cy="1015663"/>
          </a:xfrm>
          <a:prstGeom prst="rect">
            <a:avLst/>
          </a:prstGeom>
        </p:spPr>
        <p:txBody>
          <a:bodyPr wrap="square">
            <a:spAutoFit/>
          </a:bodyPr>
          <a:lstStyle/>
          <a:p>
            <a:r>
              <a:rPr lang="nb-NO"/>
              <a:t>Superbruker BFV er medlem av superbrukerforum BFV.</a:t>
            </a:r>
          </a:p>
          <a:p>
            <a:endParaRPr lang="nb-NO" sz="2400"/>
          </a:p>
          <a:p>
            <a:endParaRPr lang="nb-NO"/>
          </a:p>
        </p:txBody>
      </p:sp>
      <p:sp>
        <p:nvSpPr>
          <p:cNvPr id="8" name="Rectangle 7">
            <a:extLst>
              <a:ext uri="{FF2B5EF4-FFF2-40B4-BE49-F238E27FC236}">
                <a16:creationId xmlns:a16="http://schemas.microsoft.com/office/drawing/2014/main" id="{202D8AE3-5702-4345-A269-401C83278EAB}"/>
              </a:ext>
            </a:extLst>
          </p:cNvPr>
          <p:cNvSpPr/>
          <p:nvPr/>
        </p:nvSpPr>
        <p:spPr>
          <a:xfrm>
            <a:off x="3048000" y="2277517"/>
            <a:ext cx="6096000" cy="369332"/>
          </a:xfrm>
          <a:prstGeom prst="rect">
            <a:avLst/>
          </a:prstGeom>
        </p:spPr>
        <p:txBody>
          <a:bodyPr>
            <a:spAutoFit/>
          </a:bodyPr>
          <a:lstStyle/>
          <a:p>
            <a:endParaRPr lang="nb-NO"/>
          </a:p>
        </p:txBody>
      </p:sp>
      <p:grpSp>
        <p:nvGrpSpPr>
          <p:cNvPr id="15" name="Group 14">
            <a:extLst>
              <a:ext uri="{FF2B5EF4-FFF2-40B4-BE49-F238E27FC236}">
                <a16:creationId xmlns:a16="http://schemas.microsoft.com/office/drawing/2014/main" id="{E203D9BB-B6C6-49DA-91D9-858AB87EDA15}"/>
              </a:ext>
            </a:extLst>
          </p:cNvPr>
          <p:cNvGrpSpPr/>
          <p:nvPr/>
        </p:nvGrpSpPr>
        <p:grpSpPr>
          <a:xfrm>
            <a:off x="238125" y="3349418"/>
            <a:ext cx="9238297" cy="934194"/>
            <a:chOff x="271463" y="2021841"/>
            <a:chExt cx="9238297" cy="934194"/>
          </a:xfrm>
        </p:grpSpPr>
        <p:pic>
          <p:nvPicPr>
            <p:cNvPr id="6" name="Graphic 5" descr="Customer review">
              <a:extLst>
                <a:ext uri="{FF2B5EF4-FFF2-40B4-BE49-F238E27FC236}">
                  <a16:creationId xmlns:a16="http://schemas.microsoft.com/office/drawing/2014/main" id="{8456D563-CF28-4EBF-8978-719F2CEC2C1A}"/>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271463" y="2021841"/>
              <a:ext cx="914400" cy="914400"/>
            </a:xfrm>
            <a:prstGeom prst="rect">
              <a:avLst/>
            </a:prstGeom>
          </p:spPr>
        </p:pic>
        <p:sp>
          <p:nvSpPr>
            <p:cNvPr id="7" name="Rectangle 6">
              <a:extLst>
                <a:ext uri="{FF2B5EF4-FFF2-40B4-BE49-F238E27FC236}">
                  <a16:creationId xmlns:a16="http://schemas.microsoft.com/office/drawing/2014/main" id="{5CE6623D-AF36-4E7F-AB1E-7FF328380222}"/>
                </a:ext>
              </a:extLst>
            </p:cNvPr>
            <p:cNvSpPr/>
            <p:nvPr/>
          </p:nvSpPr>
          <p:spPr>
            <a:xfrm>
              <a:off x="1208722" y="2032705"/>
              <a:ext cx="8301038" cy="923330"/>
            </a:xfrm>
            <a:prstGeom prst="rect">
              <a:avLst/>
            </a:prstGeom>
          </p:spPr>
          <p:txBody>
            <a:bodyPr wrap="square">
              <a:spAutoFit/>
            </a:bodyPr>
            <a:lstStyle/>
            <a:p>
              <a:r>
                <a:rPr lang="nb-NO" b="1" dirty="0"/>
                <a:t>Teams-kanal</a:t>
              </a:r>
            </a:p>
            <a:p>
              <a:r>
                <a:rPr lang="nb-NO" dirty="0"/>
                <a:t>Superbrukerforum BFV har egen Teams-kanal hvor man kan dele erfaringer og informasjon, gi tilbakemeldinger og stille spørsmål til oss i VIRK og </a:t>
              </a:r>
              <a:r>
                <a:rPr lang="nb-NO" dirty="0" err="1"/>
                <a:t>ØKavd</a:t>
              </a:r>
              <a:r>
                <a:rPr lang="nb-NO" dirty="0"/>
                <a:t>. </a:t>
              </a:r>
            </a:p>
          </p:txBody>
        </p:sp>
      </p:grpSp>
      <p:grpSp>
        <p:nvGrpSpPr>
          <p:cNvPr id="14" name="Group 13">
            <a:extLst>
              <a:ext uri="{FF2B5EF4-FFF2-40B4-BE49-F238E27FC236}">
                <a16:creationId xmlns:a16="http://schemas.microsoft.com/office/drawing/2014/main" id="{471C73B0-3FD5-40E0-8C41-AAD3DC335323}"/>
              </a:ext>
            </a:extLst>
          </p:cNvPr>
          <p:cNvGrpSpPr/>
          <p:nvPr/>
        </p:nvGrpSpPr>
        <p:grpSpPr>
          <a:xfrm>
            <a:off x="238125" y="2120100"/>
            <a:ext cx="7996236" cy="914400"/>
            <a:chOff x="271463" y="3473034"/>
            <a:chExt cx="7996236" cy="914400"/>
          </a:xfrm>
        </p:grpSpPr>
        <p:pic>
          <p:nvPicPr>
            <p:cNvPr id="3" name="Graphic 2" descr="Boardroom">
              <a:extLst>
                <a:ext uri="{FF2B5EF4-FFF2-40B4-BE49-F238E27FC236}">
                  <a16:creationId xmlns:a16="http://schemas.microsoft.com/office/drawing/2014/main" id="{3355D99A-4983-4588-8F41-141FE8B4E16D}"/>
                </a:ext>
              </a:extLst>
            </p:cNvPr>
            <p:cNvPicPr>
              <a:picLocks noChangeAspect="1"/>
            </p:cNvPicPr>
            <p:nvPr/>
          </p:nvPicPr>
          <p:blipFill>
            <a:blip r:embed="rId11">
              <a:extLst>
                <a:ext uri="{96DAC541-7B7A-43D3-8B79-37D633B846F1}">
                  <asvg:svgBlip xmlns:asvg="http://schemas.microsoft.com/office/drawing/2016/SVG/main" xmlns="" r:embed="rId12"/>
                </a:ext>
              </a:extLst>
            </a:blip>
            <a:stretch>
              <a:fillRect/>
            </a:stretch>
          </p:blipFill>
          <p:spPr>
            <a:xfrm>
              <a:off x="271463" y="3473034"/>
              <a:ext cx="914400" cy="914400"/>
            </a:xfrm>
            <a:prstGeom prst="rect">
              <a:avLst/>
            </a:prstGeom>
          </p:spPr>
        </p:pic>
        <p:sp>
          <p:nvSpPr>
            <p:cNvPr id="9" name="Rectangle 8">
              <a:extLst>
                <a:ext uri="{FF2B5EF4-FFF2-40B4-BE49-F238E27FC236}">
                  <a16:creationId xmlns:a16="http://schemas.microsoft.com/office/drawing/2014/main" id="{EB35FB84-FFAA-460C-BE5B-9D3360AA96C2}"/>
                </a:ext>
              </a:extLst>
            </p:cNvPr>
            <p:cNvSpPr/>
            <p:nvPr/>
          </p:nvSpPr>
          <p:spPr>
            <a:xfrm>
              <a:off x="1208722" y="3513157"/>
              <a:ext cx="7058977" cy="646331"/>
            </a:xfrm>
            <a:prstGeom prst="rect">
              <a:avLst/>
            </a:prstGeom>
          </p:spPr>
          <p:txBody>
            <a:bodyPr wrap="square">
              <a:spAutoFit/>
            </a:bodyPr>
            <a:lstStyle/>
            <a:p>
              <a:r>
                <a:rPr lang="nb-NO" b="1" dirty="0"/>
                <a:t>Ukentlige møter</a:t>
              </a:r>
            </a:p>
            <a:p>
              <a:r>
                <a:rPr lang="nb-NO" dirty="0"/>
                <a:t>Superbruker BFV vil møtes til ukentlige møter i superbrukerforum BFV.</a:t>
              </a:r>
            </a:p>
          </p:txBody>
        </p:sp>
      </p:grpSp>
      <p:grpSp>
        <p:nvGrpSpPr>
          <p:cNvPr id="12" name="Group 11">
            <a:extLst>
              <a:ext uri="{FF2B5EF4-FFF2-40B4-BE49-F238E27FC236}">
                <a16:creationId xmlns:a16="http://schemas.microsoft.com/office/drawing/2014/main" id="{BBCDB33D-DF9B-4869-A83C-4E2E5A5AF0FA}"/>
              </a:ext>
            </a:extLst>
          </p:cNvPr>
          <p:cNvGrpSpPr/>
          <p:nvPr/>
        </p:nvGrpSpPr>
        <p:grpSpPr>
          <a:xfrm>
            <a:off x="263512" y="4808552"/>
            <a:ext cx="9460933" cy="1028227"/>
            <a:chOff x="263512" y="4808552"/>
            <a:chExt cx="9460933" cy="1028227"/>
          </a:xfrm>
        </p:grpSpPr>
        <p:pic>
          <p:nvPicPr>
            <p:cNvPr id="11" name="Graphic 10" descr="Document">
              <a:extLst>
                <a:ext uri="{FF2B5EF4-FFF2-40B4-BE49-F238E27FC236}">
                  <a16:creationId xmlns:a16="http://schemas.microsoft.com/office/drawing/2014/main" id="{61204096-1F31-48CB-B2CC-690F1094DF64}"/>
                </a:ext>
              </a:extLst>
            </p:cNvPr>
            <p:cNvPicPr>
              <a:picLocks noChangeAspect="1"/>
            </p:cNvPicPr>
            <p:nvPr/>
          </p:nvPicPr>
          <p:blipFill>
            <a:blip r:embed="rId13">
              <a:extLst>
                <a:ext uri="{96DAC541-7B7A-43D3-8B79-37D633B846F1}">
                  <asvg:svgBlip xmlns:asvg="http://schemas.microsoft.com/office/drawing/2016/SVG/main" xmlns="" r:embed="rId14"/>
                </a:ext>
              </a:extLst>
            </a:blip>
            <a:stretch>
              <a:fillRect/>
            </a:stretch>
          </p:blipFill>
          <p:spPr>
            <a:xfrm>
              <a:off x="263512" y="4808552"/>
              <a:ext cx="914400" cy="914400"/>
            </a:xfrm>
            <a:prstGeom prst="rect">
              <a:avLst/>
            </a:prstGeom>
          </p:spPr>
        </p:pic>
        <p:sp>
          <p:nvSpPr>
            <p:cNvPr id="20" name="Rectangle 19">
              <a:extLst>
                <a:ext uri="{FF2B5EF4-FFF2-40B4-BE49-F238E27FC236}">
                  <a16:creationId xmlns:a16="http://schemas.microsoft.com/office/drawing/2014/main" id="{956E4AE7-EF7A-4256-9B6C-B7D12AA1A856}"/>
                </a:ext>
              </a:extLst>
            </p:cNvPr>
            <p:cNvSpPr/>
            <p:nvPr/>
          </p:nvSpPr>
          <p:spPr>
            <a:xfrm>
              <a:off x="1200771" y="4913449"/>
              <a:ext cx="8523674" cy="923330"/>
            </a:xfrm>
            <a:prstGeom prst="rect">
              <a:avLst/>
            </a:prstGeom>
          </p:spPr>
          <p:txBody>
            <a:bodyPr wrap="square">
              <a:spAutoFit/>
            </a:bodyPr>
            <a:lstStyle/>
            <a:p>
              <a:r>
                <a:rPr lang="nb-NO" b="1"/>
                <a:t>Veiledningsdokumenter</a:t>
              </a:r>
            </a:p>
            <a:p>
              <a:r>
                <a:rPr lang="nb-NO"/>
                <a:t>Teknisk veiledning for utfylling av datainnsamlingsark vil tilgjengeliggjøres, i tillegg til kurs og faglig dokumentasjon som gjelder standarder og anbefalinger prosjektstruktur.</a:t>
              </a:r>
            </a:p>
          </p:txBody>
        </p:sp>
      </p:grpSp>
    </p:spTree>
    <p:extLst>
      <p:ext uri="{BB962C8B-B14F-4D97-AF65-F5344CB8AC3E}">
        <p14:creationId xmlns:p14="http://schemas.microsoft.com/office/powerpoint/2010/main" val="34222442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3">
            <a:extLst>
              <a:ext uri="{FF2B5EF4-FFF2-40B4-BE49-F238E27FC236}">
                <a16:creationId xmlns:a16="http://schemas.microsoft.com/office/drawing/2014/main" id="{B7DC162C-03A8-4FDE-BD21-5D03E61C308A}"/>
              </a:ext>
            </a:extLst>
          </p:cNvPr>
          <p:cNvPicPr>
            <a:picLocks noChangeAspect="1"/>
          </p:cNvPicPr>
          <p:nvPr/>
        </p:nvPicPr>
        <p:blipFill rotWithShape="1">
          <a:blip r:embed="rId6"/>
          <a:srcRect r="23522"/>
          <a:stretch/>
        </p:blipFill>
        <p:spPr>
          <a:xfrm rot="5400000">
            <a:off x="3203812" y="-3223231"/>
            <a:ext cx="791377" cy="7199002"/>
          </a:xfrm>
          <a:prstGeom prst="rect">
            <a:avLst/>
          </a:prstGeom>
        </p:spPr>
      </p:pic>
      <p:graphicFrame>
        <p:nvGraphicFramePr>
          <p:cNvPr id="91" name="Object 90" hidden="1">
            <a:extLst>
              <a:ext uri="{FF2B5EF4-FFF2-40B4-BE49-F238E27FC236}">
                <a16:creationId xmlns:a16="http://schemas.microsoft.com/office/drawing/2014/main" id="{523924EF-6901-46E3-A852-C9609C985CE0}"/>
              </a:ext>
            </a:extLst>
          </p:cNvPr>
          <p:cNvGraphicFramePr>
            <a:graphicFrameLocks noChangeAspect="1"/>
          </p:cNvGraphicFramePr>
          <p:nvPr>
            <p:custDataLst>
              <p:tags r:id="rId2"/>
            </p:custDataLst>
            <p:extLst>
              <p:ext uri="{D42A27DB-BD31-4B8C-83A1-F6EECF244321}">
                <p14:modId xmlns:p14="http://schemas.microsoft.com/office/powerpoint/2010/main" val="2687380414"/>
              </p:ext>
            </p:ext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7" imgW="473" imgH="473" progId="TCLayout.ActiveDocument.1">
                  <p:embed/>
                </p:oleObj>
              </mc:Choice>
              <mc:Fallback>
                <p:oleObj name="think-cell Slide" r:id="rId7" imgW="473" imgH="473" progId="TCLayout.ActiveDocument.1">
                  <p:embed/>
                  <p:pic>
                    <p:nvPicPr>
                      <p:cNvPr id="91" name="Object 90" hidden="1">
                        <a:extLst>
                          <a:ext uri="{FF2B5EF4-FFF2-40B4-BE49-F238E27FC236}">
                            <a16:creationId xmlns:a16="http://schemas.microsoft.com/office/drawing/2014/main" id="{523924EF-6901-46E3-A852-C9609C985CE0}"/>
                          </a:ext>
                        </a:extLst>
                      </p:cNvPr>
                      <p:cNvPicPr/>
                      <p:nvPr/>
                    </p:nvPicPr>
                    <p:blipFill>
                      <a:blip r:embed="rId8"/>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2419E6-8EDA-40C9-B4A5-9B8FD471B5A8}"/>
              </a:ext>
            </a:extLst>
          </p:cNvPr>
          <p:cNvSpPr/>
          <p:nvPr>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112" name="Tittel 1"/>
          <p:cNvSpPr>
            <a:spLocks noGrp="1"/>
          </p:cNvSpPr>
          <p:nvPr>
            <p:ph type="title"/>
          </p:nvPr>
        </p:nvSpPr>
        <p:spPr>
          <a:xfrm>
            <a:off x="40349" y="-844"/>
            <a:ext cx="6818930" cy="772800"/>
          </a:xfrm>
        </p:spPr>
        <p:txBody>
          <a:bodyPr vert="horz">
            <a:noAutofit/>
          </a:bodyPr>
          <a:lstStyle/>
          <a:p>
            <a:r>
              <a:rPr lang="nb-NO" sz="2800" b="1">
                <a:solidFill>
                  <a:schemeClr val="bg1"/>
                </a:solidFill>
              </a:rPr>
              <a:t>Standarder og anbefalinger prosjekt BFV</a:t>
            </a:r>
          </a:p>
        </p:txBody>
      </p:sp>
      <p:sp>
        <p:nvSpPr>
          <p:cNvPr id="7" name="Rectangle 6">
            <a:extLst>
              <a:ext uri="{FF2B5EF4-FFF2-40B4-BE49-F238E27FC236}">
                <a16:creationId xmlns:a16="http://schemas.microsoft.com/office/drawing/2014/main" id="{A0E4F2D5-E845-4814-9518-756EC40DBF0E}"/>
              </a:ext>
            </a:extLst>
          </p:cNvPr>
          <p:cNvSpPr/>
          <p:nvPr/>
        </p:nvSpPr>
        <p:spPr>
          <a:xfrm>
            <a:off x="495298" y="1447799"/>
            <a:ext cx="10983339" cy="4108817"/>
          </a:xfrm>
          <a:prstGeom prst="rect">
            <a:avLst/>
          </a:prstGeom>
        </p:spPr>
        <p:txBody>
          <a:bodyPr wrap="square">
            <a:spAutoFit/>
          </a:bodyPr>
          <a:lstStyle/>
          <a:p>
            <a:r>
              <a:rPr lang="nb-NO" dirty="0"/>
              <a:t>Prosjektkonvertering skal følge standarder og anbefalinger for BOTT og NTNU, utarbeidet våren 2021. Det er også anledning for å opprette nye prosjekter som skal være tilgjengelig i Unit4 fra 01.01.2022, i tråd med standarder og anbefalinger.</a:t>
            </a:r>
          </a:p>
          <a:p>
            <a:endParaRPr lang="nb-NO" dirty="0"/>
          </a:p>
          <a:p>
            <a:r>
              <a:rPr lang="nb-NO" b="1" dirty="0"/>
              <a:t>Følgende kurs og dokumenter skal gjennomgås i sammenheng med prosjektkonvertering:</a:t>
            </a:r>
          </a:p>
          <a:p>
            <a:pPr marL="285750" indent="-285750">
              <a:lnSpc>
                <a:spcPct val="150000"/>
              </a:lnSpc>
              <a:buFont typeface="Arial" panose="020B0604020202020204" pitchFamily="34" charset="0"/>
              <a:buChar char="•"/>
            </a:pPr>
            <a:r>
              <a:rPr lang="nb-NO" dirty="0"/>
              <a:t>Basiskurs 1: Innføring i ny økonomimodell</a:t>
            </a:r>
          </a:p>
          <a:p>
            <a:pPr marL="285750" indent="-285750">
              <a:lnSpc>
                <a:spcPct val="150000"/>
              </a:lnSpc>
              <a:buFont typeface="Arial" panose="020B0604020202020204" pitchFamily="34" charset="0"/>
              <a:buChar char="•"/>
            </a:pPr>
            <a:r>
              <a:rPr lang="nb-NO" dirty="0"/>
              <a:t>Basiskurs 2: Prosjektstruktur BFV </a:t>
            </a:r>
          </a:p>
          <a:p>
            <a:pPr marL="285750" indent="-285750">
              <a:lnSpc>
                <a:spcPct val="150000"/>
              </a:lnSpc>
              <a:buFont typeface="Arial" panose="020B0604020202020204" pitchFamily="34" charset="0"/>
              <a:buChar char="•"/>
            </a:pPr>
            <a:r>
              <a:rPr lang="nb-NO" dirty="0"/>
              <a:t>Beskrivelse av BOTT økonomimodell ved NTNU</a:t>
            </a:r>
          </a:p>
          <a:p>
            <a:endParaRPr lang="nb-NO" dirty="0"/>
          </a:p>
          <a:p>
            <a:r>
              <a:rPr lang="nb-NO" dirty="0"/>
              <a:t>Kurs og dokument er publisert er på innsida og er tilgjengelig fra </a:t>
            </a:r>
            <a:r>
              <a:rPr lang="nb-NO" dirty="0" err="1"/>
              <a:t>bestillingbrev</a:t>
            </a:r>
            <a:r>
              <a:rPr lang="nb-NO" dirty="0"/>
              <a:t>. Lenke: </a:t>
            </a:r>
            <a:r>
              <a:rPr lang="nb-NO" dirty="0">
                <a:hlinkClick r:id="rId9"/>
              </a:rPr>
              <a:t>https://innsida.ntnu.no/wiki/-/wiki/Norsk/bott+-+%c3%98konomimodellen+-+brukerst%c3%b8tte</a:t>
            </a:r>
            <a:endParaRPr lang="nb-NO" dirty="0"/>
          </a:p>
          <a:p>
            <a:endParaRPr lang="nb-NO" dirty="0"/>
          </a:p>
          <a:p>
            <a:endParaRPr lang="nb-NO" dirty="0"/>
          </a:p>
        </p:txBody>
      </p:sp>
    </p:spTree>
    <p:extLst>
      <p:ext uri="{BB962C8B-B14F-4D97-AF65-F5344CB8AC3E}">
        <p14:creationId xmlns:p14="http://schemas.microsoft.com/office/powerpoint/2010/main" val="11671846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3">
            <a:extLst>
              <a:ext uri="{FF2B5EF4-FFF2-40B4-BE49-F238E27FC236}">
                <a16:creationId xmlns:a16="http://schemas.microsoft.com/office/drawing/2014/main" id="{B7DC162C-03A8-4FDE-BD21-5D03E61C308A}"/>
              </a:ext>
            </a:extLst>
          </p:cNvPr>
          <p:cNvPicPr>
            <a:picLocks noChangeAspect="1"/>
          </p:cNvPicPr>
          <p:nvPr/>
        </p:nvPicPr>
        <p:blipFill rotWithShape="1">
          <a:blip r:embed="rId6"/>
          <a:srcRect r="23522"/>
          <a:stretch/>
        </p:blipFill>
        <p:spPr>
          <a:xfrm rot="5400000">
            <a:off x="3203812" y="-3223231"/>
            <a:ext cx="791377" cy="7199002"/>
          </a:xfrm>
          <a:prstGeom prst="rect">
            <a:avLst/>
          </a:prstGeom>
        </p:spPr>
      </p:pic>
      <p:graphicFrame>
        <p:nvGraphicFramePr>
          <p:cNvPr id="91" name="Object 90" hidden="1">
            <a:extLst>
              <a:ext uri="{FF2B5EF4-FFF2-40B4-BE49-F238E27FC236}">
                <a16:creationId xmlns:a16="http://schemas.microsoft.com/office/drawing/2014/main" id="{523924EF-6901-46E3-A852-C9609C985CE0}"/>
              </a:ext>
            </a:extLst>
          </p:cNvPr>
          <p:cNvGraphicFramePr>
            <a:graphicFrameLocks noChangeAspect="1"/>
          </p:cNvGraphicFramePr>
          <p:nvPr>
            <p:custDataLst>
              <p:tags r:id="rId2"/>
            </p:custDataLst>
            <p:extLst>
              <p:ext uri="{D42A27DB-BD31-4B8C-83A1-F6EECF244321}">
                <p14:modId xmlns:p14="http://schemas.microsoft.com/office/powerpoint/2010/main" val="3516476048"/>
              </p:ext>
            </p:ext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7" imgW="473" imgH="473" progId="TCLayout.ActiveDocument.1">
                  <p:embed/>
                </p:oleObj>
              </mc:Choice>
              <mc:Fallback>
                <p:oleObj name="think-cell Slide" r:id="rId7" imgW="473" imgH="473" progId="TCLayout.ActiveDocument.1">
                  <p:embed/>
                  <p:pic>
                    <p:nvPicPr>
                      <p:cNvPr id="91" name="Object 90" hidden="1">
                        <a:extLst>
                          <a:ext uri="{FF2B5EF4-FFF2-40B4-BE49-F238E27FC236}">
                            <a16:creationId xmlns:a16="http://schemas.microsoft.com/office/drawing/2014/main" id="{523924EF-6901-46E3-A852-C9609C985CE0}"/>
                          </a:ext>
                        </a:extLst>
                      </p:cNvPr>
                      <p:cNvPicPr/>
                      <p:nvPr/>
                    </p:nvPicPr>
                    <p:blipFill>
                      <a:blip r:embed="rId8"/>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2419E6-8EDA-40C9-B4A5-9B8FD471B5A8}"/>
              </a:ext>
            </a:extLst>
          </p:cNvPr>
          <p:cNvSpPr/>
          <p:nvPr>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112" name="Tittel 1"/>
          <p:cNvSpPr>
            <a:spLocks noGrp="1"/>
          </p:cNvSpPr>
          <p:nvPr>
            <p:ph type="title"/>
          </p:nvPr>
        </p:nvSpPr>
        <p:spPr>
          <a:xfrm>
            <a:off x="40349" y="-844"/>
            <a:ext cx="6818930" cy="772800"/>
          </a:xfrm>
        </p:spPr>
        <p:txBody>
          <a:bodyPr vert="horz">
            <a:noAutofit/>
          </a:bodyPr>
          <a:lstStyle/>
          <a:p>
            <a:r>
              <a:rPr lang="nb-NO" sz="2800" b="1">
                <a:solidFill>
                  <a:schemeClr val="bg1"/>
                </a:solidFill>
              </a:rPr>
              <a:t>Arkfaner i datainnsamlingsark BFV</a:t>
            </a:r>
          </a:p>
        </p:txBody>
      </p:sp>
      <p:grpSp>
        <p:nvGrpSpPr>
          <p:cNvPr id="11" name="Group 10">
            <a:extLst>
              <a:ext uri="{FF2B5EF4-FFF2-40B4-BE49-F238E27FC236}">
                <a16:creationId xmlns:a16="http://schemas.microsoft.com/office/drawing/2014/main" id="{09065369-8D6C-486E-9AAE-562FDFA089F9}"/>
              </a:ext>
            </a:extLst>
          </p:cNvPr>
          <p:cNvGrpSpPr/>
          <p:nvPr/>
        </p:nvGrpSpPr>
        <p:grpSpPr>
          <a:xfrm>
            <a:off x="40349" y="10447"/>
            <a:ext cx="11525572" cy="3011796"/>
            <a:chOff x="1068934" y="-453570"/>
            <a:chExt cx="11525572" cy="3011796"/>
          </a:xfrm>
        </p:grpSpPr>
        <p:pic>
          <p:nvPicPr>
            <p:cNvPr id="4" name="Picture 3">
              <a:extLst>
                <a:ext uri="{FF2B5EF4-FFF2-40B4-BE49-F238E27FC236}">
                  <a16:creationId xmlns:a16="http://schemas.microsoft.com/office/drawing/2014/main" id="{1EADA62A-1C1C-4E51-A292-FA3A6E3BAB0F}"/>
                </a:ext>
              </a:extLst>
            </p:cNvPr>
            <p:cNvPicPr>
              <a:picLocks noChangeAspect="1"/>
            </p:cNvPicPr>
            <p:nvPr/>
          </p:nvPicPr>
          <p:blipFill>
            <a:blip r:embed="rId9"/>
            <a:stretch>
              <a:fillRect/>
            </a:stretch>
          </p:blipFill>
          <p:spPr>
            <a:xfrm>
              <a:off x="1068935" y="2126153"/>
              <a:ext cx="7937803" cy="432073"/>
            </a:xfrm>
            <a:prstGeom prst="rect">
              <a:avLst/>
            </a:prstGeom>
          </p:spPr>
        </p:pic>
        <p:sp>
          <p:nvSpPr>
            <p:cNvPr id="6" name="Left Brace 5">
              <a:extLst>
                <a:ext uri="{FF2B5EF4-FFF2-40B4-BE49-F238E27FC236}">
                  <a16:creationId xmlns:a16="http://schemas.microsoft.com/office/drawing/2014/main" id="{0EE5679C-2D18-4685-81D8-3AD80FFB0D90}"/>
                </a:ext>
              </a:extLst>
            </p:cNvPr>
            <p:cNvSpPr/>
            <p:nvPr/>
          </p:nvSpPr>
          <p:spPr>
            <a:xfrm rot="5400000">
              <a:off x="2552396" y="361239"/>
              <a:ext cx="265799" cy="3232723"/>
            </a:xfrm>
            <a:prstGeom prst="lef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7" name="TextBox 6">
              <a:extLst>
                <a:ext uri="{FF2B5EF4-FFF2-40B4-BE49-F238E27FC236}">
                  <a16:creationId xmlns:a16="http://schemas.microsoft.com/office/drawing/2014/main" id="{6A358A1C-22E4-4EA4-8C66-06451FBDD120}"/>
                </a:ext>
              </a:extLst>
            </p:cNvPr>
            <p:cNvSpPr txBox="1"/>
            <p:nvPr/>
          </p:nvSpPr>
          <p:spPr>
            <a:xfrm>
              <a:off x="1876512" y="1170993"/>
              <a:ext cx="1963971" cy="584775"/>
            </a:xfrm>
            <a:prstGeom prst="rect">
              <a:avLst/>
            </a:prstGeom>
            <a:noFill/>
          </p:spPr>
          <p:txBody>
            <a:bodyPr wrap="square" rtlCol="0">
              <a:spAutoFit/>
            </a:bodyPr>
            <a:lstStyle/>
            <a:p>
              <a:r>
                <a:rPr lang="nb-NO" sz="1600" dirty="0"/>
                <a:t>Informasjons- og valideringsfaner</a:t>
              </a:r>
              <a:endParaRPr lang="nb-NO" dirty="0"/>
            </a:p>
          </p:txBody>
        </p:sp>
        <p:sp>
          <p:nvSpPr>
            <p:cNvPr id="17" name="TextBox 16">
              <a:extLst>
                <a:ext uri="{FF2B5EF4-FFF2-40B4-BE49-F238E27FC236}">
                  <a16:creationId xmlns:a16="http://schemas.microsoft.com/office/drawing/2014/main" id="{1B470316-7F6A-4751-A4FC-764F263B3336}"/>
                </a:ext>
              </a:extLst>
            </p:cNvPr>
            <p:cNvSpPr txBox="1"/>
            <p:nvPr/>
          </p:nvSpPr>
          <p:spPr>
            <a:xfrm>
              <a:off x="5225756" y="1347973"/>
              <a:ext cx="3548930" cy="338554"/>
            </a:xfrm>
            <a:prstGeom prst="rect">
              <a:avLst/>
            </a:prstGeom>
            <a:noFill/>
          </p:spPr>
          <p:txBody>
            <a:bodyPr wrap="square" rtlCol="0">
              <a:spAutoFit/>
            </a:bodyPr>
            <a:lstStyle/>
            <a:p>
              <a:r>
                <a:rPr lang="nb-NO" sz="1600" dirty="0"/>
                <a:t>Faner som skal fylles ut av enhetene</a:t>
              </a:r>
            </a:p>
          </p:txBody>
        </p:sp>
        <p:sp>
          <p:nvSpPr>
            <p:cNvPr id="18" name="Left Brace 17">
              <a:extLst>
                <a:ext uri="{FF2B5EF4-FFF2-40B4-BE49-F238E27FC236}">
                  <a16:creationId xmlns:a16="http://schemas.microsoft.com/office/drawing/2014/main" id="{64153C5D-402B-48BA-B953-E845C74B3196}"/>
                </a:ext>
              </a:extLst>
            </p:cNvPr>
            <p:cNvSpPr/>
            <p:nvPr/>
          </p:nvSpPr>
          <p:spPr>
            <a:xfrm rot="5400000">
              <a:off x="6481150" y="-315501"/>
              <a:ext cx="270362" cy="4581644"/>
            </a:xfrm>
            <a:prstGeom prst="lef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pic>
          <p:nvPicPr>
            <p:cNvPr id="8" name="Picture 7">
              <a:extLst>
                <a:ext uri="{FF2B5EF4-FFF2-40B4-BE49-F238E27FC236}">
                  <a16:creationId xmlns:a16="http://schemas.microsoft.com/office/drawing/2014/main" id="{8ED425B4-6604-42C4-923B-C0C612FFD458}"/>
                </a:ext>
              </a:extLst>
            </p:cNvPr>
            <p:cNvPicPr>
              <a:picLocks noChangeAspect="1"/>
            </p:cNvPicPr>
            <p:nvPr/>
          </p:nvPicPr>
          <p:blipFill>
            <a:blip r:embed="rId10"/>
            <a:stretch>
              <a:fillRect/>
            </a:stretch>
          </p:blipFill>
          <p:spPr>
            <a:xfrm>
              <a:off x="10517472" y="-453570"/>
              <a:ext cx="1455896" cy="341315"/>
            </a:xfrm>
            <a:prstGeom prst="rect">
              <a:avLst/>
            </a:prstGeom>
          </p:spPr>
        </p:pic>
        <p:sp>
          <p:nvSpPr>
            <p:cNvPr id="21" name="TextBox 20">
              <a:extLst>
                <a:ext uri="{FF2B5EF4-FFF2-40B4-BE49-F238E27FC236}">
                  <a16:creationId xmlns:a16="http://schemas.microsoft.com/office/drawing/2014/main" id="{9F17468C-264D-4430-BEE3-54A3A9527E97}"/>
                </a:ext>
              </a:extLst>
            </p:cNvPr>
            <p:cNvSpPr txBox="1"/>
            <p:nvPr/>
          </p:nvSpPr>
          <p:spPr>
            <a:xfrm>
              <a:off x="10006204" y="-166753"/>
              <a:ext cx="2588302" cy="1323439"/>
            </a:xfrm>
            <a:prstGeom prst="rect">
              <a:avLst/>
            </a:prstGeom>
            <a:noFill/>
          </p:spPr>
          <p:txBody>
            <a:bodyPr wrap="square" rtlCol="0">
              <a:spAutoFit/>
            </a:bodyPr>
            <a:lstStyle/>
            <a:p>
              <a:r>
                <a:rPr lang="nb-NO" sz="1600" dirty="0"/>
                <a:t>Hovedprosjektnavn fylles inn nå hvis aktuelt, men nummer (og alle øvrige relevante felter) følges opp i ettertid</a:t>
              </a:r>
            </a:p>
          </p:txBody>
        </p:sp>
      </p:grpSp>
      <p:sp>
        <p:nvSpPr>
          <p:cNvPr id="27" name="TextBox 26">
            <a:extLst>
              <a:ext uri="{FF2B5EF4-FFF2-40B4-BE49-F238E27FC236}">
                <a16:creationId xmlns:a16="http://schemas.microsoft.com/office/drawing/2014/main" id="{D8FD0963-B275-42BA-8BE3-C992466F000A}"/>
              </a:ext>
            </a:extLst>
          </p:cNvPr>
          <p:cNvSpPr txBox="1"/>
          <p:nvPr/>
        </p:nvSpPr>
        <p:spPr>
          <a:xfrm>
            <a:off x="795288" y="3093074"/>
            <a:ext cx="9557464" cy="3539430"/>
          </a:xfrm>
          <a:prstGeom prst="rect">
            <a:avLst/>
          </a:prstGeom>
          <a:noFill/>
        </p:spPr>
        <p:txBody>
          <a:bodyPr wrap="square" rtlCol="0">
            <a:spAutoFit/>
          </a:bodyPr>
          <a:lstStyle/>
          <a:p>
            <a:r>
              <a:rPr lang="nb-NO" sz="1600" b="1" dirty="0"/>
              <a:t>Prosjekt </a:t>
            </a:r>
            <a:r>
              <a:rPr lang="nb-NO" sz="1600" dirty="0"/>
              <a:t>fylles ut av enhetene. Det må alltid eksistere et prosjekt før opprettelse av delprosjekt.</a:t>
            </a:r>
          </a:p>
          <a:p>
            <a:endParaRPr lang="nb-NO" sz="1600" b="1" dirty="0"/>
          </a:p>
          <a:p>
            <a:r>
              <a:rPr lang="nb-NO" sz="1600" b="1" dirty="0"/>
              <a:t>Delprosjekt </a:t>
            </a:r>
            <a:r>
              <a:rPr lang="nb-NO" sz="1600" dirty="0"/>
              <a:t>fylles ut av enhetene etter at prosjekt et opprettet.</a:t>
            </a:r>
          </a:p>
          <a:p>
            <a:endParaRPr lang="nb-NO" sz="1600" b="1" dirty="0"/>
          </a:p>
          <a:p>
            <a:r>
              <a:rPr lang="nb-NO" sz="1600" b="1" dirty="0"/>
              <a:t>Delprosjekt RSO </a:t>
            </a:r>
            <a:r>
              <a:rPr lang="nb-NO" sz="1600" b="1" dirty="0" err="1"/>
              <a:t>Rekr.stillinger</a:t>
            </a:r>
            <a:r>
              <a:rPr lang="nb-NO" sz="1600" b="1" dirty="0"/>
              <a:t> </a:t>
            </a:r>
            <a:r>
              <a:rPr lang="nb-NO" sz="1600" dirty="0"/>
              <a:t>fylles ut av enhetene dersom delprosjektet er RSO rekrutteringsstillinger som inngår som egenfinansiering under et BOA-prosjekt.</a:t>
            </a:r>
          </a:p>
          <a:p>
            <a:endParaRPr lang="nb-NO" sz="1600" dirty="0"/>
          </a:p>
          <a:p>
            <a:r>
              <a:rPr lang="nb-NO" sz="1600" b="1" dirty="0"/>
              <a:t>Kontrollfane 1-4 </a:t>
            </a:r>
            <a:r>
              <a:rPr lang="nb-NO" sz="1600" dirty="0"/>
              <a:t>består av Pivottabeller hvor man får se hvordan delprosjektene er gruppert innenfor relasjonene, og gir oversikt over egen gruppering.</a:t>
            </a:r>
          </a:p>
          <a:p>
            <a:endParaRPr lang="nb-NO" sz="1600" b="1" dirty="0"/>
          </a:p>
          <a:p>
            <a:r>
              <a:rPr lang="nb-NO" sz="1600" b="1" dirty="0"/>
              <a:t>Hovedprosjekt: </a:t>
            </a:r>
            <a:r>
              <a:rPr lang="nb-NO" sz="1600" dirty="0"/>
              <a:t>Dersom hovedprosjekt skal benyttes fylles navnet på hovedprosjektet inn i datainnsamlingsarket. Dette følges opp i ettertid sammen med superbruker og sentrale ressurser i BOTT ØL innføringsprosjektet, hvor det i etterkant blir en prosess med å ferdigstille med hovedprosjektnummer inkl. tilhørende informasjon (det opprettes altså ikke hovedprosjektnummer forløpende) </a:t>
            </a:r>
          </a:p>
        </p:txBody>
      </p:sp>
      <p:pic>
        <p:nvPicPr>
          <p:cNvPr id="3" name="Picture 2">
            <a:extLst>
              <a:ext uri="{FF2B5EF4-FFF2-40B4-BE49-F238E27FC236}">
                <a16:creationId xmlns:a16="http://schemas.microsoft.com/office/drawing/2014/main" id="{8C5D7A04-BE57-4A41-A80B-9AC2692FC9DA}"/>
              </a:ext>
            </a:extLst>
          </p:cNvPr>
          <p:cNvPicPr>
            <a:picLocks noChangeAspect="1"/>
          </p:cNvPicPr>
          <p:nvPr/>
        </p:nvPicPr>
        <p:blipFill>
          <a:blip r:embed="rId11"/>
          <a:stretch>
            <a:fillRect/>
          </a:stretch>
        </p:blipFill>
        <p:spPr>
          <a:xfrm>
            <a:off x="7878568" y="2587916"/>
            <a:ext cx="4313432" cy="417099"/>
          </a:xfrm>
          <a:prstGeom prst="rect">
            <a:avLst/>
          </a:prstGeom>
        </p:spPr>
      </p:pic>
      <p:sp>
        <p:nvSpPr>
          <p:cNvPr id="19" name="Left Brace 18">
            <a:extLst>
              <a:ext uri="{FF2B5EF4-FFF2-40B4-BE49-F238E27FC236}">
                <a16:creationId xmlns:a16="http://schemas.microsoft.com/office/drawing/2014/main" id="{5D43BB1A-A025-425E-90B7-F3CAA89912CE}"/>
              </a:ext>
            </a:extLst>
          </p:cNvPr>
          <p:cNvSpPr/>
          <p:nvPr/>
        </p:nvSpPr>
        <p:spPr>
          <a:xfrm rot="5400000">
            <a:off x="9894134" y="349806"/>
            <a:ext cx="265799" cy="4249231"/>
          </a:xfrm>
          <a:prstGeom prst="leftBrace">
            <a:avLst>
              <a:gd name="adj1" fmla="val 8332"/>
              <a:gd name="adj2"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10" name="Rectangle 9">
            <a:extLst>
              <a:ext uri="{FF2B5EF4-FFF2-40B4-BE49-F238E27FC236}">
                <a16:creationId xmlns:a16="http://schemas.microsoft.com/office/drawing/2014/main" id="{71F14FB3-96DD-4A3B-82C9-59E516AC1EF5}"/>
              </a:ext>
            </a:extLst>
          </p:cNvPr>
          <p:cNvSpPr/>
          <p:nvPr/>
        </p:nvSpPr>
        <p:spPr>
          <a:xfrm>
            <a:off x="8854289" y="0"/>
            <a:ext cx="2725093" cy="1549419"/>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nb-NO"/>
          </a:p>
        </p:txBody>
      </p:sp>
      <p:sp>
        <p:nvSpPr>
          <p:cNvPr id="22" name="TextBox 21">
            <a:extLst>
              <a:ext uri="{FF2B5EF4-FFF2-40B4-BE49-F238E27FC236}">
                <a16:creationId xmlns:a16="http://schemas.microsoft.com/office/drawing/2014/main" id="{9D81CAA4-4D65-4A38-89F6-B2BDB693F3BD}"/>
              </a:ext>
            </a:extLst>
          </p:cNvPr>
          <p:cNvSpPr txBox="1"/>
          <p:nvPr/>
        </p:nvSpPr>
        <p:spPr>
          <a:xfrm>
            <a:off x="8977619" y="1879771"/>
            <a:ext cx="2478432" cy="338554"/>
          </a:xfrm>
          <a:prstGeom prst="rect">
            <a:avLst/>
          </a:prstGeom>
          <a:noFill/>
        </p:spPr>
        <p:txBody>
          <a:bodyPr wrap="square">
            <a:spAutoFit/>
          </a:bodyPr>
          <a:lstStyle/>
          <a:p>
            <a:r>
              <a:rPr lang="nb-NO" sz="1600" dirty="0"/>
              <a:t>Faner til oversikt/hjelp</a:t>
            </a:r>
          </a:p>
        </p:txBody>
      </p:sp>
    </p:spTree>
    <p:extLst>
      <p:ext uri="{BB962C8B-B14F-4D97-AF65-F5344CB8AC3E}">
        <p14:creationId xmlns:p14="http://schemas.microsoft.com/office/powerpoint/2010/main" val="41808631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dmAlXC5M5Pum4yfmphhau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dmAlXC5M5Pum4yfmphhau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dmAlXC5M5Pum4yfmphhau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dmAlXC5M5Pum4yfmphhau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dmAlXC5M5Pum4yfmphhau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dmAlXC5M5Pum4yfmphhau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mAlXC5M5Pum4yfmphhau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mAlXC5M5Pum4yfmphhau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dmAlXC5M5Pum4yfmphhau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dmAlXC5M5Pum4yfmphha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mAlXC5M5Pum4yfmphhau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dmAlXC5M5Pum4yfmphhau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q574lOg5DD8uSoG1oWeT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q574lOg5DD8uSoG1oWeT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TemplateConfiguration><![CDATA[{"documentContentValidatorConfiguration":{"enableDocumentContentValidator":false,"documentContentValidatorVersion":0},"elementsMetadata":[],"slideId":"637274689481801232","enableDocumentContentUpdater":true,"version":"1.1"}]]></TemplafySlideTemplateConfiguration>
</file>

<file path=customXml/item10.xml><?xml version="1.0" encoding="utf-8"?>
<TemplafySlideFormConfiguration><![CDATA[{"formFields":[],"formDataEntries":[]}]]></TemplafySlideFormConfiguration>
</file>

<file path=customXml/item11.xml><?xml version="1.0" encoding="utf-8"?>
<TemplafySlideFormConfiguration><![CDATA[{"formFields":[],"formDataEntries":[]}]]></TemplafySlideFormConfiguration>
</file>

<file path=customXml/item12.xml><?xml version="1.0" encoding="utf-8"?>
<TemplafySlideTemplateConfiguration><![CDATA[{"documentContentValidatorConfiguration":{"enableDocumentContentValidator":false,"documentContentValidatorVersion":0},"elementsMetadata":[],"slideId":"637274689481644963","enableDocumentContentUpdater":true,"version":"1.1"}]]></TemplafySlideTemplateConfiguration>
</file>

<file path=customXml/item13.xml><?xml version="1.0" encoding="utf-8"?>
<TemplafySlideFormConfiguration><![CDATA[{"formFields":[],"formDataEntries":[]}]]></TemplafySlideFormConfiguration>
</file>

<file path=customXml/item14.xml><?xml version="1.0" encoding="utf-8"?>
<TemplafySlideTemplateConfiguration><![CDATA[{"documentContentValidatorConfiguration":{"enableDocumentContentValidator":false,"documentContentValidatorVersion":0},"elementsMetadata":[],"slideId":"637274689481644962","enableDocumentContentUpdater":true,"version":"1.1"}]]></TemplafySlideTemplateConfiguration>
</file>

<file path=customXml/item15.xml><?xml version="1.0" encoding="utf-8"?>
<?mso-contentType ?>
<FormTemplates xmlns="http://schemas.microsoft.com/sharepoint/v3/contenttype/forms">
  <Display>DocumentLibraryForm</Display>
  <Edit>DocumentLibraryForm</Edit>
  <New>DocumentLibraryForm</New>
</FormTemplates>
</file>

<file path=customXml/item16.xml><?xml version="1.0" encoding="utf-8"?>
<TemplafySlideTemplateConfiguration><![CDATA[{"documentContentValidatorConfiguration":{"enableDocumentContentValidator":false,"documentContentValidatorVersion":0},"elementsMetadata":[],"slideId":"637274689482113909","enableDocumentContentUpdater":true,"version":"1.1"}]]></TemplafySlideTemplateConfiguration>
</file>

<file path=customXml/item17.xml><?xml version="1.0" encoding="utf-8"?>
<ct:contentTypeSchema xmlns:ct="http://schemas.microsoft.com/office/2006/metadata/contentType" xmlns:ma="http://schemas.microsoft.com/office/2006/metadata/properties/metaAttributes" ct:_="" ma:_="" ma:contentTypeName="Document" ma:contentTypeID="0x010100E3865E2D6068FF4F9177B8D39939F081" ma:contentTypeVersion="6" ma:contentTypeDescription="Create a new document." ma:contentTypeScope="" ma:versionID="cd6da084c5f5354741218296259ca438">
  <xsd:schema xmlns:xsd="http://www.w3.org/2001/XMLSchema" xmlns:xs="http://www.w3.org/2001/XMLSchema" xmlns:p="http://schemas.microsoft.com/office/2006/metadata/properties" xmlns:ns2="4dbf2689-7e86-44a3-abd1-0d84ed4bf17c" xmlns:ns3="39667dce-d69c-487b-a176-42f051182b49" targetNamespace="http://schemas.microsoft.com/office/2006/metadata/properties" ma:root="true" ma:fieldsID="3bbbeda3f263ee779216a9bedb513919" ns2:_="" ns3:_="">
    <xsd:import namespace="4dbf2689-7e86-44a3-abd1-0d84ed4bf17c"/>
    <xsd:import namespace="39667dce-d69c-487b-a176-42f051182b4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dbf2689-7e86-44a3-abd1-0d84ed4bf17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667dce-d69c-487b-a176-42f051182b49"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TemplafyTemplateConfiguration><![CDATA[{"elementsMetadata":[],"transformationConfigurations":[{"language":"{{UserProfile.DocumentLanguage.Iana}}","disableUpdates":false,"type":"proofingLanguage"}],"templateName":"Presentation screen (16-9)","templateDescription":"","enableDocumentContentUpdater":true,"version":"1.1"}]]></TemplafyTemplateConfiguration>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8"?>
<TemplafyFormConfiguration><![CDATA[{"formFields":[{"dataSource":"Audience","displayColumn":"audience","hideIfNoUserInteractionRequired":false,"distinct":true,"required":true,"autoSelectFirstOption":false,"type":"dropDown","name":"Audience","label":"External/internal","helpTexts":{"prefix":"","postfix":""},"spacing":{},"fullyQualifiedName":"Audience"}],"formDataEntries":[]}]]></TemplafyFormConfiguration>
</file>

<file path=customXml/item5.xml><?xml version="1.0" encoding="utf-8"?>
<TemplafySlideFormConfiguration><![CDATA[{"formFields":[],"formDataEntries":[]}]]></TemplafySlideFormConfiguration>
</file>

<file path=customXml/item6.xml><?xml version="1.0" encoding="utf-8"?>
<TemplafySlideTemplateConfiguration><![CDATA[{"documentContentValidatorConfiguration":{"enableDocumentContentValidator":false,"documentContentValidatorVersion":0},"elementsMetadata":[],"slideId":"637274689482285485","enableDocumentContentUpdater":true,"version":"1.1"}]]></TemplafySlideTemplateConfiguration>
</file>

<file path=customXml/item7.xml><?xml version="1.0" encoding="utf-8"?>
<TemplafySlideFormConfiguration><![CDATA[{"formFields":[],"formDataEntries":[]}]]></TemplafySlideFormConfiguration>
</file>

<file path=customXml/item8.xml><?xml version="1.0" encoding="utf-8"?>
<TemplafySlideTemplateConfiguration><![CDATA[{"documentContentValidatorConfiguration":{"enableDocumentContentValidator":false,"documentContentValidatorVersion":0},"elementsMetadata":[],"slideId":"637274689481644961","enableDocumentContentUpdater":true,"version":"1.1"}]]></TemplafySlideTemplateConfiguration>
</file>

<file path=customXml/item9.xml><?xml version="1.0" encoding="utf-8"?>
<TemplafySlideFormConfiguration><![CDATA[{"formFields":[],"formDataEntries":[]}]]></TemplafySlideFormConfiguration>
</file>

<file path=customXml/itemProps1.xml><?xml version="1.0" encoding="utf-8"?>
<ds:datastoreItem xmlns:ds="http://schemas.openxmlformats.org/officeDocument/2006/customXml" ds:itemID="{48FCFEE4-2E78-40CD-A932-180CFC151F96}">
  <ds:schemaRefs/>
</ds:datastoreItem>
</file>

<file path=customXml/itemProps10.xml><?xml version="1.0" encoding="utf-8"?>
<ds:datastoreItem xmlns:ds="http://schemas.openxmlformats.org/officeDocument/2006/customXml" ds:itemID="{EE03465F-F7D7-4591-B744-AA3FB7C55319}">
  <ds:schemaRefs/>
</ds:datastoreItem>
</file>

<file path=customXml/itemProps11.xml><?xml version="1.0" encoding="utf-8"?>
<ds:datastoreItem xmlns:ds="http://schemas.openxmlformats.org/officeDocument/2006/customXml" ds:itemID="{B25CBE9C-579C-4D62-9791-670FFEF0C740}">
  <ds:schemaRefs/>
</ds:datastoreItem>
</file>

<file path=customXml/itemProps12.xml><?xml version="1.0" encoding="utf-8"?>
<ds:datastoreItem xmlns:ds="http://schemas.openxmlformats.org/officeDocument/2006/customXml" ds:itemID="{33A9D2B1-910A-4890-A149-E85A43544B5D}">
  <ds:schemaRefs/>
</ds:datastoreItem>
</file>

<file path=customXml/itemProps13.xml><?xml version="1.0" encoding="utf-8"?>
<ds:datastoreItem xmlns:ds="http://schemas.openxmlformats.org/officeDocument/2006/customXml" ds:itemID="{B8637C36-4996-4BF0-9817-9AE4E45FB3C9}">
  <ds:schemaRefs/>
</ds:datastoreItem>
</file>

<file path=customXml/itemProps14.xml><?xml version="1.0" encoding="utf-8"?>
<ds:datastoreItem xmlns:ds="http://schemas.openxmlformats.org/officeDocument/2006/customXml" ds:itemID="{4212848C-530B-4852-8730-679B69C20DA2}">
  <ds:schemaRefs/>
</ds:datastoreItem>
</file>

<file path=customXml/itemProps15.xml><?xml version="1.0" encoding="utf-8"?>
<ds:datastoreItem xmlns:ds="http://schemas.openxmlformats.org/officeDocument/2006/customXml" ds:itemID="{512E9EB6-BE14-4E9B-B53A-6D95BDD731E5}">
  <ds:schemaRefs>
    <ds:schemaRef ds:uri="http://schemas.microsoft.com/sharepoint/v3/contenttype/forms"/>
  </ds:schemaRefs>
</ds:datastoreItem>
</file>

<file path=customXml/itemProps16.xml><?xml version="1.0" encoding="utf-8"?>
<ds:datastoreItem xmlns:ds="http://schemas.openxmlformats.org/officeDocument/2006/customXml" ds:itemID="{8F10D2E3-BD5E-41A7-9B58-448C4704E426}">
  <ds:schemaRefs/>
</ds:datastoreItem>
</file>

<file path=customXml/itemProps17.xml><?xml version="1.0" encoding="utf-8"?>
<ds:datastoreItem xmlns:ds="http://schemas.openxmlformats.org/officeDocument/2006/customXml" ds:itemID="{2DD537C7-CE6B-4921-B4F3-64D282965C1D}">
  <ds:schemaRefs>
    <ds:schemaRef ds:uri="39667dce-d69c-487b-a176-42f051182b49"/>
    <ds:schemaRef ds:uri="4dbf2689-7e86-44a3-abd1-0d84ed4bf17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49E55AD-80F4-4EC9-8430-FD8E8D9201DC}">
  <ds:schemaRefs/>
</ds:datastoreItem>
</file>

<file path=customXml/itemProps3.xml><?xml version="1.0" encoding="utf-8"?>
<ds:datastoreItem xmlns:ds="http://schemas.openxmlformats.org/officeDocument/2006/customXml" ds:itemID="{BA05E49B-70B5-4FEC-89D5-F69F52BE5B81}">
  <ds:schemaRefs>
    <ds:schemaRef ds:uri="http://schemas.microsoft.com/office/infopath/2007/PartnerControls"/>
    <ds:schemaRef ds:uri="http://purl.org/dc/terms/"/>
    <ds:schemaRef ds:uri="39667dce-d69c-487b-a176-42f051182b49"/>
    <ds:schemaRef ds:uri="http://schemas.microsoft.com/office/2006/documentManagement/types"/>
    <ds:schemaRef ds:uri="http://purl.org/dc/elements/1.1/"/>
    <ds:schemaRef ds:uri="http://schemas.microsoft.com/office/2006/metadata/properties"/>
    <ds:schemaRef ds:uri="http://schemas.openxmlformats.org/package/2006/metadata/core-properties"/>
    <ds:schemaRef ds:uri="4dbf2689-7e86-44a3-abd1-0d84ed4bf17c"/>
    <ds:schemaRef ds:uri="http://www.w3.org/XML/1998/namespace"/>
    <ds:schemaRef ds:uri="http://purl.org/dc/dcmitype/"/>
  </ds:schemaRefs>
</ds:datastoreItem>
</file>

<file path=customXml/itemProps4.xml><?xml version="1.0" encoding="utf-8"?>
<ds:datastoreItem xmlns:ds="http://schemas.openxmlformats.org/officeDocument/2006/customXml" ds:itemID="{EBD3D5FB-AEE0-46A7-8289-818A621CDF36}">
  <ds:schemaRefs/>
</ds:datastoreItem>
</file>

<file path=customXml/itemProps5.xml><?xml version="1.0" encoding="utf-8"?>
<ds:datastoreItem xmlns:ds="http://schemas.openxmlformats.org/officeDocument/2006/customXml" ds:itemID="{74DD7968-5338-4A7C-9AB7-71E317FAD14A}">
  <ds:schemaRefs/>
</ds:datastoreItem>
</file>

<file path=customXml/itemProps6.xml><?xml version="1.0" encoding="utf-8"?>
<ds:datastoreItem xmlns:ds="http://schemas.openxmlformats.org/officeDocument/2006/customXml" ds:itemID="{D095A0A8-BBFC-46BD-B6C9-F9F771063A0C}">
  <ds:schemaRefs/>
</ds:datastoreItem>
</file>

<file path=customXml/itemProps7.xml><?xml version="1.0" encoding="utf-8"?>
<ds:datastoreItem xmlns:ds="http://schemas.openxmlformats.org/officeDocument/2006/customXml" ds:itemID="{E3206C3F-9075-4ED1-A9D7-768CD599C06F}">
  <ds:schemaRefs/>
</ds:datastoreItem>
</file>

<file path=customXml/itemProps8.xml><?xml version="1.0" encoding="utf-8"?>
<ds:datastoreItem xmlns:ds="http://schemas.openxmlformats.org/officeDocument/2006/customXml" ds:itemID="{01E8759C-33B8-4AFE-B1FD-690677E2D93B}">
  <ds:schemaRefs/>
</ds:datastoreItem>
</file>

<file path=customXml/itemProps9.xml><?xml version="1.0" encoding="utf-8"?>
<ds:datastoreItem xmlns:ds="http://schemas.openxmlformats.org/officeDocument/2006/customXml" ds:itemID="{A010FBFC-ED9D-4776-849D-81EABF9D112A}">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598</Words>
  <Application>Microsoft Office PowerPoint</Application>
  <PresentationFormat>Widescreen</PresentationFormat>
  <Paragraphs>265</Paragraphs>
  <Slides>19</Slides>
  <Notes>15</Notes>
  <HiddenSlides>2</HiddenSlides>
  <MMClips>0</MMClips>
  <ScaleCrop>false</ScaleCrop>
  <HeadingPairs>
    <vt:vector size="8" baseType="variant">
      <vt:variant>
        <vt:lpstr>Brukte skrifter</vt:lpstr>
      </vt:variant>
      <vt:variant>
        <vt:i4>6</vt:i4>
      </vt:variant>
      <vt:variant>
        <vt:lpstr>Tema</vt:lpstr>
      </vt:variant>
      <vt:variant>
        <vt:i4>2</vt:i4>
      </vt:variant>
      <vt:variant>
        <vt:lpstr>Innebygde OLE-servere</vt:lpstr>
      </vt:variant>
      <vt:variant>
        <vt:i4>1</vt:i4>
      </vt:variant>
      <vt:variant>
        <vt:lpstr>Lysbildetitler</vt:lpstr>
      </vt:variant>
      <vt:variant>
        <vt:i4>19</vt:i4>
      </vt:variant>
    </vt:vector>
  </HeadingPairs>
  <TitlesOfParts>
    <vt:vector size="28" baseType="lpstr">
      <vt:lpstr>Arial</vt:lpstr>
      <vt:lpstr>Calibri</vt:lpstr>
      <vt:lpstr>Calibri Light</vt:lpstr>
      <vt:lpstr>Lato Light</vt:lpstr>
      <vt:lpstr>League Spartan</vt:lpstr>
      <vt:lpstr>Poppins</vt:lpstr>
      <vt:lpstr>Office-tema</vt:lpstr>
      <vt:lpstr>1_Office-tema</vt:lpstr>
      <vt:lpstr>think-cell Slide</vt:lpstr>
      <vt:lpstr>Superbrukerkurs datainnsamlingsark BFV </vt:lpstr>
      <vt:lpstr>Agenda</vt:lpstr>
      <vt:lpstr>PowerPoint-presentasjon</vt:lpstr>
      <vt:lpstr>PowerPoint-presentasjon</vt:lpstr>
      <vt:lpstr>Formål med kurset</vt:lpstr>
      <vt:lpstr>Definisjon superbruker BFV</vt:lpstr>
      <vt:lpstr>Støtte og veiledning</vt:lpstr>
      <vt:lpstr>Standarder og anbefalinger prosjekt BFV</vt:lpstr>
      <vt:lpstr>Arkfaner i datainnsamlingsark BFV</vt:lpstr>
      <vt:lpstr>Datainnsamlingsark</vt:lpstr>
      <vt:lpstr>Individuelt arbeid 40 minutter</vt:lpstr>
      <vt:lpstr>Distribusjon og håndtering datainnsamlingsark</vt:lpstr>
      <vt:lpstr>Kvalitetssikring</vt:lpstr>
      <vt:lpstr>Oppsummering og veien videre</vt:lpstr>
      <vt:lpstr> </vt:lpstr>
      <vt:lpstr>PowerPoint-presentasjon</vt:lpstr>
      <vt:lpstr>Spørsmål</vt:lpstr>
      <vt:lpstr>Spørsmål:</vt:lpstr>
      <vt:lpstr>PowerPoint-presentasj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sjektplan Økonomimodell</dc:title>
  <dc:creator>Birknes, Silje</dc:creator>
  <cp:lastModifiedBy>Trude Wictoria Bersvendsen</cp:lastModifiedBy>
  <cp:revision>10</cp:revision>
  <cp:lastPrinted>2014-06-25T02:16:22Z</cp:lastPrinted>
  <dcterms:created xsi:type="dcterms:W3CDTF">2021-02-10T14:50:22Z</dcterms:created>
  <dcterms:modified xsi:type="dcterms:W3CDTF">2021-08-18T08:03: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865E2D6068FF4F9177B8D39939F081</vt:lpwstr>
  </property>
  <property fmtid="{D5CDD505-2E9C-101B-9397-08002B2CF9AE}" pid="3" name="TemplafyTimeStamp">
    <vt:lpwstr>2020-07-31T08:45:09.5009950Z</vt:lpwstr>
  </property>
</Properties>
</file>